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4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5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674" r:id="rId2"/>
    <p:sldMasterId id="2147483683" r:id="rId3"/>
    <p:sldMasterId id="2147483708" r:id="rId4"/>
  </p:sldMasterIdLst>
  <p:notesMasterIdLst>
    <p:notesMasterId r:id="rId15"/>
  </p:notesMasterIdLst>
  <p:handoutMasterIdLst>
    <p:handoutMasterId r:id="rId16"/>
  </p:handoutMasterIdLst>
  <p:sldIdLst>
    <p:sldId id="429" r:id="rId5"/>
    <p:sldId id="433" r:id="rId6"/>
    <p:sldId id="427" r:id="rId7"/>
    <p:sldId id="431" r:id="rId8"/>
    <p:sldId id="425" r:id="rId9"/>
    <p:sldId id="300" r:id="rId10"/>
    <p:sldId id="287" r:id="rId11"/>
    <p:sldId id="307" r:id="rId12"/>
    <p:sldId id="302" r:id="rId13"/>
    <p:sldId id="434" r:id="rId14"/>
  </p:sldIdLst>
  <p:sldSz cx="9144000" cy="5143500" type="screen16x9"/>
  <p:notesSz cx="6858000" cy="9144000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620">
          <p15:clr>
            <a:srgbClr val="A4A3A4"/>
          </p15:clr>
        </p15:guide>
        <p15:guide id="4" orient="horz" pos="214" userDrawn="1">
          <p15:clr>
            <a:srgbClr val="A4A3A4"/>
          </p15:clr>
        </p15:guide>
        <p15:guide id="5" pos="249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Вечер Евгений" initials="ВЕ" lastIdx="1" clrIdx="0">
    <p:extLst>
      <p:ext uri="{19B8F6BF-5375-455C-9EA6-DF929625EA0E}">
        <p15:presenceInfo xmlns:p15="http://schemas.microsoft.com/office/powerpoint/2012/main" userId="918fb46b74789f52" providerId="Windows Live"/>
      </p:ext>
    </p:extLst>
  </p:cmAuthor>
  <p:cmAuthor id="2" name="Artem" initials="A" lastIdx="8" clrIdx="1">
    <p:extLst>
      <p:ext uri="{19B8F6BF-5375-455C-9EA6-DF929625EA0E}">
        <p15:presenceInfo xmlns:p15="http://schemas.microsoft.com/office/powerpoint/2012/main" userId="Artem" providerId="None"/>
      </p:ext>
    </p:extLst>
  </p:cmAuthor>
  <p:cmAuthor id="3" name="tokiplay" initials="t" lastIdx="3" clrIdx="2">
    <p:extLst>
      <p:ext uri="{19B8F6BF-5375-455C-9EA6-DF929625EA0E}">
        <p15:presenceInfo xmlns:p15="http://schemas.microsoft.com/office/powerpoint/2012/main" userId="96a573e395af6520" providerId="Windows Live"/>
      </p:ext>
    </p:extLst>
  </p:cmAuthor>
  <p:cmAuthor id="4" name="Андреева Юлия Олеговна" initials="АЮО" lastIdx="6" clrIdx="3">
    <p:extLst>
      <p:ext uri="{19B8F6BF-5375-455C-9EA6-DF929625EA0E}">
        <p15:presenceInfo xmlns:p15="http://schemas.microsoft.com/office/powerpoint/2012/main" userId="S-1-5-21-2803823264-976895225-1840217349-26703" providerId="AD"/>
      </p:ext>
    </p:extLst>
  </p:cmAuthor>
  <p:cmAuthor id="5" name="Microsoft Office User" initials="MOU" lastIdx="1" clrIdx="4">
    <p:extLst>
      <p:ext uri="{19B8F6BF-5375-455C-9EA6-DF929625EA0E}">
        <p15:presenceInfo xmlns:p15="http://schemas.microsoft.com/office/powerpoint/2012/main" userId="Microsoft Office Us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8C94"/>
    <a:srgbClr val="78E3C2"/>
    <a:srgbClr val="008B94"/>
    <a:srgbClr val="C3D69B"/>
    <a:srgbClr val="ADEEDB"/>
    <a:srgbClr val="F59C00"/>
    <a:srgbClr val="76AE27"/>
    <a:srgbClr val="0166B3"/>
    <a:srgbClr val="1B66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92" autoAdjust="0"/>
    <p:restoredTop sz="94650"/>
  </p:normalViewPr>
  <p:slideViewPr>
    <p:cSldViewPr>
      <p:cViewPr>
        <p:scale>
          <a:sx n="400" d="100"/>
          <a:sy n="400" d="100"/>
        </p:scale>
        <p:origin x="-10757" y="-5136"/>
      </p:cViewPr>
      <p:guideLst>
        <p:guide orient="horz" pos="2160"/>
        <p:guide pos="2880"/>
        <p:guide orient="horz" pos="1620"/>
        <p:guide orient="horz" pos="214"/>
        <p:guide pos="24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80561063-D337-8FED-E1F4-4E653DCEA2C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D1985200-B8C0-30B2-57BD-3759305427F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1333D7E-BCEE-49B3-AAF7-57086CBC07FD}" type="datetimeFigureOut">
              <a:rPr lang="ru-RU" smtClean="0"/>
              <a:t>31.10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45211323-2215-222E-B9E1-6290FEF2B66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858CA511-8FD8-6E58-B444-F39AAA2B72D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68975A-B231-4AA4-9E04-EE053BA12CC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2614450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hangingPunct="1">
              <a:defRPr sz="1200"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hangingPunct="1">
              <a:defRPr sz="1200">
                <a:cs typeface="Arial" charset="0"/>
              </a:defRPr>
            </a:lvl1pPr>
          </a:lstStyle>
          <a:p>
            <a:pPr>
              <a:defRPr/>
            </a:pPr>
            <a:fld id="{D12B95DE-707C-4F0B-ADD6-A229D9D75828}" type="datetimeFigureOut">
              <a:rPr lang="ru-RU"/>
              <a:pPr>
                <a:defRPr/>
              </a:pPr>
              <a:t>31.10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hangingPunct="1">
              <a:defRPr sz="1200"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A1F4B7F4-843C-4E84-98F6-AEE9401CE27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83661238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F4B7F4-843C-4E84-98F6-AEE9401CE27B}" type="slidenum">
              <a:rPr lang="ru-RU" altLang="ru-RU" smtClean="0"/>
              <a:pPr/>
              <a:t>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39073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F4B7F4-843C-4E84-98F6-AEE9401CE27B}" type="slidenum">
              <a:rPr lang="ru-RU" altLang="ru-RU" smtClean="0"/>
              <a:pPr/>
              <a:t>3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8462637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F4B7F4-843C-4E84-98F6-AEE9401CE27B}" type="slidenum">
              <a:rPr lang="ru-RU" altLang="ru-RU" smtClean="0"/>
              <a:pPr/>
              <a:t>4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100804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F4B7F4-843C-4E84-98F6-AEE9401CE27B}" type="slidenum">
              <a:rPr lang="ru-RU" altLang="ru-RU" smtClean="0"/>
              <a:pPr/>
              <a:t>5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076726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F4B7F4-843C-4E84-98F6-AEE9401CE27B}" type="slidenum">
              <a:rPr lang="ru-RU" altLang="ru-RU" smtClean="0"/>
              <a:pPr/>
              <a:t>6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5961275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13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Relationship Id="rId4" Type="http://schemas.openxmlformats.org/officeDocument/2006/relationships/image" Target="../media/image1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Relationship Id="rId4" Type="http://schemas.openxmlformats.org/officeDocument/2006/relationships/image" Target="../media/image1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Relationship Id="rId4" Type="http://schemas.openxmlformats.org/officeDocument/2006/relationships/image" Target="../media/image1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4" Type="http://schemas.openxmlformats.org/officeDocument/2006/relationships/image" Target="../media/image1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4" Type="http://schemas.openxmlformats.org/officeDocument/2006/relationships/image" Target="../media/image1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4" Type="http://schemas.openxmlformats.org/officeDocument/2006/relationships/image" Target="../media/image1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4" Type="http://schemas.openxmlformats.org/officeDocument/2006/relationships/image" Target="../media/image1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4" Type="http://schemas.openxmlformats.org/officeDocument/2006/relationships/image" Target="../media/image1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4" Type="http://schemas.openxmlformats.org/officeDocument/2006/relationships/image" Target="../media/image1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4" Type="http://schemas.openxmlformats.org/officeDocument/2006/relationships/image" Target="../media/image1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Relationship Id="rId4" Type="http://schemas.openxmlformats.org/officeDocument/2006/relationships/image" Target="../media/image1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Relationship Id="rId4" Type="http://schemas.openxmlformats.org/officeDocument/2006/relationships/image" Target="../media/image1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4" Type="http://schemas.openxmlformats.org/officeDocument/2006/relationships/image" Target="../media/image1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4" Type="http://schemas.openxmlformats.org/officeDocument/2006/relationships/image" Target="../media/image1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4" Type="http://schemas.openxmlformats.org/officeDocument/2006/relationships/image" Target="../media/image1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4" Type="http://schemas.openxmlformats.org/officeDocument/2006/relationships/image" Target="../media/image1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4" Type="http://schemas.openxmlformats.org/officeDocument/2006/relationships/image" Target="../media/image1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4" Type="http://schemas.openxmlformats.org/officeDocument/2006/relationships/image" Target="../media/image1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Relationship Id="rId4" Type="http://schemas.openxmlformats.org/officeDocument/2006/relationships/image" Target="../media/image1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4" Type="http://schemas.openxmlformats.org/officeDocument/2006/relationships/image" Target="../media/image1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Relationship Id="rId4" Type="http://schemas.openxmlformats.org/officeDocument/2006/relationships/image" Target="../media/image1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.xml"/><Relationship Id="rId4" Type="http://schemas.openxmlformats.org/officeDocument/2006/relationships/image" Target="../media/image1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.xml"/><Relationship Id="rId4" Type="http://schemas.openxmlformats.org/officeDocument/2006/relationships/image" Target="../media/image1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oleObject" Target="../embeddings/oleObject28.bin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4.wmf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7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3.xml"/><Relationship Id="rId4" Type="http://schemas.openxmlformats.org/officeDocument/2006/relationships/image" Target="../media/image1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4.xml"/><Relationship Id="rId4" Type="http://schemas.openxmlformats.org/officeDocument/2006/relationships/image" Target="../media/image1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5.xml"/><Relationship Id="rId4" Type="http://schemas.openxmlformats.org/officeDocument/2006/relationships/image" Target="../media/image1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6.xml"/><Relationship Id="rId4" Type="http://schemas.openxmlformats.org/officeDocument/2006/relationships/image" Target="../media/image1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7.xml"/><Relationship Id="rId4" Type="http://schemas.openxmlformats.org/officeDocument/2006/relationships/image" Target="../media/image1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8.xml"/><Relationship Id="rId4" Type="http://schemas.openxmlformats.org/officeDocument/2006/relationships/image" Target="../media/image1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9.xml"/><Relationship Id="rId4" Type="http://schemas.openxmlformats.org/officeDocument/2006/relationships/image" Target="../media/image1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0.xml"/><Relationship Id="rId4" Type="http://schemas.openxmlformats.org/officeDocument/2006/relationships/image" Target="../media/image1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1.xml"/><Relationship Id="rId4" Type="http://schemas.openxmlformats.org/officeDocument/2006/relationships/image" Target="../media/image1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2.xml"/><Relationship Id="rId4" Type="http://schemas.openxmlformats.org/officeDocument/2006/relationships/image" Target="../media/image1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3.xml"/><Relationship Id="rId4" Type="http://schemas.openxmlformats.org/officeDocument/2006/relationships/image" Target="../media/image1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4.xml"/><Relationship Id="rId4" Type="http://schemas.openxmlformats.org/officeDocument/2006/relationships/image" Target="../media/image1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5.xml"/><Relationship Id="rId4" Type="http://schemas.openxmlformats.org/officeDocument/2006/relationships/image" Target="../media/image1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6.xml"/><Relationship Id="rId4" Type="http://schemas.openxmlformats.org/officeDocument/2006/relationships/image" Target="../media/image1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7.xml"/><Relationship Id="rId4" Type="http://schemas.openxmlformats.org/officeDocument/2006/relationships/image" Target="../media/image11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8.xml"/><Relationship Id="rId4" Type="http://schemas.openxmlformats.org/officeDocument/2006/relationships/image" Target="../media/image1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9.xml"/><Relationship Id="rId4" Type="http://schemas.openxmlformats.org/officeDocument/2006/relationships/image" Target="../media/image11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0.xml"/><Relationship Id="rId4" Type="http://schemas.openxmlformats.org/officeDocument/2006/relationships/image" Target="../media/image11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1.xml"/><Relationship Id="rId4" Type="http://schemas.openxmlformats.org/officeDocument/2006/relationships/image" Target="../media/image1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2.xml"/><Relationship Id="rId4" Type="http://schemas.openxmlformats.org/officeDocument/2006/relationships/image" Target="../media/image1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3.xml"/><Relationship Id="rId4" Type="http://schemas.openxmlformats.org/officeDocument/2006/relationships/image" Target="../media/image1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4.xml"/><Relationship Id="rId4" Type="http://schemas.openxmlformats.org/officeDocument/2006/relationships/image" Target="../media/image1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5.xml"/><Relationship Id="rId4" Type="http://schemas.openxmlformats.org/officeDocument/2006/relationships/image" Target="../media/image11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6AC9D6A7-7C7C-472A-A5F4-59B3267723C6}"/>
              </a:ext>
            </a:extLst>
          </p:cNvPr>
          <p:cNvGrpSpPr/>
          <p:nvPr userDrawn="1"/>
        </p:nvGrpSpPr>
        <p:grpSpPr>
          <a:xfrm>
            <a:off x="4171441" y="243136"/>
            <a:ext cx="4756448" cy="4419028"/>
            <a:chOff x="4283969" y="321017"/>
            <a:chExt cx="4531392" cy="4209938"/>
          </a:xfrm>
        </p:grpSpPr>
        <p:pic>
          <p:nvPicPr>
            <p:cNvPr id="8" name="Рисунок 7" descr="Изображение выглядит как окно&#10;&#10;Автоматически созданное описание">
              <a:extLst>
                <a:ext uri="{FF2B5EF4-FFF2-40B4-BE49-F238E27FC236}">
                  <a16:creationId xmlns:a16="http://schemas.microsoft.com/office/drawing/2014/main" id="{DDD94C2E-2973-4D2A-AD0A-FA2F9E319C8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83969" y="3579862"/>
              <a:ext cx="943735" cy="943735"/>
            </a:xfrm>
            <a:prstGeom prst="rect">
              <a:avLst/>
            </a:prstGeom>
          </p:spPr>
        </p:pic>
        <p:pic>
          <p:nvPicPr>
            <p:cNvPr id="9" name="Рисунок 8" descr="Изображение выглядит как легкий, рисунок&#10;&#10;Автоматически созданное описание">
              <a:extLst>
                <a:ext uri="{FF2B5EF4-FFF2-40B4-BE49-F238E27FC236}">
                  <a16:creationId xmlns:a16="http://schemas.microsoft.com/office/drawing/2014/main" id="{3D16FA20-9D21-45AD-83E9-75B357E89B3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65326" y="3587219"/>
              <a:ext cx="943735" cy="943735"/>
            </a:xfrm>
            <a:prstGeom prst="rect">
              <a:avLst/>
            </a:prstGeom>
          </p:spPr>
        </p:pic>
        <p:pic>
          <p:nvPicPr>
            <p:cNvPr id="10" name="Рисунок 9" descr="Изображение выглядит как рисунок&#10;&#10;Автоматически созданное описание">
              <a:extLst>
                <a:ext uri="{FF2B5EF4-FFF2-40B4-BE49-F238E27FC236}">
                  <a16:creationId xmlns:a16="http://schemas.microsoft.com/office/drawing/2014/main" id="{2B70321D-9E9D-46DE-9810-2258A1A09FE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53050" y="3587220"/>
              <a:ext cx="943735" cy="943735"/>
            </a:xfrm>
            <a:prstGeom prst="rect">
              <a:avLst/>
            </a:prstGeom>
          </p:spPr>
        </p:pic>
        <p:pic>
          <p:nvPicPr>
            <p:cNvPr id="11" name="Рисунок 10" descr="Изображение выглядит как рисунок&#10;&#10;Автоматически созданное описание">
              <a:extLst>
                <a:ext uri="{FF2B5EF4-FFF2-40B4-BE49-F238E27FC236}">
                  <a16:creationId xmlns:a16="http://schemas.microsoft.com/office/drawing/2014/main" id="{80E05F64-C636-4A75-950B-F41A145599C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83969" y="1936378"/>
              <a:ext cx="943735" cy="943735"/>
            </a:xfrm>
            <a:prstGeom prst="rect">
              <a:avLst/>
            </a:prstGeom>
          </p:spPr>
        </p:pic>
        <p:pic>
          <p:nvPicPr>
            <p:cNvPr id="12" name="Рисунок 11" descr="Изображение выглядит как окно, рисунок&#10;&#10;Автоматически созданное описание">
              <a:extLst>
                <a:ext uri="{FF2B5EF4-FFF2-40B4-BE49-F238E27FC236}">
                  <a16:creationId xmlns:a16="http://schemas.microsoft.com/office/drawing/2014/main" id="{F0C4C25D-C42C-4FB2-B579-1E6EA5A88C8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53051" y="1908935"/>
              <a:ext cx="943735" cy="943735"/>
            </a:xfrm>
            <a:prstGeom prst="rect">
              <a:avLst/>
            </a:prstGeom>
          </p:spPr>
        </p:pic>
        <p:pic>
          <p:nvPicPr>
            <p:cNvPr id="13" name="Рисунок 12" descr="Изображение выглядит как рисунок, легкий&#10;&#10;Автоматически созданное описание">
              <a:extLst>
                <a:ext uri="{FF2B5EF4-FFF2-40B4-BE49-F238E27FC236}">
                  <a16:creationId xmlns:a16="http://schemas.microsoft.com/office/drawing/2014/main" id="{C7AD4DA9-4E8B-4E00-BBD9-10E7DB8E7FA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71626" y="1908935"/>
              <a:ext cx="943735" cy="943735"/>
            </a:xfrm>
            <a:prstGeom prst="rect">
              <a:avLst/>
            </a:prstGeom>
          </p:spPr>
        </p:pic>
        <p:pic>
          <p:nvPicPr>
            <p:cNvPr id="14" name="Рисунок 13" descr="Изображение выглядит как рисунок&#10;&#10;Автоматически созданное описание">
              <a:extLst>
                <a:ext uri="{FF2B5EF4-FFF2-40B4-BE49-F238E27FC236}">
                  <a16:creationId xmlns:a16="http://schemas.microsoft.com/office/drawing/2014/main" id="{95753D21-C6BA-4866-BB63-C98820C797A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672060">
              <a:off x="6153049" y="382052"/>
              <a:ext cx="943735" cy="943735"/>
            </a:xfrm>
            <a:prstGeom prst="rect">
              <a:avLst/>
            </a:prstGeom>
          </p:spPr>
        </p:pic>
        <p:pic>
          <p:nvPicPr>
            <p:cNvPr id="15" name="Рисунок 14" descr="Изображение выглядит как легкий&#10;&#10;Автоматически созданное описание">
              <a:extLst>
                <a:ext uri="{FF2B5EF4-FFF2-40B4-BE49-F238E27FC236}">
                  <a16:creationId xmlns:a16="http://schemas.microsoft.com/office/drawing/2014/main" id="{0D29ADAB-81F3-4802-A27A-7FAF9EFD55E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65326" y="321017"/>
              <a:ext cx="943735" cy="943735"/>
            </a:xfrm>
            <a:prstGeom prst="rect">
              <a:avLst/>
            </a:prstGeom>
          </p:spPr>
        </p:pic>
        <p:pic>
          <p:nvPicPr>
            <p:cNvPr id="16" name="Рисунок 15" descr="Изображение выглядит как рисунок&#10;&#10;Автоматически созданное описание">
              <a:extLst>
                <a:ext uri="{FF2B5EF4-FFF2-40B4-BE49-F238E27FC236}">
                  <a16:creationId xmlns:a16="http://schemas.microsoft.com/office/drawing/2014/main" id="{B0C90E7D-1642-4279-93F7-CB82E15154D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83970" y="382051"/>
              <a:ext cx="943735" cy="943735"/>
            </a:xfrm>
            <a:prstGeom prst="rect">
              <a:avLst/>
            </a:prstGeom>
          </p:spPr>
        </p:pic>
      </p:grp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0D844698-E840-4B6F-816E-6867A3512776}"/>
              </a:ext>
            </a:extLst>
          </p:cNvPr>
          <p:cNvSpPr/>
          <p:nvPr userDrawn="1"/>
        </p:nvSpPr>
        <p:spPr>
          <a:xfrm>
            <a:off x="-744" y="0"/>
            <a:ext cx="9140825" cy="5143500"/>
          </a:xfrm>
          <a:prstGeom prst="rect">
            <a:avLst/>
          </a:prstGeom>
          <a:solidFill>
            <a:srgbClr val="0166B3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9C7F984F-9D83-493C-AC4B-CCC6DB536C9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301706"/>
            <a:ext cx="1008112" cy="104917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900F2F-55F1-424F-B558-D1D25F649498}" type="datetime1">
              <a:rPr lang="ru-RU" smtClean="0"/>
              <a:t>01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Название слайда 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2430D33-8F23-48B5-97FD-EBC88D725DA0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42F4A2-F781-4D39-AE99-C7A60B6D290F}" type="datetime1">
              <a:rPr lang="ru-RU" smtClean="0"/>
              <a:t>01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Название слайда 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856A5FB-F50C-4411-BEDF-3BB26F07CB67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8528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530" imgH="531" progId="TCLayout.ActiveDocument.1">
                  <p:embed/>
                </p:oleObj>
              </mc:Choice>
              <mc:Fallback>
                <p:oleObj name="Слайд think-cell" r:id="rId3" imgW="530" imgH="531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ru-RU" dirty="0"/>
              <a:t>Контакты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62D10458-E0CA-4DBC-BEB4-202964014445}" type="datetime1">
              <a:rPr lang="ru-RU" smtClean="0"/>
              <a:t>01.11.2023</a:t>
            </a:fld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0" y="1131888"/>
            <a:ext cx="3419475" cy="3419475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/>
              <a:t>Фото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4061171" y="2064543"/>
            <a:ext cx="203483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</p:spTree>
    <p:extLst>
      <p:ext uri="{BB962C8B-B14F-4D97-AF65-F5344CB8AC3E}">
        <p14:creationId xmlns:p14="http://schemas.microsoft.com/office/powerpoint/2010/main" val="35065736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Наша команд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D0105840-1014-470E-8D59-A77D7345B64F}" type="datetime1">
              <a:rPr lang="ru-RU" smtClean="0"/>
              <a:t>01.11.2023</a:t>
            </a:fld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1" y="1276063"/>
            <a:ext cx="1764000" cy="1764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/>
              <a:t>Фото</a:t>
            </a:r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4711696" y="1276063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/>
              <a:t>Фото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2263771" y="1472242"/>
            <a:ext cx="2181229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6603996" y="1472242"/>
            <a:ext cx="2181229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</p:spTree>
    <p:extLst>
      <p:ext uri="{BB962C8B-B14F-4D97-AF65-F5344CB8AC3E}">
        <p14:creationId xmlns:p14="http://schemas.microsoft.com/office/powerpoint/2010/main" val="4611662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Наша команд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3D21FFEC-B448-4EDE-90CE-8C1CB51761F8}" type="datetime1">
              <a:rPr lang="ru-RU" smtClean="0"/>
              <a:t>01.11.2023</a:t>
            </a:fld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1" y="1131888"/>
            <a:ext cx="1764000" cy="1764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/>
              <a:t>Фото</a:t>
            </a:r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3371301" y="1131888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/>
              <a:t>Фото</a:t>
            </a:r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6301225" y="1131888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/>
              <a:t>Фото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71471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3371301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6301225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</p:spTree>
    <p:extLst>
      <p:ext uri="{BB962C8B-B14F-4D97-AF65-F5344CB8AC3E}">
        <p14:creationId xmlns:p14="http://schemas.microsoft.com/office/powerpoint/2010/main" val="391018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Наша команд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AD10A7C4-284A-4A1F-8800-5C3D64A382E1}" type="datetime1">
              <a:rPr lang="ru-RU" smtClean="0"/>
              <a:t>01.11.2023</a:t>
            </a:fld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548000" cy="154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/>
              <a:t>Фото</a:t>
            </a:r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2504892" y="1131888"/>
            <a:ext cx="1548001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/>
              <a:t>Фото</a:t>
            </a:r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4663714" y="1131888"/>
            <a:ext cx="1548001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/>
              <a:t>Фото</a:t>
            </a:r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6822535" y="1131888"/>
            <a:ext cx="1548000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/>
              <a:t>Фото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4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2517591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4676408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6835224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</p:spTree>
    <p:extLst>
      <p:ext uri="{BB962C8B-B14F-4D97-AF65-F5344CB8AC3E}">
        <p14:creationId xmlns:p14="http://schemas.microsoft.com/office/powerpoint/2010/main" val="25417260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Наша команд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5F74C5CF-C718-4B03-9801-921610363630}" type="datetime1">
              <a:rPr lang="ru-RU" smtClean="0"/>
              <a:t>01.11.2023</a:t>
            </a:fld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/>
              <a:t>Фото</a:t>
            </a:r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2016053" y="1131888"/>
            <a:ext cx="1368001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/>
              <a:t>Фото</a:t>
            </a:r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686036" y="1131888"/>
            <a:ext cx="1368001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/>
              <a:t>Фото</a:t>
            </a:r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5356019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/>
              <a:t>Фото</a:t>
            </a:r>
          </a:p>
        </p:txBody>
      </p:sp>
      <p:sp>
        <p:nvSpPr>
          <p:cNvPr id="19" name="Рисунок 18"/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7026000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/>
              <a:t>Фото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4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2028752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3698730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5368708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3" name="Текст 23"/>
          <p:cNvSpPr>
            <a:spLocks noGrp="1"/>
          </p:cNvSpPr>
          <p:nvPr>
            <p:ph type="body" sz="quarter" idx="47" hasCustomPrompt="1"/>
          </p:nvPr>
        </p:nvSpPr>
        <p:spPr>
          <a:xfrm>
            <a:off x="7038685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</p:spTree>
    <p:extLst>
      <p:ext uri="{BB962C8B-B14F-4D97-AF65-F5344CB8AC3E}">
        <p14:creationId xmlns:p14="http://schemas.microsoft.com/office/powerpoint/2010/main" val="231277413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6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Наша команд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989DAB73-20E0-46CE-94AE-4B204E03B2B3}" type="datetime1">
              <a:rPr lang="ru-RU" smtClean="0"/>
              <a:t>01.11.2023</a:t>
            </a:fld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/>
              <a:t>Фото</a:t>
            </a:r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1756514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/>
              <a:t>Фото</a:t>
            </a:r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166958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/>
              <a:t>Фото</a:t>
            </a:r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4577402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/>
              <a:t>Фото</a:t>
            </a:r>
          </a:p>
        </p:txBody>
      </p:sp>
      <p:sp>
        <p:nvSpPr>
          <p:cNvPr id="19" name="Рисунок 18"/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5987845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/>
              <a:t>Фото</a:t>
            </a:r>
          </a:p>
        </p:txBody>
      </p:sp>
      <p:sp>
        <p:nvSpPr>
          <p:cNvPr id="22" name="Рисунок 21"/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7398286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/>
              <a:t>Фото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5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1769214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3179653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4590092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3" name="Текст 23"/>
          <p:cNvSpPr>
            <a:spLocks noGrp="1"/>
          </p:cNvSpPr>
          <p:nvPr>
            <p:ph type="body" sz="quarter" idx="47" hasCustomPrompt="1"/>
          </p:nvPr>
        </p:nvSpPr>
        <p:spPr>
          <a:xfrm>
            <a:off x="6000531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4" name="Текст 23"/>
          <p:cNvSpPr>
            <a:spLocks noGrp="1"/>
          </p:cNvSpPr>
          <p:nvPr>
            <p:ph type="body" sz="quarter" idx="48" hasCustomPrompt="1"/>
          </p:nvPr>
        </p:nvSpPr>
        <p:spPr>
          <a:xfrm>
            <a:off x="7410970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</p:spTree>
    <p:extLst>
      <p:ext uri="{BB962C8B-B14F-4D97-AF65-F5344CB8AC3E}">
        <p14:creationId xmlns:p14="http://schemas.microsoft.com/office/powerpoint/2010/main" val="397080064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Прямоугольник 21"/>
          <p:cNvSpPr/>
          <p:nvPr userDrawn="1"/>
        </p:nvSpPr>
        <p:spPr bwMode="auto">
          <a:xfrm>
            <a:off x="0" y="1131888"/>
            <a:ext cx="9144000" cy="19081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/>
              <a:t>Контакты компании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EBCE93AE-A16F-48E1-AF6E-FE2FBBA799B6}" type="datetime1">
              <a:rPr lang="ru-RU" smtClean="0"/>
              <a:t>01.11.2023</a:t>
            </a:fld>
            <a:endParaRPr lang="en-US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921528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082345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3082345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921528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7403978" y="4005399"/>
            <a:ext cx="1656000" cy="252000"/>
          </a:xfrm>
        </p:spPr>
        <p:txBody>
          <a:bodyPr/>
          <a:lstStyle>
            <a:lvl1pPr>
              <a:defRPr sz="1200" baseline="0"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5243162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5243162" y="3538117"/>
            <a:ext cx="1656000" cy="252000"/>
          </a:xfrm>
        </p:spPr>
        <p:txBody>
          <a:bodyPr/>
          <a:lstStyle>
            <a:lvl1pPr>
              <a:defRPr sz="1200" baseline="0"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22" hasCustomPrompt="1"/>
          </p:nvPr>
        </p:nvSpPr>
        <p:spPr>
          <a:xfrm>
            <a:off x="7403978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30" hasCustomPrompt="1"/>
          </p:nvPr>
        </p:nvSpPr>
        <p:spPr>
          <a:xfrm>
            <a:off x="2592000" y="1721491"/>
            <a:ext cx="4031219" cy="28927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/>
              <a:t>Тел.: +7 (495) 777-55-00; +7 (495) 780-55-00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31" hasCustomPrompt="1"/>
          </p:nvPr>
        </p:nvSpPr>
        <p:spPr>
          <a:xfrm>
            <a:off x="2592000" y="2116778"/>
            <a:ext cx="4031219" cy="28927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E-mail: info@sibur.ru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3" hasCustomPrompt="1"/>
          </p:nvPr>
        </p:nvSpPr>
        <p:spPr>
          <a:xfrm>
            <a:off x="358773" y="1401185"/>
            <a:ext cx="1353913" cy="135286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QR</a:t>
            </a:r>
            <a:r>
              <a:rPr lang="ru-RU"/>
              <a:t> код</a:t>
            </a:r>
          </a:p>
        </p:txBody>
      </p:sp>
    </p:spTree>
    <p:extLst>
      <p:ext uri="{BB962C8B-B14F-4D97-AF65-F5344CB8AC3E}">
        <p14:creationId xmlns:p14="http://schemas.microsoft.com/office/powerpoint/2010/main" val="36176654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рямоугольник 26"/>
          <p:cNvSpPr/>
          <p:nvPr userDrawn="1"/>
        </p:nvSpPr>
        <p:spPr bwMode="auto">
          <a:xfrm>
            <a:off x="0" y="1510917"/>
            <a:ext cx="9144000" cy="30404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/>
              <a:t>Контакты компании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773B46D5-7C4A-44A0-A5B6-4A96A995E4E6}" type="datetime1">
              <a:rPr lang="ru-RU" smtClean="0"/>
              <a:t>01.11.2023</a:t>
            </a:fld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58773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QR</a:t>
            </a:r>
            <a:r>
              <a:rPr lang="ru-RU"/>
              <a:t> код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358775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6819429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2512327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6819429" y="4267201"/>
            <a:ext cx="1692000" cy="28416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665877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2512327" y="2739581"/>
            <a:ext cx="1692000" cy="28416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22" hasCustomPrompt="1"/>
          </p:nvPr>
        </p:nvSpPr>
        <p:spPr>
          <a:xfrm>
            <a:off x="4665877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8" name="Рисунок 6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2512325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QR</a:t>
            </a:r>
            <a:r>
              <a:rPr lang="ru-RU"/>
              <a:t> код</a:t>
            </a:r>
          </a:p>
        </p:txBody>
      </p:sp>
      <p:sp>
        <p:nvSpPr>
          <p:cNvPr id="19" name="Рисунок 6"/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6819429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QR</a:t>
            </a:r>
            <a:r>
              <a:rPr lang="ru-RU"/>
              <a:t> код</a:t>
            </a:r>
          </a:p>
        </p:txBody>
      </p:sp>
      <p:sp>
        <p:nvSpPr>
          <p:cNvPr id="20" name="Рисунок 6"/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4665877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QR</a:t>
            </a:r>
            <a:r>
              <a:rPr lang="ru-RU"/>
              <a:t> код</a:t>
            </a:r>
          </a:p>
        </p:txBody>
      </p:sp>
      <p:sp>
        <p:nvSpPr>
          <p:cNvPr id="21" name="Рисунок 6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358773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QR</a:t>
            </a:r>
            <a:r>
              <a:rPr lang="ru-RU"/>
              <a:t> код</a:t>
            </a:r>
          </a:p>
        </p:txBody>
      </p:sp>
      <p:sp>
        <p:nvSpPr>
          <p:cNvPr id="22" name="Рисунок 6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2512325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QR</a:t>
            </a:r>
            <a:r>
              <a:rPr lang="ru-RU"/>
              <a:t> код</a:t>
            </a:r>
          </a:p>
        </p:txBody>
      </p:sp>
      <p:sp>
        <p:nvSpPr>
          <p:cNvPr id="23" name="Рисунок 6"/>
          <p:cNvSpPr>
            <a:spLocks noGrp="1" noChangeAspect="1"/>
          </p:cNvSpPr>
          <p:nvPr>
            <p:ph type="pic" sz="quarter" idx="28" hasCustomPrompt="1"/>
          </p:nvPr>
        </p:nvSpPr>
        <p:spPr>
          <a:xfrm>
            <a:off x="6819429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QR</a:t>
            </a:r>
            <a:r>
              <a:rPr lang="ru-RU"/>
              <a:t> код</a:t>
            </a:r>
          </a:p>
        </p:txBody>
      </p:sp>
      <p:sp>
        <p:nvSpPr>
          <p:cNvPr id="24" name="Рисунок 6"/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4665877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QR</a:t>
            </a:r>
            <a:r>
              <a:rPr lang="ru-RU"/>
              <a:t> код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30" hasCustomPrompt="1"/>
          </p:nvPr>
        </p:nvSpPr>
        <p:spPr>
          <a:xfrm>
            <a:off x="358775" y="1131888"/>
            <a:ext cx="3960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/>
              <a:t>Тел.: +7 (495) 777-55-00; +7 (495) 780-55-00</a:t>
            </a:r>
          </a:p>
        </p:txBody>
      </p:sp>
      <p:sp>
        <p:nvSpPr>
          <p:cNvPr id="26" name="Текст 8"/>
          <p:cNvSpPr>
            <a:spLocks noGrp="1"/>
          </p:cNvSpPr>
          <p:nvPr>
            <p:ph type="body" sz="quarter" idx="31" hasCustomPrompt="1"/>
          </p:nvPr>
        </p:nvSpPr>
        <p:spPr>
          <a:xfrm>
            <a:off x="4665877" y="1131888"/>
            <a:ext cx="3960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E-mail: info@sibur.ru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198492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87AEC5-327B-4640-B7AC-0A11E43DCF20}" type="datetime1">
              <a:rPr lang="ru-RU" smtClean="0"/>
              <a:t>01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Название слайда 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C0A57E3-EA23-4E01-B1DF-72CA8D4A16E5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вобод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368ACA85-03CF-411A-B143-251C9A82E272}" type="datetime1">
              <a:rPr lang="ru-RU" smtClean="0"/>
              <a:t>01.11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6631829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8B1642A2-8DCB-40EF-A04D-797634889426}" type="datetime1">
              <a:rPr lang="ru-RU" smtClean="0"/>
              <a:t>01.11.2023</a:t>
            </a:fld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9931850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087973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55A35FD6-A44E-48C7-AC60-1A7E259FB99F}" type="datetime1">
              <a:rPr lang="ru-RU" smtClean="0"/>
              <a:t>01.11.2023</a:t>
            </a:fld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2396131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9239277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F7FBE64B-C482-43B8-B2C3-28C9825634F1}" type="datetime1">
              <a:rPr lang="ru-RU" smtClean="0"/>
              <a:t>01.11.2023</a:t>
            </a:fld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1547983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37ED2E26-4C9E-4EB1-94AB-8B784D3FAF7E}" type="datetime1">
              <a:rPr lang="ru-RU" smtClean="0"/>
              <a:t>01.11.2023</a:t>
            </a:fld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534892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5548540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D307B971-3ED2-4D2A-9222-DBD5A061A30A}" type="datetime1">
              <a:rPr lang="ru-RU" smtClean="0"/>
              <a:t>01.11.2023</a:t>
            </a:fld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566100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556305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6ECC6A9A-D95F-4203-8428-0B53B1EA6FCB}" type="datetime1">
              <a:rPr lang="ru-RU" smtClean="0"/>
              <a:t>01.11.2023</a:t>
            </a:fld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437683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5577569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F6FF0DA6-F0EE-4172-B45D-EEA6C4607F36}" type="datetime1">
              <a:rPr lang="ru-RU" smtClean="0"/>
              <a:t>01.11.2023</a:t>
            </a:fld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019432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9C3FC140-5361-4AC2-83AA-1C030C3716BE}" type="datetime1">
              <a:rPr lang="ru-RU" smtClean="0"/>
              <a:t>01.11.2023</a:t>
            </a:fld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272559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9FEA437F-AD9B-4065-9642-FBDA2292FA05}" type="datetime1">
              <a:rPr lang="ru-RU" smtClean="0"/>
              <a:t>01.11.2023</a:t>
            </a:fld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639859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D13B87-F882-4D06-99CA-169EECDAF42D}" type="datetime1">
              <a:rPr lang="ru-RU" smtClean="0"/>
              <a:t>01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Название слайда 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A713FFA-F596-48D8-AB9D-F12DCD7417FD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6995DFD6-390B-4C3A-8210-FDDE26CA9852}" type="datetime1">
              <a:rPr lang="ru-RU" smtClean="0"/>
              <a:t>01.11.2023</a:t>
            </a:fld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381898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465AEDDE-D6FF-4241-A009-1E591077B2D4}" type="datetime1">
              <a:rPr lang="ru-RU" smtClean="0"/>
              <a:t>01.11.2023</a:t>
            </a:fld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496174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FE1912D5-FE90-4CED-9A7F-972DFB4AC446}" type="datetime1">
              <a:rPr lang="ru-RU" smtClean="0"/>
              <a:t>01.11.2023</a:t>
            </a:fld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766472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27DF2F45-0BF0-4582-9CC2-34213D7B3E05}" type="datetime1">
              <a:rPr lang="ru-RU" smtClean="0"/>
              <a:t>01.11.2023</a:t>
            </a:fld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036322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4068083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CF917ECA-EEC8-4D21-8B48-12BF55B12F79}" type="datetime1">
              <a:rPr lang="ru-RU" smtClean="0"/>
              <a:t>01.11.2023</a:t>
            </a:fld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612211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403905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AA566CE0-75D3-450E-B0F3-D2917D5F3D6E}" type="datetime1">
              <a:rPr lang="ru-RU" smtClean="0"/>
              <a:t>01.11.2023</a:t>
            </a:fld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139870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10026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DB7A4CC3-096C-40C9-B615-684929D24BD2}" type="datetime1">
              <a:rPr lang="ru-RU" smtClean="0"/>
              <a:t>01.11.2023</a:t>
            </a:fld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595046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9356915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41040" y="347883"/>
            <a:ext cx="554418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AEDEB781-19F8-412E-A6EC-4E99F86311CF}" type="datetime1">
              <a:rPr lang="ru-RU" smtClean="0"/>
              <a:t>01.11.2023</a:t>
            </a:fld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161016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2090482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30880" y="347883"/>
            <a:ext cx="555434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CCB785FC-E56E-4545-96AF-E505D0314698}" type="datetime1">
              <a:rPr lang="ru-RU" smtClean="0"/>
              <a:t>01.11.2023</a:t>
            </a:fld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452644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9183916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41040" y="347883"/>
            <a:ext cx="554418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F0E12096-840D-406A-8601-711D7E7962EE}" type="datetime1">
              <a:rPr lang="ru-RU" smtClean="0"/>
              <a:t>01.11.2023</a:t>
            </a:fld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294037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E58885-6302-4494-B4E7-A42DBF2DE9E6}" type="datetime1">
              <a:rPr lang="ru-RU" smtClean="0"/>
              <a:t>01.11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Название слайда </a:t>
            </a: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3DBB23A-6539-4C39-9672-AA0023A4A2A1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6046823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243F08F9-D7ED-4D77-9081-C48A90C590F5}" type="datetime1">
              <a:rPr lang="ru-RU" smtClean="0"/>
              <a:t>01.11.2023</a:t>
            </a:fld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91917" y="347883"/>
            <a:ext cx="403034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86735163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4643085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4827FEC1-91E8-49BC-B405-9F28E6B3A027}" type="datetime1">
              <a:rPr lang="ru-RU" smtClean="0"/>
              <a:t>01.11.2023</a:t>
            </a:fld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2018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68637850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829005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CFCE58D5-3CCE-4C8B-A50B-1B08ED28D9DF}" type="datetime1">
              <a:rPr lang="ru-RU" smtClean="0"/>
              <a:t>01.11.2023</a:t>
            </a:fld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/>
          </p:nvPr>
        </p:nvSpPr>
        <p:spPr>
          <a:xfrm>
            <a:off x="358775" y="347883"/>
            <a:ext cx="4035425" cy="673100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67227138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Обложка 3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6573598" cy="5143500"/>
          </a:xfr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ru-RU"/>
              <a:t>Фото</a:t>
            </a:r>
          </a:p>
        </p:txBody>
      </p:sp>
      <p:sp>
        <p:nvSpPr>
          <p:cNvPr id="57" name="Прямоугольник 56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print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>
                <a:solidFill>
                  <a:schemeClr val="bg1"/>
                </a:solidFill>
              </a:rPr>
              <a:t>Партнеры</a:t>
            </a:r>
            <a:r>
              <a:rPr lang="ru-RU" sz="1100" baseline="0">
                <a:solidFill>
                  <a:schemeClr val="bg1"/>
                </a:solidFill>
              </a:rPr>
              <a:t> для роста</a:t>
            </a:r>
            <a:endParaRPr lang="ru-RU" sz="1100">
              <a:solidFill>
                <a:schemeClr val="bg1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Пиктограмма</a:t>
            </a: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1682928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3411402"/>
            <a:ext cx="5879250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>
                  <a:solidFill>
                    <a:schemeClr val="bg1"/>
                  </a:solidFill>
                </a:rPr>
              </a:br>
              <a:r>
                <a:rPr lang="ru-RU" sz="12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>
                  <a:solidFill>
                    <a:schemeClr val="bg1"/>
                  </a:solidFill>
                </a:rPr>
                <a:t> </a:t>
              </a:r>
              <a:r>
                <a:rPr lang="ru-RU" sz="800" baseline="0">
                  <a:solidFill>
                    <a:schemeClr val="bg1"/>
                  </a:solidFill>
                </a:rPr>
                <a:t>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en-US" sz="800" b="1">
                  <a:solidFill>
                    <a:schemeClr val="bg1"/>
                  </a:solidFill>
                </a:rPr>
                <a:t>Arial</a:t>
              </a:r>
              <a:r>
                <a:rPr lang="ru-RU" sz="800">
                  <a:solidFill>
                    <a:schemeClr val="bg1"/>
                  </a:solidFill>
                </a:rPr>
                <a:t> (</a:t>
              </a:r>
              <a:r>
                <a:rPr lang="ru-RU" sz="800" i="1">
                  <a:solidFill>
                    <a:schemeClr val="bg1"/>
                  </a:solidFill>
                </a:rPr>
                <a:t>д</a:t>
              </a:r>
              <a:r>
                <a:rPr lang="ru-RU" sz="800" i="1" baseline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r>
                <a:rPr lang="en-US" sz="800" baseline="0">
                  <a:solidFill>
                    <a:schemeClr val="bg1"/>
                  </a:solidFill>
                </a:rPr>
                <a:t>Arial Narrow</a:t>
              </a:r>
              <a:r>
                <a:rPr lang="ru-RU" sz="800" baseline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err="1">
                  <a:solidFill>
                    <a:schemeClr val="bg1"/>
                  </a:solidFill>
                </a:rPr>
                <a:t>пт</a:t>
              </a:r>
              <a:endParaRPr lang="ru-RU" sz="800" b="1" baseline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10</a:t>
              </a:r>
              <a:r>
                <a:rPr lang="ru-RU" sz="800" b="1" baseline="0">
                  <a:solidFill>
                    <a:schemeClr val="bg1"/>
                  </a:solidFill>
                </a:rPr>
                <a:t> </a:t>
              </a:r>
              <a:r>
                <a:rPr lang="ru-RU" sz="800" b="1" baseline="0" err="1">
                  <a:solidFill>
                    <a:schemeClr val="bg1"/>
                  </a:solidFill>
                </a:rPr>
                <a:t>пт</a:t>
              </a:r>
              <a:endParaRPr lang="ru-RU" sz="800" b="1" baseline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8</a:t>
              </a:r>
              <a:r>
                <a:rPr lang="ru-RU" sz="800" b="1" baseline="0">
                  <a:solidFill>
                    <a:schemeClr val="bg1"/>
                  </a:solidFill>
                </a:rPr>
                <a:t> </a:t>
              </a:r>
              <a:r>
                <a:rPr lang="ru-RU" sz="800" b="1" baseline="0" err="1">
                  <a:solidFill>
                    <a:schemeClr val="bg1"/>
                  </a:solidFill>
                </a:rPr>
                <a:t>пт</a:t>
              </a:r>
              <a:endParaRPr lang="ru-RU" sz="800" b="1" baseline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="1" baseline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иконок </a:t>
              </a:r>
              <a:r>
                <a:rPr lang="ru-RU" sz="800">
                  <a:solidFill>
                    <a:schemeClr val="bg1"/>
                  </a:solidFill>
                </a:rPr>
                <a:t>в</a:t>
              </a:r>
              <a:r>
                <a:rPr lang="ru-RU" sz="800" baseline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Нельзя</a:t>
              </a:r>
              <a:r>
                <a:rPr lang="ru-RU" sz="800" baseline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>
                  <a:solidFill>
                    <a:schemeClr val="bg1"/>
                  </a:solidFill>
                </a:rPr>
                <a:t> 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>
                    <a:solidFill>
                      <a:srgbClr val="FFFFFF"/>
                    </a:solidFill>
                  </a:rPr>
                  <a:t>14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</a:t>
                </a:r>
                <a:r>
                  <a:rPr lang="en-US" sz="700">
                    <a:solidFill>
                      <a:srgbClr val="FFFFFF"/>
                    </a:solidFill>
                  </a:rPr>
                  <a:t>49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>
                    <a:solidFill>
                      <a:srgbClr val="FFFFFF"/>
                    </a:solidFill>
                  </a:rPr>
                  <a:t>0,0,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>
                    <a:solidFill>
                      <a:schemeClr val="bg1"/>
                    </a:solidFill>
                  </a:rPr>
                  <a:t>0</a:t>
                </a:r>
                <a:br>
                  <a:rPr lang="en-US" sz="700">
                    <a:solidFill>
                      <a:schemeClr val="bg1"/>
                    </a:solidFill>
                  </a:rPr>
                </a:br>
                <a:r>
                  <a:rPr lang="ru-RU" sz="700">
                    <a:solidFill>
                      <a:schemeClr val="bg1"/>
                    </a:solidFill>
                  </a:rPr>
                  <a:t>49</a:t>
                </a:r>
                <a:br>
                  <a:rPr lang="ru-RU" sz="700">
                    <a:solidFill>
                      <a:schemeClr val="bg1"/>
                    </a:solidFill>
                  </a:rPr>
                </a:br>
                <a:r>
                  <a:rPr lang="ru-RU" sz="70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>
                    <a:solidFill>
                      <a:schemeClr val="bg1"/>
                    </a:solidFill>
                  </a:rPr>
                  <a:t>45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>
                    <a:solidFill>
                      <a:schemeClr val="bg1"/>
                    </a:solidFill>
                  </a:rPr>
                  <a:t>5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>
                    <a:solidFill>
                      <a:schemeClr val="bg1"/>
                    </a:solidFill>
                  </a:rPr>
                  <a:t>135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>
                    <a:solidFill>
                      <a:schemeClr val="bg1"/>
                    </a:solidFill>
                  </a:rPr>
                  <a:t>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chemeClr val="bg1"/>
                    </a:solidFill>
                  </a:rPr>
                  <a:t>1</a:t>
                </a:r>
                <a:r>
                  <a:rPr lang="en-US" sz="700">
                    <a:solidFill>
                      <a:schemeClr val="bg1"/>
                    </a:solidFill>
                  </a:rPr>
                  <a:t>4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>
                    <a:solidFill>
                      <a:schemeClr val="bg1"/>
                    </a:solidFill>
                  </a:rPr>
                  <a:t>250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>
                    <a:solidFill>
                      <a:srgbClr val="FFFFFF"/>
                    </a:solidFill>
                  </a:rPr>
                  <a:t>25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>
                    <a:solidFill>
                      <a:srgbClr val="FFFFFF"/>
                    </a:solidFill>
                  </a:rPr>
                  <a:t>12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>
                    <a:solidFill>
                      <a:srgbClr val="FFFFFF"/>
                    </a:solidFill>
                  </a:rPr>
                  <a:t>11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>
                    <a:solidFill>
                      <a:srgbClr val="FFFFFF"/>
                    </a:solidFill>
                  </a:rPr>
                  <a:t>224</a:t>
                </a:r>
                <a:br>
                  <a:rPr lang="en-US" sz="700">
                    <a:solidFill>
                      <a:srgbClr val="FFFFFF"/>
                    </a:solidFill>
                  </a:rPr>
                </a:br>
                <a:r>
                  <a:rPr lang="en-US" sz="700">
                    <a:solidFill>
                      <a:srgbClr val="FFFFFF"/>
                    </a:solidFill>
                  </a:rPr>
                  <a:t>78</a:t>
                </a:r>
                <a:br>
                  <a:rPr lang="en-US" sz="700">
                    <a:solidFill>
                      <a:srgbClr val="FFFFFF"/>
                    </a:solidFill>
                  </a:rPr>
                </a:br>
                <a:r>
                  <a:rPr lang="en-US" sz="700">
                    <a:solidFill>
                      <a:srgbClr val="FFFFFF"/>
                    </a:solidFill>
                  </a:rPr>
                  <a:t>57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err="1">
                    <a:solidFill>
                      <a:schemeClr val="bg1"/>
                    </a:solidFill>
                  </a:rPr>
                  <a:t>Доп.цвета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>
                    <a:solidFill>
                      <a:srgbClr val="FFFFFF"/>
                    </a:solidFill>
                  </a:rPr>
                  <a:t>7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>
                    <a:solidFill>
                      <a:srgbClr val="FFFFFF"/>
                    </a:solidFill>
                  </a:rPr>
                  <a:t>5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>
                    <a:solidFill>
                      <a:srgbClr val="FFFFFF"/>
                    </a:solidFill>
                  </a:rPr>
                  <a:t>3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>
                    <a:solidFill>
                      <a:schemeClr val="tx1"/>
                    </a:solidFill>
                  </a:rPr>
                  <a:t>10%</a:t>
                </a:r>
                <a:endParaRPr lang="ru-RU" sz="600">
                  <a:solidFill>
                    <a:schemeClr val="tx1"/>
                  </a:solidFill>
                </a:endParaRPr>
              </a:p>
            </p:txBody>
          </p:sp>
        </p:grpSp>
      </p:grpSp>
      <p:graphicFrame>
        <p:nvGraphicFramePr>
          <p:cNvPr id="64" name="Объект 6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7" imgW="270" imgH="270" progId="TCLayout.ActiveDocument.1">
                  <p:embed/>
                </p:oleObj>
              </mc:Choice>
              <mc:Fallback>
                <p:oleObj name="Слайд think-cell" r:id="rId7" imgW="270" imgH="270" progId="TCLayout.ActiveDocument.1">
                  <p:embed/>
                  <p:pic>
                    <p:nvPicPr>
                      <p:cNvPr id="64" name="Объект 6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Прямоугольник 64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66" name="Picture 29"/>
          <p:cNvPicPr>
            <a:picLocks noChangeAspect="1"/>
          </p:cNvPicPr>
          <p:nvPr/>
        </p:nvPicPr>
        <p:blipFill>
          <a:blip r:embed="rId6" cstate="print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67" name="TextBox 66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>
                <a:solidFill>
                  <a:schemeClr val="bg1"/>
                </a:solidFill>
              </a:rPr>
              <a:t>Партнеры</a:t>
            </a:r>
            <a:r>
              <a:rPr lang="ru-RU" sz="1100" baseline="0">
                <a:solidFill>
                  <a:schemeClr val="bg1"/>
                </a:solidFill>
              </a:rPr>
              <a:t> для роста</a:t>
            </a:r>
            <a:endParaRPr lang="ru-RU" sz="11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088650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вобод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62FD6321-B7B6-4357-AC78-6178CDE3486C}" type="datetime1">
              <a:rPr lang="ru-RU" smtClean="0"/>
              <a:t>01.11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529072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242719DF-6984-496E-9895-DAD19A4BCD5B}" type="datetime1">
              <a:rPr lang="ru-RU" smtClean="0"/>
              <a:t>01.11.2023</a:t>
            </a:fld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9166650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087973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30E9F1F8-4C7D-4FB6-8584-565E3DFDCB65}" type="datetime1">
              <a:rPr lang="ru-RU" smtClean="0"/>
              <a:t>01.11.2023</a:t>
            </a:fld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9332345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9239277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0D04E1F6-D66D-484C-BE72-EED100B8709E}" type="datetime1">
              <a:rPr lang="ru-RU" smtClean="0"/>
              <a:t>01.11.2023</a:t>
            </a:fld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09454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74992896-4E24-491D-B8B0-4F0EE8339FF8}" type="datetime1">
              <a:rPr lang="ru-RU" smtClean="0"/>
              <a:t>01.11.2023</a:t>
            </a:fld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9228973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5548540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8E64DDA5-8E3C-4328-B8B8-96C0C8577A8C}" type="datetime1">
              <a:rPr lang="ru-RU" smtClean="0"/>
              <a:t>01.11.2023</a:t>
            </a:fld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299799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372863-56EC-46FF-A0CF-AF96DAABAE72}" type="datetime1">
              <a:rPr lang="ru-RU" smtClean="0"/>
              <a:t>01.11.2023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Название слайда 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5A479FC-9093-4DA1-AAE9-3AB5D30110B2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556305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44496ED9-8864-48ED-8C4B-3B192B58626B}" type="datetime1">
              <a:rPr lang="ru-RU" smtClean="0"/>
              <a:t>01.11.2023</a:t>
            </a:fld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126014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5577569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34B14BFF-7C9A-4C2C-A51C-5CD9D1EF4A45}" type="datetime1">
              <a:rPr lang="ru-RU" smtClean="0"/>
              <a:t>01.11.2023</a:t>
            </a:fld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712550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B2AC987A-9FD8-4832-AAED-79A93C8F2107}" type="datetime1">
              <a:rPr lang="ru-RU" smtClean="0"/>
              <a:t>01.11.2023</a:t>
            </a:fld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535738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C497D39A-CD5F-4F77-83AF-27C8A0F8779C}" type="datetime1">
              <a:rPr lang="ru-RU" smtClean="0"/>
              <a:t>01.11.2023</a:t>
            </a:fld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614481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4AB5EC06-5189-4089-BAD5-2A60563A9B86}" type="datetime1">
              <a:rPr lang="ru-RU" smtClean="0"/>
              <a:t>01.11.2023</a:t>
            </a:fld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916084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D02992A2-BA30-49CD-9636-D28303CDB538}" type="datetime1">
              <a:rPr lang="ru-RU" smtClean="0"/>
              <a:t>01.11.2023</a:t>
            </a:fld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374549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95DF9E4B-6A0F-415A-BAD8-A026A0CB7DBD}" type="datetime1">
              <a:rPr lang="ru-RU" smtClean="0"/>
              <a:t>01.11.2023</a:t>
            </a:fld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573411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D44CC16B-14C3-444C-908E-D6C0C086223F}" type="datetime1">
              <a:rPr lang="ru-RU" smtClean="0"/>
              <a:t>01.11.2023</a:t>
            </a:fld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508807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4068083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5458823E-6FF4-42AB-888C-4DE4C52DA570}" type="datetime1">
              <a:rPr lang="ru-RU" smtClean="0"/>
              <a:t>01.11.2023</a:t>
            </a:fld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604741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403905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6577275A-5EF8-4CAA-9F61-EE9102212A10}" type="datetime1">
              <a:rPr lang="ru-RU" smtClean="0"/>
              <a:t>01.11.2023</a:t>
            </a:fld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226712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B1E308-284D-4947-936C-77FF301F5004}" type="datetime1">
              <a:rPr lang="ru-RU" smtClean="0"/>
              <a:t>01.11.2023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Название слайда 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6577CEF-DC58-476A-B444-91792B50813D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10026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7DDD088B-E927-4E5F-A38B-0EDBADBAA02E}" type="datetime1">
              <a:rPr lang="ru-RU" smtClean="0"/>
              <a:t>01.11.2023</a:t>
            </a:fld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272628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9356915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41040" y="347883"/>
            <a:ext cx="554418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BB5ECB6C-4E1A-40F6-88E7-C2381397A1A4}" type="datetime1">
              <a:rPr lang="ru-RU" smtClean="0"/>
              <a:t>01.11.2023</a:t>
            </a:fld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735311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2090482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30880" y="347883"/>
            <a:ext cx="555434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3D8E40D2-B857-4E6E-A3CE-FDF947D33E44}" type="datetime1">
              <a:rPr lang="ru-RU" smtClean="0"/>
              <a:t>01.11.2023</a:t>
            </a:fld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086795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9183916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41040" y="347883"/>
            <a:ext cx="554418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C440A5C1-8FE1-4466-A369-8D8569776562}" type="datetime1">
              <a:rPr lang="ru-RU" smtClean="0"/>
              <a:t>01.11.2023</a:t>
            </a:fld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946665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6046823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B4037BDD-F502-40B2-8286-3162DAB08C36}" type="datetime1">
              <a:rPr lang="ru-RU" smtClean="0"/>
              <a:t>01.11.2023</a:t>
            </a:fld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91917" y="347883"/>
            <a:ext cx="403034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98942771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4643085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389AD739-F795-4583-9BE8-49D41BD69D4A}" type="datetime1">
              <a:rPr lang="ru-RU" smtClean="0"/>
              <a:t>01.11.2023</a:t>
            </a:fld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2018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19800939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829005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701CEF04-1EEC-4C0A-B9AD-53E0DB2EC50F}" type="datetime1">
              <a:rPr lang="ru-RU" smtClean="0"/>
              <a:t>01.11.2023</a:t>
            </a:fld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слайда 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/>
          </p:nvPr>
        </p:nvSpPr>
        <p:spPr>
          <a:xfrm>
            <a:off x="358775" y="347883"/>
            <a:ext cx="4035425" cy="673100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75997883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F73FD5-BBFF-4B3D-9475-63FD91560C0D}" type="datetime1">
              <a:rPr lang="ru-RU" smtClean="0"/>
              <a:t>01.11.2023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Название слайда </a:t>
            </a: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932D34B-3074-49F9-BFF4-B1A1EE3AFDCD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937269-4C7A-4BBE-915B-7F86D8BDC1D7}" type="datetime1">
              <a:rPr lang="ru-RU" smtClean="0"/>
              <a:t>01.11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Название слайда </a:t>
            </a: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D91DE04-1ADA-4F55-AB49-252B69A37822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549025-FB7F-4826-892B-57B38429C1DC}" type="datetime1">
              <a:rPr lang="ru-RU" smtClean="0"/>
              <a:t>01.11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Название слайда </a:t>
            </a: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EEAF457-91DA-4FD9-8228-4E6EC9543CF5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1.emf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16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15.xml"/><Relationship Id="rId9" Type="http://schemas.openxmlformats.org/officeDocument/2006/relationships/theme" Target="../theme/theme2.xml"/><Relationship Id="rId14" Type="http://schemas.openxmlformats.org/officeDocument/2006/relationships/image" Target="../media/image1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26" Type="http://schemas.openxmlformats.org/officeDocument/2006/relationships/tags" Target="../tags/tag4.xml"/><Relationship Id="rId3" Type="http://schemas.openxmlformats.org/officeDocument/2006/relationships/slideLayout" Target="../slideLayouts/slideLayout22.xml"/><Relationship Id="rId21" Type="http://schemas.openxmlformats.org/officeDocument/2006/relationships/slideLayout" Target="../slideLayouts/slideLayout40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5" Type="http://schemas.openxmlformats.org/officeDocument/2006/relationships/theme" Target="../theme/theme3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slideLayout" Target="../slideLayouts/slideLayout39.xml"/><Relationship Id="rId29" Type="http://schemas.openxmlformats.org/officeDocument/2006/relationships/image" Target="../media/image11.emf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slideLayout" Target="../slideLayouts/slideLayout43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slideLayout" Target="../slideLayouts/slideLayout42.xml"/><Relationship Id="rId28" Type="http://schemas.openxmlformats.org/officeDocument/2006/relationships/oleObject" Target="../embeddings/oleObject3.bin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slideLayout" Target="../slideLayouts/slideLayout41.xml"/><Relationship Id="rId27" Type="http://schemas.openxmlformats.org/officeDocument/2006/relationships/tags" Target="../tags/tag5.xml"/><Relationship Id="rId30" Type="http://schemas.openxmlformats.org/officeDocument/2006/relationships/image" Target="../media/image1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slideLayout" Target="../slideLayouts/slideLayout56.xml"/><Relationship Id="rId18" Type="http://schemas.openxmlformats.org/officeDocument/2006/relationships/slideLayout" Target="../slideLayouts/slideLayout61.xml"/><Relationship Id="rId26" Type="http://schemas.openxmlformats.org/officeDocument/2006/relationships/tags" Target="../tags/tag32.xml"/><Relationship Id="rId3" Type="http://schemas.openxmlformats.org/officeDocument/2006/relationships/slideLayout" Target="../slideLayouts/slideLayout46.xml"/><Relationship Id="rId21" Type="http://schemas.openxmlformats.org/officeDocument/2006/relationships/slideLayout" Target="../slideLayouts/slideLayout64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17" Type="http://schemas.openxmlformats.org/officeDocument/2006/relationships/slideLayout" Target="../slideLayouts/slideLayout60.xml"/><Relationship Id="rId25" Type="http://schemas.openxmlformats.org/officeDocument/2006/relationships/tags" Target="../tags/tag31.xml"/><Relationship Id="rId2" Type="http://schemas.openxmlformats.org/officeDocument/2006/relationships/slideLayout" Target="../slideLayouts/slideLayout45.xml"/><Relationship Id="rId16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63.xml"/><Relationship Id="rId29" Type="http://schemas.openxmlformats.org/officeDocument/2006/relationships/image" Target="../media/image12.png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24" Type="http://schemas.openxmlformats.org/officeDocument/2006/relationships/theme" Target="../theme/theme4.xml"/><Relationship Id="rId5" Type="http://schemas.openxmlformats.org/officeDocument/2006/relationships/slideLayout" Target="../slideLayouts/slideLayout48.xml"/><Relationship Id="rId15" Type="http://schemas.openxmlformats.org/officeDocument/2006/relationships/slideLayout" Target="../slideLayouts/slideLayout58.xml"/><Relationship Id="rId23" Type="http://schemas.openxmlformats.org/officeDocument/2006/relationships/slideLayout" Target="../slideLayouts/slideLayout66.xml"/><Relationship Id="rId28" Type="http://schemas.openxmlformats.org/officeDocument/2006/relationships/image" Target="../media/image11.emf"/><Relationship Id="rId10" Type="http://schemas.openxmlformats.org/officeDocument/2006/relationships/slideLayout" Target="../slideLayouts/slideLayout53.xml"/><Relationship Id="rId19" Type="http://schemas.openxmlformats.org/officeDocument/2006/relationships/slideLayout" Target="../slideLayouts/slideLayout62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Relationship Id="rId22" Type="http://schemas.openxmlformats.org/officeDocument/2006/relationships/slideLayout" Target="../slideLayouts/slideLayout65.xml"/><Relationship Id="rId27" Type="http://schemas.openxmlformats.org/officeDocument/2006/relationships/oleObject" Target="../embeddings/oleObject29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05978"/>
            <a:ext cx="8229600" cy="85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200151"/>
            <a:ext cx="8229600" cy="3394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950EBF3-928A-4166-AF04-32ABAEF9A347}" type="datetime1">
              <a:rPr lang="ru-RU" smtClean="0"/>
              <a:t>01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ru-RU"/>
              <a:t>Название слайда 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fld id="{66671EC4-17C9-4D90-BDFA-B05C2BAD4823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2" imgW="270" imgH="270" progId="TCLayout.ActiveDocument.1">
                  <p:embed/>
                </p:oleObj>
              </mc:Choice>
              <mc:Fallback>
                <p:oleObj name="Слайд think-cell" r:id="rId12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11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5" y="1145282"/>
            <a:ext cx="8405216" cy="3401286"/>
          </a:xfrm>
          <a:prstGeom prst="rect">
            <a:avLst/>
          </a:prstGeom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2" y="353118"/>
            <a:ext cx="8426453" cy="66954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2" y="4755455"/>
            <a:ext cx="324954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8" y="4755454"/>
            <a:ext cx="5320871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/>
              <a:t>Название слайда </a:t>
            </a:r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5" y="4759819"/>
            <a:ext cx="957248" cy="1963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fld id="{45BFD8DB-7C23-4800-AD4C-3F7B2A99EE78}" type="datetime1">
              <a:rPr lang="ru-RU" smtClean="0"/>
              <a:t>01.11.2023</a:t>
            </a:fld>
            <a:endParaRPr lang="en-US"/>
          </a:p>
        </p:txBody>
      </p:sp>
      <p:pic>
        <p:nvPicPr>
          <p:cNvPr id="61" name="Рисунок 60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33" name="Группа 32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4" name="Прямоугольник 33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>
                  <a:solidFill>
                    <a:srgbClr val="FFFFFF"/>
                  </a:solidFill>
                </a:rPr>
                <a:t>140</a:t>
              </a:r>
              <a:endParaRPr lang="ru-RU" sz="70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>
                  <a:solidFill>
                    <a:srgbClr val="FFFFFF"/>
                  </a:solidFill>
                </a:rPr>
                <a:t>1</a:t>
              </a:r>
              <a:r>
                <a:rPr lang="en-US" sz="700">
                  <a:solidFill>
                    <a:srgbClr val="FFFFFF"/>
                  </a:solidFill>
                </a:rPr>
                <a:t>49</a:t>
              </a:r>
              <a:endParaRPr lang="ru-RU" sz="700">
                <a:solidFill>
                  <a:srgbClr val="FFFFFF"/>
                </a:solidFill>
              </a:endParaRPr>
            </a:p>
          </p:txBody>
        </p:sp>
        <p:sp>
          <p:nvSpPr>
            <p:cNvPr id="35" name="Прямоугольник 34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36" name="Прямоугольник 35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7" name="Прямоугольник 36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0" name="Прямоугольник 39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3" name="Прямоугольник 42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44" name="Прямоугольник 43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>
                  <a:solidFill>
                    <a:srgbClr val="FFFFFF"/>
                  </a:solidFill>
                </a:rPr>
                <a:t>0,0,0</a:t>
              </a:r>
              <a:endParaRPr lang="ru-RU" sz="700">
                <a:solidFill>
                  <a:srgbClr val="FFFFFF"/>
                </a:solidFill>
              </a:endParaRPr>
            </a:p>
          </p:txBody>
        </p:sp>
        <p:sp>
          <p:nvSpPr>
            <p:cNvPr id="45" name="Прямоугольник 44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>
                  <a:solidFill>
                    <a:schemeClr val="bg1"/>
                  </a:solidFill>
                </a:rPr>
                <a:t>0</a:t>
              </a:r>
              <a:br>
                <a:rPr lang="en-US" sz="700">
                  <a:solidFill>
                    <a:schemeClr val="bg1"/>
                  </a:solidFill>
                </a:rPr>
              </a:br>
              <a:r>
                <a:rPr lang="ru-RU" sz="700">
                  <a:solidFill>
                    <a:schemeClr val="bg1"/>
                  </a:solidFill>
                </a:rPr>
                <a:t>49</a:t>
              </a:r>
              <a:br>
                <a:rPr lang="ru-RU" sz="700">
                  <a:solidFill>
                    <a:schemeClr val="bg1"/>
                  </a:solidFill>
                </a:rPr>
              </a:br>
              <a:r>
                <a:rPr lang="ru-RU" sz="700">
                  <a:solidFill>
                    <a:schemeClr val="bg1"/>
                  </a:solidFill>
                </a:rPr>
                <a:t>60</a:t>
              </a:r>
            </a:p>
          </p:txBody>
        </p:sp>
        <p:sp>
          <p:nvSpPr>
            <p:cNvPr id="46" name="Прямоугольник 45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7" name="Прямоугольник 46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>
                  <a:solidFill>
                    <a:schemeClr val="bg1"/>
                  </a:solidFill>
                </a:rPr>
                <a:t>45</a:t>
              </a:r>
              <a:endParaRPr lang="ru-RU" sz="70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>
                  <a:solidFill>
                    <a:schemeClr val="bg1"/>
                  </a:solidFill>
                </a:rPr>
                <a:t>50</a:t>
              </a:r>
              <a:endParaRPr lang="ru-RU" sz="70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>
                  <a:solidFill>
                    <a:schemeClr val="bg1"/>
                  </a:solidFill>
                </a:rPr>
                <a:t>135</a:t>
              </a:r>
              <a:endParaRPr lang="ru-RU" sz="700">
                <a:solidFill>
                  <a:schemeClr val="bg1"/>
                </a:solidFill>
              </a:endParaRPr>
            </a:p>
          </p:txBody>
        </p:sp>
        <p:sp>
          <p:nvSpPr>
            <p:cNvPr id="48" name="Прямоугольник 47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>
                  <a:solidFill>
                    <a:srgbClr val="000000"/>
                  </a:solidFill>
                </a:rPr>
                <a:t>255</a:t>
              </a:r>
              <a:endParaRPr lang="ru-RU" sz="70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>
                  <a:solidFill>
                    <a:srgbClr val="000000"/>
                  </a:solidFill>
                </a:rPr>
                <a:t>255</a:t>
              </a:r>
              <a:endParaRPr lang="ru-RU" sz="70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>
                  <a:solidFill>
                    <a:srgbClr val="000000"/>
                  </a:solidFill>
                </a:rPr>
                <a:t>255</a:t>
              </a:r>
              <a:endParaRPr lang="ru-RU" sz="700">
                <a:solidFill>
                  <a:srgbClr val="000000"/>
                </a:solidFill>
              </a:endParaRPr>
            </a:p>
          </p:txBody>
        </p:sp>
        <p:sp>
          <p:nvSpPr>
            <p:cNvPr id="49" name="Прямоугольник 48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0" name="Прямоугольник 49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>
                  <a:solidFill>
                    <a:schemeClr val="bg1"/>
                  </a:solidFill>
                </a:rPr>
                <a:t>0</a:t>
              </a:r>
              <a:endParaRPr lang="ru-RU" sz="70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>
                  <a:solidFill>
                    <a:schemeClr val="bg1"/>
                  </a:solidFill>
                </a:rPr>
                <a:t>1</a:t>
              </a:r>
              <a:r>
                <a:rPr lang="en-US" sz="700">
                  <a:solidFill>
                    <a:schemeClr val="bg1"/>
                  </a:solidFill>
                </a:rPr>
                <a:t>40</a:t>
              </a:r>
              <a:endParaRPr lang="ru-RU" sz="70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>
                  <a:solidFill>
                    <a:schemeClr val="bg1"/>
                  </a:solidFill>
                </a:rPr>
                <a:t>250</a:t>
              </a:r>
              <a:endParaRPr lang="ru-RU" sz="700">
                <a:solidFill>
                  <a:schemeClr val="bg1"/>
                </a:solidFill>
              </a:endParaRPr>
            </a:p>
          </p:txBody>
        </p:sp>
        <p:sp>
          <p:nvSpPr>
            <p:cNvPr id="51" name="Прямоугольник 50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>
                  <a:solidFill>
                    <a:srgbClr val="FFFFFF"/>
                  </a:solidFill>
                </a:rPr>
                <a:t>250</a:t>
              </a:r>
              <a:endParaRPr lang="ru-RU" sz="70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>
                  <a:solidFill>
                    <a:srgbClr val="FFFFFF"/>
                  </a:solidFill>
                </a:rPr>
                <a:t>120</a:t>
              </a:r>
              <a:endParaRPr lang="ru-RU" sz="70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>
                  <a:solidFill>
                    <a:srgbClr val="FFFFFF"/>
                  </a:solidFill>
                </a:rPr>
                <a:t>110</a:t>
              </a:r>
              <a:endParaRPr lang="ru-RU" sz="700">
                <a:solidFill>
                  <a:srgbClr val="FFFFFF"/>
                </a:solidFill>
              </a:endParaRPr>
            </a:p>
          </p:txBody>
        </p:sp>
        <p:sp>
          <p:nvSpPr>
            <p:cNvPr id="52" name="Прямоугольник 51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>
                  <a:solidFill>
                    <a:srgbClr val="FFFFFF"/>
                  </a:solidFill>
                </a:rPr>
                <a:t>224</a:t>
              </a:r>
              <a:br>
                <a:rPr lang="en-US" sz="700">
                  <a:solidFill>
                    <a:srgbClr val="FFFFFF"/>
                  </a:solidFill>
                </a:rPr>
              </a:br>
              <a:r>
                <a:rPr lang="en-US" sz="700">
                  <a:solidFill>
                    <a:srgbClr val="FFFFFF"/>
                  </a:solidFill>
                </a:rPr>
                <a:t>78</a:t>
              </a:r>
              <a:br>
                <a:rPr lang="en-US" sz="700">
                  <a:solidFill>
                    <a:srgbClr val="FFFFFF"/>
                  </a:solidFill>
                </a:rPr>
              </a:br>
              <a:r>
                <a:rPr lang="en-US" sz="700">
                  <a:solidFill>
                    <a:srgbClr val="FFFFFF"/>
                  </a:solidFill>
                </a:rPr>
                <a:t>57</a:t>
              </a:r>
              <a:endParaRPr lang="ru-RU" sz="700">
                <a:solidFill>
                  <a:srgbClr val="FFFFFF"/>
                </a:solidFill>
              </a:endParaRPr>
            </a:p>
          </p:txBody>
        </p:sp>
        <p:sp>
          <p:nvSpPr>
            <p:cNvPr id="53" name="TextBox 52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/>
                <a:t>Основные</a:t>
              </a:r>
            </a:p>
          </p:txBody>
        </p:sp>
        <p:sp>
          <p:nvSpPr>
            <p:cNvPr id="54" name="TextBox 53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err="1"/>
                <a:t>Доп.цвета</a:t>
              </a:r>
              <a:endParaRPr lang="ru-RU" sz="800"/>
            </a:p>
          </p:txBody>
        </p:sp>
        <p:sp>
          <p:nvSpPr>
            <p:cNvPr id="55" name="Прямоугольник 54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>
                  <a:solidFill>
                    <a:srgbClr val="FFFFFF"/>
                  </a:solidFill>
                </a:rPr>
                <a:t>70%</a:t>
              </a:r>
              <a:endParaRPr lang="ru-RU" sz="600">
                <a:solidFill>
                  <a:srgbClr val="FFFFFF"/>
                </a:solidFill>
              </a:endParaRPr>
            </a:p>
          </p:txBody>
        </p:sp>
        <p:sp>
          <p:nvSpPr>
            <p:cNvPr id="56" name="Прямоугольник 55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>
                  <a:solidFill>
                    <a:srgbClr val="FFFFFF"/>
                  </a:solidFill>
                </a:rPr>
                <a:t>50%</a:t>
              </a:r>
              <a:endParaRPr lang="ru-RU" sz="600">
                <a:solidFill>
                  <a:srgbClr val="FFFFFF"/>
                </a:solidFill>
              </a:endParaRPr>
            </a:p>
          </p:txBody>
        </p:sp>
        <p:sp>
          <p:nvSpPr>
            <p:cNvPr id="57" name="Прямоугольник 56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>
                  <a:solidFill>
                    <a:srgbClr val="FFFFFF"/>
                  </a:solidFill>
                </a:rPr>
                <a:t>30%</a:t>
              </a:r>
              <a:endParaRPr lang="ru-RU" sz="600">
                <a:solidFill>
                  <a:srgbClr val="FFFFFF"/>
                </a:solidFill>
              </a:endParaRPr>
            </a:p>
          </p:txBody>
        </p:sp>
        <p:sp>
          <p:nvSpPr>
            <p:cNvPr id="58" name="Прямоугольник 57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>
                  <a:solidFill>
                    <a:schemeClr val="tx1"/>
                  </a:solidFill>
                </a:rPr>
                <a:t>10%</a:t>
              </a:r>
              <a:endParaRPr lang="ru-RU" sz="6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081259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lang="ru-RU" altLang="en-US" sz="1400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2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000" b="1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2880">
          <p15:clr>
            <a:srgbClr val="F26B43"/>
          </p15:clr>
        </p15:guide>
        <p15:guide id="8" pos="1920">
          <p15:clr>
            <a:srgbClr val="F26B43"/>
          </p15:clr>
        </p15:guide>
        <p15:guide id="9" pos="960">
          <p15:clr>
            <a:srgbClr val="F26B43"/>
          </p15:clr>
        </p15:guide>
        <p15:guide id="10" pos="3840">
          <p15:clr>
            <a:srgbClr val="F26B43"/>
          </p15:clr>
        </p15:guide>
        <p15:guide id="11" pos="4800">
          <p15:clr>
            <a:srgbClr val="F26B43"/>
          </p15:clr>
        </p15:guide>
        <p15:guide id="12" orient="horz" pos="162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915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355684280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8" imgW="270" imgH="270" progId="TCLayout.ActiveDocument.1">
                  <p:embed/>
                </p:oleObj>
              </mc:Choice>
              <mc:Fallback>
                <p:oleObj name="Слайд think-cell" r:id="rId28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27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47883"/>
            <a:ext cx="8426451" cy="6726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99" y="4755454"/>
            <a:ext cx="5317841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/>
              <a:t>Название слайда </a:t>
            </a:r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37849" y="4760860"/>
            <a:ext cx="958450" cy="1953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fld id="{F9D0CEE9-89D3-4628-8BFD-3C50FF7F86A7}" type="datetime1">
              <a:rPr lang="ru-RU" smtClean="0"/>
              <a:t>01.11.2023</a:t>
            </a:fld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358774" y="1145282"/>
            <a:ext cx="8426452" cy="34060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buFont typeface="Wingdings" charset="2"/>
            </a:pPr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pic>
        <p:nvPicPr>
          <p:cNvPr id="56" name="Рисунок 55"/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33" name="Группа 32"/>
          <p:cNvGrpSpPr/>
          <p:nvPr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4" name="Прямоугольник 33"/>
            <p:cNvSpPr/>
            <p:nvPr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>
                  <a:solidFill>
                    <a:srgbClr val="FFFFFF"/>
                  </a:solidFill>
                </a:rPr>
                <a:t>140</a:t>
              </a:r>
              <a:endParaRPr lang="ru-RU" sz="70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>
                  <a:solidFill>
                    <a:srgbClr val="FFFFFF"/>
                  </a:solidFill>
                </a:rPr>
                <a:t>1</a:t>
              </a:r>
              <a:r>
                <a:rPr lang="en-US" sz="700">
                  <a:solidFill>
                    <a:srgbClr val="FFFFFF"/>
                  </a:solidFill>
                </a:rPr>
                <a:t>49</a:t>
              </a:r>
              <a:endParaRPr lang="ru-RU" sz="700">
                <a:solidFill>
                  <a:srgbClr val="FFFFFF"/>
                </a:solidFill>
              </a:endParaRP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44" name="Прямоугольник 43"/>
            <p:cNvSpPr/>
            <p:nvPr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>
                  <a:solidFill>
                    <a:srgbClr val="FFFFFF"/>
                  </a:solidFill>
                </a:rPr>
                <a:t>0,0,0</a:t>
              </a:r>
              <a:endParaRPr lang="ru-RU" sz="700">
                <a:solidFill>
                  <a:srgbClr val="FFFFFF"/>
                </a:solidFill>
              </a:endParaRP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>
                  <a:solidFill>
                    <a:schemeClr val="bg1"/>
                  </a:solidFill>
                </a:rPr>
                <a:t>0</a:t>
              </a:r>
              <a:br>
                <a:rPr lang="en-US" sz="700">
                  <a:solidFill>
                    <a:schemeClr val="bg1"/>
                  </a:solidFill>
                </a:rPr>
              </a:br>
              <a:r>
                <a:rPr lang="ru-RU" sz="700">
                  <a:solidFill>
                    <a:schemeClr val="bg1"/>
                  </a:solidFill>
                </a:rPr>
                <a:t>49</a:t>
              </a:r>
              <a:br>
                <a:rPr lang="ru-RU" sz="700">
                  <a:solidFill>
                    <a:schemeClr val="bg1"/>
                  </a:solidFill>
                </a:rPr>
              </a:br>
              <a:r>
                <a:rPr lang="ru-RU" sz="700">
                  <a:solidFill>
                    <a:schemeClr val="bg1"/>
                  </a:solidFill>
                </a:rPr>
                <a:t>60</a:t>
              </a: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>
                  <a:solidFill>
                    <a:schemeClr val="bg1"/>
                  </a:solidFill>
                </a:rPr>
                <a:t>45</a:t>
              </a:r>
              <a:endParaRPr lang="ru-RU" sz="70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>
                  <a:solidFill>
                    <a:schemeClr val="bg1"/>
                  </a:solidFill>
                </a:rPr>
                <a:t>50</a:t>
              </a:r>
              <a:endParaRPr lang="ru-RU" sz="70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>
                  <a:solidFill>
                    <a:schemeClr val="bg1"/>
                  </a:solidFill>
                </a:rPr>
                <a:t>135</a:t>
              </a:r>
              <a:endParaRPr lang="ru-RU" sz="700">
                <a:solidFill>
                  <a:schemeClr val="bg1"/>
                </a:solidFill>
              </a:endParaRP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>
                  <a:solidFill>
                    <a:srgbClr val="000000"/>
                  </a:solidFill>
                </a:rPr>
                <a:t>255</a:t>
              </a:r>
              <a:endParaRPr lang="ru-RU" sz="70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>
                  <a:solidFill>
                    <a:srgbClr val="000000"/>
                  </a:solidFill>
                </a:rPr>
                <a:t>255</a:t>
              </a:r>
              <a:endParaRPr lang="ru-RU" sz="70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>
                  <a:solidFill>
                    <a:srgbClr val="000000"/>
                  </a:solidFill>
                </a:rPr>
                <a:t>255</a:t>
              </a:r>
              <a:endParaRPr lang="ru-RU" sz="700">
                <a:solidFill>
                  <a:srgbClr val="000000"/>
                </a:solidFill>
              </a:endParaRPr>
            </a:p>
          </p:txBody>
        </p:sp>
        <p:sp>
          <p:nvSpPr>
            <p:cNvPr id="49" name="Прямоугольник 48"/>
            <p:cNvSpPr/>
            <p:nvPr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>
                  <a:solidFill>
                    <a:schemeClr val="bg1"/>
                  </a:solidFill>
                </a:rPr>
                <a:t>0</a:t>
              </a:r>
              <a:endParaRPr lang="ru-RU" sz="70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>
                  <a:solidFill>
                    <a:schemeClr val="bg1"/>
                  </a:solidFill>
                </a:rPr>
                <a:t>1</a:t>
              </a:r>
              <a:r>
                <a:rPr lang="en-US" sz="700">
                  <a:solidFill>
                    <a:schemeClr val="bg1"/>
                  </a:solidFill>
                </a:rPr>
                <a:t>40</a:t>
              </a:r>
              <a:endParaRPr lang="ru-RU" sz="70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>
                  <a:solidFill>
                    <a:schemeClr val="bg1"/>
                  </a:solidFill>
                </a:rPr>
                <a:t>250</a:t>
              </a:r>
              <a:endParaRPr lang="ru-RU" sz="700">
                <a:solidFill>
                  <a:schemeClr val="bg1"/>
                </a:solidFill>
              </a:endParaRPr>
            </a:p>
          </p:txBody>
        </p:sp>
        <p:sp>
          <p:nvSpPr>
            <p:cNvPr id="51" name="Прямоугольник 50"/>
            <p:cNvSpPr/>
            <p:nvPr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>
                  <a:solidFill>
                    <a:srgbClr val="FFFFFF"/>
                  </a:solidFill>
                </a:rPr>
                <a:t>250</a:t>
              </a:r>
              <a:endParaRPr lang="ru-RU" sz="70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>
                  <a:solidFill>
                    <a:srgbClr val="FFFFFF"/>
                  </a:solidFill>
                </a:rPr>
                <a:t>120</a:t>
              </a:r>
              <a:endParaRPr lang="ru-RU" sz="70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>
                  <a:solidFill>
                    <a:srgbClr val="FFFFFF"/>
                  </a:solidFill>
                </a:rPr>
                <a:t>110</a:t>
              </a:r>
              <a:endParaRPr lang="ru-RU" sz="700">
                <a:solidFill>
                  <a:srgbClr val="FFFFFF"/>
                </a:solidFill>
              </a:endParaRPr>
            </a:p>
          </p:txBody>
        </p:sp>
        <p:sp>
          <p:nvSpPr>
            <p:cNvPr id="52" name="Прямоугольник 51"/>
            <p:cNvSpPr/>
            <p:nvPr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>
                  <a:solidFill>
                    <a:srgbClr val="FFFFFF"/>
                  </a:solidFill>
                </a:rPr>
                <a:t>224</a:t>
              </a:r>
              <a:br>
                <a:rPr lang="en-US" sz="700">
                  <a:solidFill>
                    <a:srgbClr val="FFFFFF"/>
                  </a:solidFill>
                </a:rPr>
              </a:br>
              <a:r>
                <a:rPr lang="en-US" sz="700">
                  <a:solidFill>
                    <a:srgbClr val="FFFFFF"/>
                  </a:solidFill>
                </a:rPr>
                <a:t>78</a:t>
              </a:r>
              <a:br>
                <a:rPr lang="en-US" sz="700">
                  <a:solidFill>
                    <a:srgbClr val="FFFFFF"/>
                  </a:solidFill>
                </a:rPr>
              </a:br>
              <a:r>
                <a:rPr lang="en-US" sz="700">
                  <a:solidFill>
                    <a:srgbClr val="FFFFFF"/>
                  </a:solidFill>
                </a:rPr>
                <a:t>57</a:t>
              </a:r>
              <a:endParaRPr lang="ru-RU" sz="700">
                <a:solidFill>
                  <a:srgbClr val="FFFFFF"/>
                </a:solidFill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/>
                <a:t>Основные</a:t>
              </a: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err="1"/>
                <a:t>Доп.цвета</a:t>
              </a:r>
              <a:endParaRPr lang="ru-RU" sz="800"/>
            </a:p>
          </p:txBody>
        </p:sp>
        <p:sp>
          <p:nvSpPr>
            <p:cNvPr id="55" name="Прямоугольник 54"/>
            <p:cNvSpPr/>
            <p:nvPr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>
                  <a:solidFill>
                    <a:srgbClr val="FFFFFF"/>
                  </a:solidFill>
                </a:rPr>
                <a:t>70%</a:t>
              </a:r>
              <a:endParaRPr lang="ru-RU" sz="600">
                <a:solidFill>
                  <a:srgbClr val="FFFFFF"/>
                </a:solidFill>
              </a:endParaRPr>
            </a:p>
          </p:txBody>
        </p:sp>
        <p:sp>
          <p:nvSpPr>
            <p:cNvPr id="57" name="Прямоугольник 56"/>
            <p:cNvSpPr/>
            <p:nvPr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>
                  <a:solidFill>
                    <a:srgbClr val="FFFFFF"/>
                  </a:solidFill>
                </a:rPr>
                <a:t>50%</a:t>
              </a:r>
              <a:endParaRPr lang="ru-RU" sz="600">
                <a:solidFill>
                  <a:srgbClr val="FFFFFF"/>
                </a:solidFill>
              </a:endParaRPr>
            </a:p>
          </p:txBody>
        </p:sp>
        <p:sp>
          <p:nvSpPr>
            <p:cNvPr id="58" name="Прямоугольник 57"/>
            <p:cNvSpPr/>
            <p:nvPr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>
                  <a:solidFill>
                    <a:srgbClr val="FFFFFF"/>
                  </a:solidFill>
                </a:rPr>
                <a:t>30%</a:t>
              </a:r>
              <a:endParaRPr lang="ru-RU" sz="60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>
                  <a:solidFill>
                    <a:schemeClr val="tx1"/>
                  </a:solidFill>
                </a:rPr>
                <a:t>10%</a:t>
              </a:r>
              <a:endParaRPr lang="ru-RU" sz="6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36381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  <p:sldLayoutId id="2147483697" r:id="rId14"/>
    <p:sldLayoutId id="2147483698" r:id="rId15"/>
    <p:sldLayoutId id="2147483699" r:id="rId16"/>
    <p:sldLayoutId id="2147483700" r:id="rId17"/>
    <p:sldLayoutId id="2147483701" r:id="rId18"/>
    <p:sldLayoutId id="2147483702" r:id="rId19"/>
    <p:sldLayoutId id="2147483703" r:id="rId20"/>
    <p:sldLayoutId id="2147483704" r:id="rId21"/>
    <p:sldLayoutId id="2147483705" r:id="rId22"/>
    <p:sldLayoutId id="2147483706" r:id="rId23"/>
    <p:sldLayoutId id="2147483707" r:id="rId24"/>
  </p:sldLayoutIdLst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None/>
        <a:defRPr lang="ru-RU" sz="1400" b="1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200" b="1" dirty="0" smtClean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000" dirty="0" smtClean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4800">
          <p15:clr>
            <a:srgbClr val="F26B43"/>
          </p15:clr>
        </p15:guide>
        <p15:guide id="8" orient="horz" pos="1915">
          <p15:clr>
            <a:srgbClr val="F26B43"/>
          </p15:clr>
        </p15:guide>
        <p15:guide id="9" pos="3840">
          <p15:clr>
            <a:srgbClr val="F26B43"/>
          </p15:clr>
        </p15:guide>
        <p15:guide id="10" pos="960">
          <p15:clr>
            <a:srgbClr val="F26B43"/>
          </p15:clr>
        </p15:guide>
        <p15:guide id="11" pos="1920">
          <p15:clr>
            <a:srgbClr val="F26B43"/>
          </p15:clr>
        </p15:guide>
        <p15:guide id="12" pos="288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62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355684280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7" imgW="270" imgH="270" progId="TCLayout.ActiveDocument.1">
                  <p:embed/>
                </p:oleObj>
              </mc:Choice>
              <mc:Fallback>
                <p:oleObj name="Слайд think-cell" r:id="rId27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26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47883"/>
            <a:ext cx="8426451" cy="6726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99" y="4755454"/>
            <a:ext cx="5317841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/>
              <a:t>Название слайда </a:t>
            </a:r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37849" y="4760860"/>
            <a:ext cx="958450" cy="1953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fld id="{D720143E-C705-45DF-A24B-E0C06B361606}" type="datetime1">
              <a:rPr lang="ru-RU" smtClean="0"/>
              <a:t>01.11.2023</a:t>
            </a:fld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358774" y="1145282"/>
            <a:ext cx="8426452" cy="34060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buFont typeface="Wingdings" charset="2"/>
            </a:pPr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pic>
        <p:nvPicPr>
          <p:cNvPr id="56" name="Рисунок 55"/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33" name="Группа 32"/>
          <p:cNvGrpSpPr/>
          <p:nvPr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4" name="Прямоугольник 33"/>
            <p:cNvSpPr/>
            <p:nvPr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>
                  <a:solidFill>
                    <a:srgbClr val="FFFFFF"/>
                  </a:solidFill>
                </a:rPr>
                <a:t>140</a:t>
              </a:r>
              <a:endParaRPr lang="ru-RU" sz="70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>
                  <a:solidFill>
                    <a:srgbClr val="FFFFFF"/>
                  </a:solidFill>
                </a:rPr>
                <a:t>1</a:t>
              </a:r>
              <a:r>
                <a:rPr lang="en-US" sz="700">
                  <a:solidFill>
                    <a:srgbClr val="FFFFFF"/>
                  </a:solidFill>
                </a:rPr>
                <a:t>49</a:t>
              </a:r>
              <a:endParaRPr lang="ru-RU" sz="700">
                <a:solidFill>
                  <a:srgbClr val="FFFFFF"/>
                </a:solidFill>
              </a:endParaRP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44" name="Прямоугольник 43"/>
            <p:cNvSpPr/>
            <p:nvPr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>
                  <a:solidFill>
                    <a:srgbClr val="FFFFFF"/>
                  </a:solidFill>
                </a:rPr>
                <a:t>0,0,0</a:t>
              </a:r>
              <a:endParaRPr lang="ru-RU" sz="700">
                <a:solidFill>
                  <a:srgbClr val="FFFFFF"/>
                </a:solidFill>
              </a:endParaRP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>
                  <a:solidFill>
                    <a:schemeClr val="bg1"/>
                  </a:solidFill>
                </a:rPr>
                <a:t>0</a:t>
              </a:r>
              <a:br>
                <a:rPr lang="en-US" sz="700">
                  <a:solidFill>
                    <a:schemeClr val="bg1"/>
                  </a:solidFill>
                </a:rPr>
              </a:br>
              <a:r>
                <a:rPr lang="ru-RU" sz="700">
                  <a:solidFill>
                    <a:schemeClr val="bg1"/>
                  </a:solidFill>
                </a:rPr>
                <a:t>49</a:t>
              </a:r>
              <a:br>
                <a:rPr lang="ru-RU" sz="700">
                  <a:solidFill>
                    <a:schemeClr val="bg1"/>
                  </a:solidFill>
                </a:rPr>
              </a:br>
              <a:r>
                <a:rPr lang="ru-RU" sz="700">
                  <a:solidFill>
                    <a:schemeClr val="bg1"/>
                  </a:solidFill>
                </a:rPr>
                <a:t>60</a:t>
              </a: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>
                  <a:solidFill>
                    <a:schemeClr val="bg1"/>
                  </a:solidFill>
                </a:rPr>
                <a:t>45</a:t>
              </a:r>
              <a:endParaRPr lang="ru-RU" sz="70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>
                  <a:solidFill>
                    <a:schemeClr val="bg1"/>
                  </a:solidFill>
                </a:rPr>
                <a:t>50</a:t>
              </a:r>
              <a:endParaRPr lang="ru-RU" sz="70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>
                  <a:solidFill>
                    <a:schemeClr val="bg1"/>
                  </a:solidFill>
                </a:rPr>
                <a:t>135</a:t>
              </a:r>
              <a:endParaRPr lang="ru-RU" sz="700">
                <a:solidFill>
                  <a:schemeClr val="bg1"/>
                </a:solidFill>
              </a:endParaRP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>
                  <a:solidFill>
                    <a:srgbClr val="000000"/>
                  </a:solidFill>
                </a:rPr>
                <a:t>255</a:t>
              </a:r>
              <a:endParaRPr lang="ru-RU" sz="70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>
                  <a:solidFill>
                    <a:srgbClr val="000000"/>
                  </a:solidFill>
                </a:rPr>
                <a:t>255</a:t>
              </a:r>
              <a:endParaRPr lang="ru-RU" sz="70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>
                  <a:solidFill>
                    <a:srgbClr val="000000"/>
                  </a:solidFill>
                </a:rPr>
                <a:t>255</a:t>
              </a:r>
              <a:endParaRPr lang="ru-RU" sz="700">
                <a:solidFill>
                  <a:srgbClr val="000000"/>
                </a:solidFill>
              </a:endParaRPr>
            </a:p>
          </p:txBody>
        </p:sp>
        <p:sp>
          <p:nvSpPr>
            <p:cNvPr id="49" name="Прямоугольник 48"/>
            <p:cNvSpPr/>
            <p:nvPr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>
                  <a:solidFill>
                    <a:schemeClr val="bg1"/>
                  </a:solidFill>
                </a:rPr>
                <a:t>0</a:t>
              </a:r>
              <a:endParaRPr lang="ru-RU" sz="70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>
                  <a:solidFill>
                    <a:schemeClr val="bg1"/>
                  </a:solidFill>
                </a:rPr>
                <a:t>1</a:t>
              </a:r>
              <a:r>
                <a:rPr lang="en-US" sz="700">
                  <a:solidFill>
                    <a:schemeClr val="bg1"/>
                  </a:solidFill>
                </a:rPr>
                <a:t>40</a:t>
              </a:r>
              <a:endParaRPr lang="ru-RU" sz="70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>
                  <a:solidFill>
                    <a:schemeClr val="bg1"/>
                  </a:solidFill>
                </a:rPr>
                <a:t>250</a:t>
              </a:r>
              <a:endParaRPr lang="ru-RU" sz="700">
                <a:solidFill>
                  <a:schemeClr val="bg1"/>
                </a:solidFill>
              </a:endParaRPr>
            </a:p>
          </p:txBody>
        </p:sp>
        <p:sp>
          <p:nvSpPr>
            <p:cNvPr id="51" name="Прямоугольник 50"/>
            <p:cNvSpPr/>
            <p:nvPr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>
                  <a:solidFill>
                    <a:srgbClr val="FFFFFF"/>
                  </a:solidFill>
                </a:rPr>
                <a:t>250</a:t>
              </a:r>
              <a:endParaRPr lang="ru-RU" sz="70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>
                  <a:solidFill>
                    <a:srgbClr val="FFFFFF"/>
                  </a:solidFill>
                </a:rPr>
                <a:t>120</a:t>
              </a:r>
              <a:endParaRPr lang="ru-RU" sz="70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>
                  <a:solidFill>
                    <a:srgbClr val="FFFFFF"/>
                  </a:solidFill>
                </a:rPr>
                <a:t>110</a:t>
              </a:r>
              <a:endParaRPr lang="ru-RU" sz="700">
                <a:solidFill>
                  <a:srgbClr val="FFFFFF"/>
                </a:solidFill>
              </a:endParaRPr>
            </a:p>
          </p:txBody>
        </p:sp>
        <p:sp>
          <p:nvSpPr>
            <p:cNvPr id="52" name="Прямоугольник 51"/>
            <p:cNvSpPr/>
            <p:nvPr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>
                  <a:solidFill>
                    <a:srgbClr val="FFFFFF"/>
                  </a:solidFill>
                </a:rPr>
                <a:t>224</a:t>
              </a:r>
              <a:br>
                <a:rPr lang="en-US" sz="700">
                  <a:solidFill>
                    <a:srgbClr val="FFFFFF"/>
                  </a:solidFill>
                </a:rPr>
              </a:br>
              <a:r>
                <a:rPr lang="en-US" sz="700">
                  <a:solidFill>
                    <a:srgbClr val="FFFFFF"/>
                  </a:solidFill>
                </a:rPr>
                <a:t>78</a:t>
              </a:r>
              <a:br>
                <a:rPr lang="en-US" sz="700">
                  <a:solidFill>
                    <a:srgbClr val="FFFFFF"/>
                  </a:solidFill>
                </a:rPr>
              </a:br>
              <a:r>
                <a:rPr lang="en-US" sz="700">
                  <a:solidFill>
                    <a:srgbClr val="FFFFFF"/>
                  </a:solidFill>
                </a:rPr>
                <a:t>57</a:t>
              </a:r>
              <a:endParaRPr lang="ru-RU" sz="700">
                <a:solidFill>
                  <a:srgbClr val="FFFFFF"/>
                </a:solidFill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/>
                <a:t>Основные</a:t>
              </a: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err="1"/>
                <a:t>Доп.цвета</a:t>
              </a:r>
              <a:endParaRPr lang="ru-RU" sz="800"/>
            </a:p>
          </p:txBody>
        </p:sp>
        <p:sp>
          <p:nvSpPr>
            <p:cNvPr id="55" name="Прямоугольник 54"/>
            <p:cNvSpPr/>
            <p:nvPr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>
                  <a:solidFill>
                    <a:srgbClr val="FFFFFF"/>
                  </a:solidFill>
                </a:rPr>
                <a:t>70%</a:t>
              </a:r>
              <a:endParaRPr lang="ru-RU" sz="600">
                <a:solidFill>
                  <a:srgbClr val="FFFFFF"/>
                </a:solidFill>
              </a:endParaRPr>
            </a:p>
          </p:txBody>
        </p:sp>
        <p:sp>
          <p:nvSpPr>
            <p:cNvPr id="57" name="Прямоугольник 56"/>
            <p:cNvSpPr/>
            <p:nvPr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>
                  <a:solidFill>
                    <a:srgbClr val="FFFFFF"/>
                  </a:solidFill>
                </a:rPr>
                <a:t>50%</a:t>
              </a:r>
              <a:endParaRPr lang="ru-RU" sz="600">
                <a:solidFill>
                  <a:srgbClr val="FFFFFF"/>
                </a:solidFill>
              </a:endParaRPr>
            </a:p>
          </p:txBody>
        </p:sp>
        <p:sp>
          <p:nvSpPr>
            <p:cNvPr id="58" name="Прямоугольник 57"/>
            <p:cNvSpPr/>
            <p:nvPr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>
                  <a:solidFill>
                    <a:srgbClr val="FFFFFF"/>
                  </a:solidFill>
                </a:rPr>
                <a:t>30%</a:t>
              </a:r>
              <a:endParaRPr lang="ru-RU" sz="60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>
                  <a:solidFill>
                    <a:schemeClr val="tx1"/>
                  </a:solidFill>
                </a:rPr>
                <a:t>10%</a:t>
              </a:r>
              <a:endParaRPr lang="ru-RU" sz="6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447801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20" r:id="rId12"/>
    <p:sldLayoutId id="2147483721" r:id="rId13"/>
    <p:sldLayoutId id="2147483722" r:id="rId14"/>
    <p:sldLayoutId id="2147483723" r:id="rId15"/>
    <p:sldLayoutId id="2147483724" r:id="rId16"/>
    <p:sldLayoutId id="2147483725" r:id="rId17"/>
    <p:sldLayoutId id="2147483726" r:id="rId18"/>
    <p:sldLayoutId id="2147483727" r:id="rId19"/>
    <p:sldLayoutId id="2147483728" r:id="rId20"/>
    <p:sldLayoutId id="2147483729" r:id="rId21"/>
    <p:sldLayoutId id="2147483730" r:id="rId22"/>
    <p:sldLayoutId id="2147483731" r:id="rId23"/>
  </p:sldLayoutIdLst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None/>
        <a:defRPr lang="ru-RU" sz="1400" b="1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200" b="1" dirty="0" smtClean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000" dirty="0" smtClean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4800">
          <p15:clr>
            <a:srgbClr val="F26B43"/>
          </p15:clr>
        </p15:guide>
        <p15:guide id="8" orient="horz" pos="1915">
          <p15:clr>
            <a:srgbClr val="F26B43"/>
          </p15:clr>
        </p15:guide>
        <p15:guide id="9" pos="3840">
          <p15:clr>
            <a:srgbClr val="F26B43"/>
          </p15:clr>
        </p15:guide>
        <p15:guide id="10" pos="960">
          <p15:clr>
            <a:srgbClr val="F26B43"/>
          </p15:clr>
        </p15:guide>
        <p15:guide id="11" pos="1920">
          <p15:clr>
            <a:srgbClr val="F26B43"/>
          </p15:clr>
        </p15:guide>
        <p15:guide id="12" pos="288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62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.jpeg"/><Relationship Id="rId4" Type="http://schemas.openxmlformats.org/officeDocument/2006/relationships/image" Target="../media/image2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.jpeg"/><Relationship Id="rId4" Type="http://schemas.openxmlformats.org/officeDocument/2006/relationships/image" Target="../media/image2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24.jpe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Relationship Id="rId9" Type="http://schemas.openxmlformats.org/officeDocument/2006/relationships/image" Target="../media/image2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40.png"/><Relationship Id="rId18" Type="http://schemas.openxmlformats.org/officeDocument/2006/relationships/image" Target="../media/image45.png"/><Relationship Id="rId26" Type="http://schemas.openxmlformats.org/officeDocument/2006/relationships/image" Target="../media/image52.png"/><Relationship Id="rId3" Type="http://schemas.openxmlformats.org/officeDocument/2006/relationships/image" Target="../media/image30.png"/><Relationship Id="rId21" Type="http://schemas.openxmlformats.org/officeDocument/2006/relationships/image" Target="../media/image48.png"/><Relationship Id="rId7" Type="http://schemas.openxmlformats.org/officeDocument/2006/relationships/image" Target="../media/image34.png"/><Relationship Id="rId12" Type="http://schemas.openxmlformats.org/officeDocument/2006/relationships/image" Target="../media/image39.png"/><Relationship Id="rId17" Type="http://schemas.openxmlformats.org/officeDocument/2006/relationships/image" Target="../media/image44.png"/><Relationship Id="rId25" Type="http://schemas.openxmlformats.org/officeDocument/2006/relationships/image" Target="../media/image51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43.png"/><Relationship Id="rId20" Type="http://schemas.openxmlformats.org/officeDocument/2006/relationships/image" Target="../media/image4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png"/><Relationship Id="rId11" Type="http://schemas.openxmlformats.org/officeDocument/2006/relationships/image" Target="../media/image38.png"/><Relationship Id="rId24" Type="http://schemas.openxmlformats.org/officeDocument/2006/relationships/image" Target="../media/image50.png"/><Relationship Id="rId5" Type="http://schemas.openxmlformats.org/officeDocument/2006/relationships/image" Target="../media/image32.png"/><Relationship Id="rId15" Type="http://schemas.openxmlformats.org/officeDocument/2006/relationships/image" Target="../media/image42.png"/><Relationship Id="rId23" Type="http://schemas.openxmlformats.org/officeDocument/2006/relationships/image" Target="../media/image22.png"/><Relationship Id="rId28" Type="http://schemas.openxmlformats.org/officeDocument/2006/relationships/image" Target="../media/image54.png"/><Relationship Id="rId10" Type="http://schemas.openxmlformats.org/officeDocument/2006/relationships/image" Target="../media/image37.png"/><Relationship Id="rId19" Type="http://schemas.openxmlformats.org/officeDocument/2006/relationships/image" Target="../media/image46.png"/><Relationship Id="rId4" Type="http://schemas.openxmlformats.org/officeDocument/2006/relationships/image" Target="../media/image31.png"/><Relationship Id="rId9" Type="http://schemas.openxmlformats.org/officeDocument/2006/relationships/image" Target="../media/image36.png"/><Relationship Id="rId14" Type="http://schemas.openxmlformats.org/officeDocument/2006/relationships/image" Target="../media/image41.png"/><Relationship Id="rId22" Type="http://schemas.openxmlformats.org/officeDocument/2006/relationships/image" Target="../media/image49.png"/><Relationship Id="rId27" Type="http://schemas.openxmlformats.org/officeDocument/2006/relationships/image" Target="../media/image5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6.xml"/><Relationship Id="rId4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svg"/><Relationship Id="rId13" Type="http://schemas.openxmlformats.org/officeDocument/2006/relationships/image" Target="../media/image67.png"/><Relationship Id="rId3" Type="http://schemas.openxmlformats.org/officeDocument/2006/relationships/image" Target="../media/image57.png"/><Relationship Id="rId7" Type="http://schemas.openxmlformats.org/officeDocument/2006/relationships/image" Target="../media/image61.png"/><Relationship Id="rId12" Type="http://schemas.openxmlformats.org/officeDocument/2006/relationships/image" Target="../media/image66.sv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0.svg"/><Relationship Id="rId11" Type="http://schemas.openxmlformats.org/officeDocument/2006/relationships/image" Target="../media/image65.png"/><Relationship Id="rId5" Type="http://schemas.openxmlformats.org/officeDocument/2006/relationships/image" Target="../media/image59.png"/><Relationship Id="rId10" Type="http://schemas.openxmlformats.org/officeDocument/2006/relationships/image" Target="../media/image64.svg"/><Relationship Id="rId4" Type="http://schemas.openxmlformats.org/officeDocument/2006/relationships/image" Target="../media/image58.svg"/><Relationship Id="rId9" Type="http://schemas.openxmlformats.org/officeDocument/2006/relationships/image" Target="../media/image63.png"/><Relationship Id="rId14" Type="http://schemas.openxmlformats.org/officeDocument/2006/relationships/image" Target="../media/image68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svg"/><Relationship Id="rId13" Type="http://schemas.openxmlformats.org/officeDocument/2006/relationships/image" Target="../media/image79.png"/><Relationship Id="rId3" Type="http://schemas.openxmlformats.org/officeDocument/2006/relationships/image" Target="../media/image69.png"/><Relationship Id="rId7" Type="http://schemas.openxmlformats.org/officeDocument/2006/relationships/image" Target="../media/image73.png"/><Relationship Id="rId12" Type="http://schemas.openxmlformats.org/officeDocument/2006/relationships/image" Target="../media/image78.sv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2.svg"/><Relationship Id="rId11" Type="http://schemas.openxmlformats.org/officeDocument/2006/relationships/image" Target="../media/image77.png"/><Relationship Id="rId5" Type="http://schemas.openxmlformats.org/officeDocument/2006/relationships/image" Target="../media/image71.png"/><Relationship Id="rId10" Type="http://schemas.openxmlformats.org/officeDocument/2006/relationships/image" Target="../media/image76.svg"/><Relationship Id="rId4" Type="http://schemas.openxmlformats.org/officeDocument/2006/relationships/image" Target="../media/image70.svg"/><Relationship Id="rId9" Type="http://schemas.openxmlformats.org/officeDocument/2006/relationships/image" Target="../media/image75.png"/><Relationship Id="rId14" Type="http://schemas.openxmlformats.org/officeDocument/2006/relationships/image" Target="../media/image80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CFC92FA8-135F-83E9-B501-EB591FFAACF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81" r="7381"/>
          <a:stretch/>
        </p:blipFill>
        <p:spPr>
          <a:xfrm>
            <a:off x="0" y="-1351"/>
            <a:ext cx="6573598" cy="5143500"/>
          </a:xfrm>
          <a:prstGeom prst="rect">
            <a:avLst/>
          </a:prstGeom>
          <a:solidFill>
            <a:srgbClr val="00313C"/>
          </a:solidFill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2C42D792-DF59-45B1-0C16-A4FF8D78F53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73600" y="-1"/>
            <a:ext cx="2570400" cy="2570400"/>
          </a:xfrm>
          <a:prstGeom prst="rect">
            <a:avLst/>
          </a:prstGeom>
          <a:effectLst>
            <a:glow>
              <a:schemeClr val="accent1">
                <a:alpha val="40000"/>
              </a:schemeClr>
            </a:glow>
            <a:outerShdw blurRad="50800" dist="50800" dir="5400000" algn="ctr" rotWithShape="0">
              <a:srgbClr val="000000">
                <a:alpha val="0"/>
              </a:srgbClr>
            </a:outerShdw>
            <a:reflection stA="0" endPos="65000" dist="50800" dir="5400000" sy="-100000" algn="bl" rotWithShape="0"/>
          </a:effectLst>
        </p:spPr>
      </p:pic>
      <p:sp>
        <p:nvSpPr>
          <p:cNvPr id="11" name="Текст 6">
            <a:extLst>
              <a:ext uri="{FF2B5EF4-FFF2-40B4-BE49-F238E27FC236}">
                <a16:creationId xmlns:a16="http://schemas.microsoft.com/office/drawing/2014/main" id="{FB7F0052-5EBE-23B9-EA2F-834A73F85664}"/>
              </a:ext>
            </a:extLst>
          </p:cNvPr>
          <p:cNvSpPr txBox="1">
            <a:spLocks/>
          </p:cNvSpPr>
          <p:nvPr/>
        </p:nvSpPr>
        <p:spPr>
          <a:xfrm>
            <a:off x="358776" y="3411402"/>
            <a:ext cx="5879250" cy="4857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  <a:defRPr sz="1400" b="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200" b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00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90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3C"/>
              </a:buClr>
              <a:buSzTx/>
              <a:buFont typeface="Wingdings" charset="2"/>
              <a:buNone/>
              <a:tabLst/>
              <a:defRPr/>
            </a:pP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AE43F734-C175-F8E2-D5E3-42E329E71D7C}"/>
              </a:ext>
            </a:extLst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2700" y="905469"/>
            <a:ext cx="1676400" cy="759460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62BF2284-EEB9-13B3-2783-28F613F26970}"/>
              </a:ext>
            </a:extLst>
          </p:cNvPr>
          <p:cNvSpPr/>
          <p:nvPr/>
        </p:nvSpPr>
        <p:spPr bwMode="auto">
          <a:xfrm>
            <a:off x="-24384" y="-1352"/>
            <a:ext cx="6597980" cy="5144851"/>
          </a:xfrm>
          <a:prstGeom prst="rect">
            <a:avLst/>
          </a:prstGeom>
          <a:gradFill>
            <a:gsLst>
              <a:gs pos="18000">
                <a:srgbClr val="008C95">
                  <a:lumMod val="5000"/>
                  <a:lumOff val="95000"/>
                  <a:alpha val="0"/>
                </a:srgbClr>
              </a:gs>
              <a:gs pos="61000">
                <a:srgbClr val="000000">
                  <a:alpha val="71000"/>
                </a:srgbClr>
              </a:gs>
              <a:gs pos="85000">
                <a:srgbClr val="00313C">
                  <a:alpha val="86000"/>
                </a:srgb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dirty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  <p:sp>
        <p:nvSpPr>
          <p:cNvPr id="8" name="Заголовок 3">
            <a:extLst>
              <a:ext uri="{FF2B5EF4-FFF2-40B4-BE49-F238E27FC236}">
                <a16:creationId xmlns:a16="http://schemas.microsoft.com/office/drawing/2014/main" id="{5CFF0E78-175E-4221-A18B-07A3FE4D1D9F}"/>
              </a:ext>
            </a:extLst>
          </p:cNvPr>
          <p:cNvSpPr txBox="1">
            <a:spLocks/>
          </p:cNvSpPr>
          <p:nvPr/>
        </p:nvSpPr>
        <p:spPr>
          <a:xfrm>
            <a:off x="405755" y="2390721"/>
            <a:ext cx="5963390" cy="1335002"/>
          </a:xfrm>
          <a:prstGeom prst="rect">
            <a:avLst/>
          </a:prstGeom>
          <a:effectLst/>
        </p:spPr>
        <p:txBody>
          <a:bodyPr vert="horz" lIns="0" tIns="0" rIns="0" bIns="0" rtlCol="0" anchor="t">
            <a:normAutofit fontScale="55000" lnSpcReduction="20000"/>
          </a:bodyPr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latin typeface="+mj-lt"/>
                <a:ea typeface="+mn-ea"/>
                <a:cs typeface="Arial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just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Анализ рисков и </a:t>
            </a:r>
            <a:r>
              <a:rPr lang="ru-RU" sz="4400" b="1" kern="0" dirty="0">
                <a:solidFill>
                  <a:schemeClr val="bg1"/>
                </a:solidFill>
                <a:latin typeface="Arial"/>
                <a:ea typeface="+mj-ea"/>
                <a:cs typeface="+mj-cs"/>
              </a:rPr>
              <a:t>финансирование </a:t>
            </a:r>
            <a:r>
              <a:rPr kumimoji="0" lang="ru-RU" sz="4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на </a:t>
            </a:r>
            <a:r>
              <a:rPr lang="ru-RU" sz="4400" b="1" kern="0" dirty="0">
                <a:solidFill>
                  <a:schemeClr val="bg1"/>
                </a:solidFill>
                <a:latin typeface="Arial"/>
                <a:ea typeface="+mj-ea"/>
                <a:cs typeface="+mj-cs"/>
              </a:rPr>
              <a:t>предприятии</a:t>
            </a:r>
            <a:r>
              <a:rPr kumimoji="0" lang="ru-RU" sz="4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ПАО «Казаньоргсинтез»</a:t>
            </a:r>
            <a:endParaRPr kumimoji="0" lang="ru-RU" sz="4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9" name="Текст 4">
            <a:extLst>
              <a:ext uri="{FF2B5EF4-FFF2-40B4-BE49-F238E27FC236}">
                <a16:creationId xmlns:a16="http://schemas.microsoft.com/office/drawing/2014/main" id="{39A435E8-F28E-4D86-58F7-28C68D2C62D3}"/>
              </a:ext>
            </a:extLst>
          </p:cNvPr>
          <p:cNvSpPr txBox="1">
            <a:spLocks/>
          </p:cNvSpPr>
          <p:nvPr/>
        </p:nvSpPr>
        <p:spPr>
          <a:xfrm>
            <a:off x="395288" y="405895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  <a:defRPr lang="ru-RU" sz="1200" b="0" baseline="0" dirty="0">
                <a:solidFill>
                  <a:srgbClr val="FFFFFF"/>
                </a:solidFill>
                <a:effectLst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200" b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00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90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3C"/>
              </a:buClr>
              <a:buSzTx/>
              <a:buFont typeface="Wingdings" charset="2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-mail</a:t>
            </a:r>
            <a:r>
              <a:rPr lang="en-US" kern="0" dirty="0">
                <a:solidFill>
                  <a:sysClr val="window" lastClr="FFFFFF"/>
                </a:solidFill>
                <a:latin typeface="Arial"/>
              </a:rPr>
              <a:t>: 				    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delkonikita345@gmail.com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3C"/>
              </a:buClr>
              <a:buSzTx/>
              <a:buFont typeface="Wingdings" charset="2"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Телефон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				            </a:t>
            </a:r>
            <a:r>
              <a:rPr kumimoji="0" lang="ru-RU" sz="12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7 (919)-722-80-20</a:t>
            </a:r>
          </a:p>
        </p:txBody>
      </p:sp>
      <p:sp>
        <p:nvSpPr>
          <p:cNvPr id="10" name="Текст 5">
            <a:extLst>
              <a:ext uri="{FF2B5EF4-FFF2-40B4-BE49-F238E27FC236}">
                <a16:creationId xmlns:a16="http://schemas.microsoft.com/office/drawing/2014/main" id="{3A178B3E-DFB0-07BE-33CE-D8ED403C546C}"/>
              </a:ext>
            </a:extLst>
          </p:cNvPr>
          <p:cNvSpPr txBox="1">
            <a:spLocks/>
          </p:cNvSpPr>
          <p:nvPr/>
        </p:nvSpPr>
        <p:spPr>
          <a:xfrm>
            <a:off x="395288" y="4620237"/>
            <a:ext cx="5866765" cy="34581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  <a:defRPr sz="1000" b="0" baseline="0">
                <a:solidFill>
                  <a:srgbClr val="FFFFFF"/>
                </a:solidFill>
                <a:effectLst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200" b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00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90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3C"/>
              </a:buClr>
              <a:buSzTx/>
              <a:buFont typeface="Wingdings" charset="2"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«Смешарики»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25A3CBE5-5F8D-10A8-B6D8-95A68697AAC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73598" y="2570398"/>
            <a:ext cx="2570400" cy="2573102"/>
          </a:xfrm>
          <a:prstGeom prst="rect">
            <a:avLst/>
          </a:prstGeom>
        </p:spPr>
      </p:pic>
      <p:pic>
        <p:nvPicPr>
          <p:cNvPr id="1028" name="Picture 4" descr="Portal">
            <a:extLst>
              <a:ext uri="{FF2B5EF4-FFF2-40B4-BE49-F238E27FC236}">
                <a16:creationId xmlns:a16="http://schemas.microsoft.com/office/drawing/2014/main" id="{093A3794-D5AB-B7A2-93C4-4C2EDE5FF3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4717" y="3690728"/>
            <a:ext cx="2308165" cy="4128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601747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Заголовок 66">
            <a:extLst>
              <a:ext uri="{FF2B5EF4-FFF2-40B4-BE49-F238E27FC236}">
                <a16:creationId xmlns:a16="http://schemas.microsoft.com/office/drawing/2014/main" id="{F4CA4373-A9F6-B4E0-D4F6-3847E9495122}"/>
              </a:ext>
            </a:extLst>
          </p:cNvPr>
          <p:cNvSpPr txBox="1">
            <a:spLocks/>
          </p:cNvSpPr>
          <p:nvPr/>
        </p:nvSpPr>
        <p:spPr>
          <a:xfrm>
            <a:off x="395288" y="339725"/>
            <a:ext cx="8389937" cy="28780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0" cap="none" spc="0" normalizeH="0" baseline="0" noProof="0">
                <a:ln>
                  <a:noFill/>
                </a:ln>
                <a:solidFill>
                  <a:srgbClr val="008C95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Спасибо за внимание</a:t>
            </a: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solidFill>
                  <a:srgbClr val="008C95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!</a:t>
            </a:r>
            <a:endParaRPr kumimoji="0" lang="ru-RU" sz="2800" b="1" i="0" u="none" strike="noStrike" kern="0" cap="none" spc="0" normalizeH="0" baseline="0" noProof="0">
              <a:ln>
                <a:noFill/>
              </a:ln>
              <a:solidFill>
                <a:srgbClr val="008C95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4CB503C7-E6D5-0B58-933C-55E7371B261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22" b="12322"/>
          <a:stretch/>
        </p:blipFill>
        <p:spPr bwMode="auto">
          <a:xfrm>
            <a:off x="395288" y="1387920"/>
            <a:ext cx="1764000" cy="1764000"/>
          </a:xfrm>
          <a:prstGeom prst="ellipse">
            <a:avLst/>
          </a:prstGeom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EF324903-F1B0-ED25-6550-C1280917027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301225" y="1387920"/>
            <a:ext cx="1764001" cy="1764000"/>
          </a:xfrm>
          <a:prstGeom prst="ellipse">
            <a:avLst/>
          </a:prstGeom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</p:pic>
      <p:sp>
        <p:nvSpPr>
          <p:cNvPr id="23" name="Текст 65">
            <a:extLst>
              <a:ext uri="{FF2B5EF4-FFF2-40B4-BE49-F238E27FC236}">
                <a16:creationId xmlns:a16="http://schemas.microsoft.com/office/drawing/2014/main" id="{6C3FA8B3-0317-C2FD-350B-89BF7B24D894}"/>
              </a:ext>
            </a:extLst>
          </p:cNvPr>
          <p:cNvSpPr txBox="1">
            <a:spLocks/>
          </p:cNvSpPr>
          <p:nvPr/>
        </p:nvSpPr>
        <p:spPr bwMode="auto">
          <a:xfrm>
            <a:off x="395287" y="3261144"/>
            <a:ext cx="2460183" cy="1546250"/>
          </a:xfrm>
          <a:prstGeom prst="rect">
            <a:avLst/>
          </a:prstGeom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charset="2"/>
              <a:buNone/>
              <a:defRPr lang="ru-RU" altLang="en-US" sz="14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1200" b="1" dirty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1000" b="1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90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800" baseline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Wingdings" charset="2"/>
              <a:buNone/>
              <a:tabLst/>
              <a:defRPr/>
            </a:pPr>
            <a:r>
              <a:rPr lang="ru-RU" altLang="en-US" kern="0" dirty="0">
                <a:solidFill>
                  <a:srgbClr val="003D4C"/>
                </a:solidFill>
                <a:latin typeface="Arial"/>
              </a:rPr>
              <a:t>Никита Неделько</a:t>
            </a:r>
            <a:endParaRPr kumimoji="0" lang="ru-RU" altLang="en-US" sz="1400" b="1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</a:rPr>
              <a:t>Капитан</a:t>
            </a:r>
          </a:p>
          <a:p>
            <a:pPr lvl="4" algn="just">
              <a:buClr>
                <a:srgbClr val="008C95"/>
              </a:buClr>
            </a:pPr>
            <a:r>
              <a:rPr lang="ru-RU" altLang="en-US" sz="900" kern="0" dirty="0">
                <a:solidFill>
                  <a:srgbClr val="003D4C"/>
                </a:solidFill>
                <a:latin typeface="Arial"/>
              </a:rPr>
              <a:t>Осуществлял общее взаимодействие членов команды. Анализировал работу производств Казаньоргсинтез. Строил структуру решения кейса. Выполнял оформление презентации. Помогал считать денежные потери рисков.</a:t>
            </a:r>
          </a:p>
        </p:txBody>
      </p:sp>
      <p:sp>
        <p:nvSpPr>
          <p:cNvPr id="24" name="Текст 67">
            <a:extLst>
              <a:ext uri="{FF2B5EF4-FFF2-40B4-BE49-F238E27FC236}">
                <a16:creationId xmlns:a16="http://schemas.microsoft.com/office/drawing/2014/main" id="{2F597E72-0486-EE00-6C67-80EB0CC07122}"/>
              </a:ext>
            </a:extLst>
          </p:cNvPr>
          <p:cNvSpPr txBox="1">
            <a:spLocks/>
          </p:cNvSpPr>
          <p:nvPr/>
        </p:nvSpPr>
        <p:spPr bwMode="auto">
          <a:xfrm>
            <a:off x="3371301" y="3261144"/>
            <a:ext cx="2484000" cy="1546250"/>
          </a:xfrm>
          <a:prstGeom prst="rect">
            <a:avLst/>
          </a:prstGeom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charset="2"/>
              <a:buNone/>
              <a:defRPr lang="ru-RU" altLang="en-US" sz="14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1200" b="1" dirty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1000" b="1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90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800" baseline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Wingdings" charset="2"/>
              <a:buNone/>
              <a:tabLst/>
              <a:defRPr/>
            </a:pPr>
            <a:r>
              <a:rPr kumimoji="0" lang="ru-RU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Ульяна Беляева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</a:rPr>
              <a:t>Аналитик и финансист</a:t>
            </a:r>
          </a:p>
          <a:p>
            <a:pPr marL="0" marR="0" lvl="3" indent="0" algn="just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</a:rPr>
              <a:t>Анализировала риски компании, рассчитывала денежные потери, писала аннотацию.</a:t>
            </a:r>
          </a:p>
        </p:txBody>
      </p:sp>
      <p:sp>
        <p:nvSpPr>
          <p:cNvPr id="25" name="Текст 68">
            <a:extLst>
              <a:ext uri="{FF2B5EF4-FFF2-40B4-BE49-F238E27FC236}">
                <a16:creationId xmlns:a16="http://schemas.microsoft.com/office/drawing/2014/main" id="{36BC5DE9-C219-0071-83DF-939A01552E65}"/>
              </a:ext>
            </a:extLst>
          </p:cNvPr>
          <p:cNvSpPr txBox="1">
            <a:spLocks/>
          </p:cNvSpPr>
          <p:nvPr/>
        </p:nvSpPr>
        <p:spPr bwMode="auto">
          <a:xfrm>
            <a:off x="6301225" y="3261144"/>
            <a:ext cx="2484000" cy="1546250"/>
          </a:xfrm>
          <a:prstGeom prst="rect">
            <a:avLst/>
          </a:prstGeom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charset="2"/>
              <a:buNone/>
              <a:defRPr lang="ru-RU" altLang="en-US" sz="14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1200" b="1" dirty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1000" b="1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90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800" baseline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Wingdings" charset="2"/>
              <a:buNone/>
              <a:tabLst/>
              <a:defRPr/>
            </a:pPr>
            <a:r>
              <a:rPr kumimoji="0" lang="ru-RU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орбунов Александр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</a:rPr>
              <a:t>Финансист и дизайнер</a:t>
            </a: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</a:rPr>
              <a:t>Анализировал риски и стратегические приоритеты предприятия и распределял выделенные на развитие средства.</a:t>
            </a:r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76EFC9C8-5E80-42D3-23AD-2373852E570C}"/>
              </a:ext>
            </a:extLst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5189" y="339725"/>
            <a:ext cx="1033507" cy="468210"/>
          </a:xfrm>
          <a:prstGeom prst="rect">
            <a:avLst/>
          </a:prstGeom>
        </p:spPr>
      </p:pic>
      <p:sp>
        <p:nvSpPr>
          <p:cNvPr id="28" name="Заголовок 66">
            <a:extLst>
              <a:ext uri="{FF2B5EF4-FFF2-40B4-BE49-F238E27FC236}">
                <a16:creationId xmlns:a16="http://schemas.microsoft.com/office/drawing/2014/main" id="{F54E0094-467C-8F17-0612-D05095565FCF}"/>
              </a:ext>
            </a:extLst>
          </p:cNvPr>
          <p:cNvSpPr txBox="1">
            <a:spLocks/>
          </p:cNvSpPr>
          <p:nvPr/>
        </p:nvSpPr>
        <p:spPr>
          <a:xfrm>
            <a:off x="395288" y="917159"/>
            <a:ext cx="8389937" cy="68293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>
                <a:ln>
                  <a:noFill/>
                </a:ln>
                <a:solidFill>
                  <a:srgbClr val="008C95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Свое решение представила команда «Смешарики» в составе:</a:t>
            </a:r>
          </a:p>
        </p:txBody>
      </p:sp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39EE951A-D584-FF86-E27E-809D2ABB9826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 bwMode="auto">
          <a:xfrm>
            <a:off x="3348256" y="1387920"/>
            <a:ext cx="1764000" cy="1764000"/>
          </a:xfrm>
          <a:prstGeom prst="ellipse">
            <a:avLst/>
          </a:prstGeom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</p:pic>
      <p:sp>
        <p:nvSpPr>
          <p:cNvPr id="31" name="Номер слайда 30">
            <a:extLst>
              <a:ext uri="{FF2B5EF4-FFF2-40B4-BE49-F238E27FC236}">
                <a16:creationId xmlns:a16="http://schemas.microsoft.com/office/drawing/2014/main" id="{EE5800EC-CEA8-F25A-2D8C-2B1CC7C7ED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0A57E3-EA23-4E01-B1DF-72CA8D4A16E5}" type="slidenum">
              <a:rPr lang="ru-RU" altLang="ru-RU" smtClean="0"/>
              <a:pPr/>
              <a:t>10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1266071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66">
            <a:extLst>
              <a:ext uri="{FF2B5EF4-FFF2-40B4-BE49-F238E27FC236}">
                <a16:creationId xmlns:a16="http://schemas.microsoft.com/office/drawing/2014/main" id="{37E2589E-A386-E670-BC52-9D97F86E5F0D}"/>
              </a:ext>
            </a:extLst>
          </p:cNvPr>
          <p:cNvSpPr txBox="1">
            <a:spLocks/>
          </p:cNvSpPr>
          <p:nvPr/>
        </p:nvSpPr>
        <p:spPr>
          <a:xfrm>
            <a:off x="395288" y="339725"/>
            <a:ext cx="8389937" cy="68293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008C95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Команда 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8C95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“</a:t>
            </a: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008C95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Смешарики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8C95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”</a:t>
            </a: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008C95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.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B424BAD7-DBCD-D052-2CF5-79D5A9632E7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22" b="12322"/>
          <a:stretch/>
        </p:blipFill>
        <p:spPr bwMode="auto">
          <a:xfrm>
            <a:off x="395288" y="1131888"/>
            <a:ext cx="1764000" cy="1764000"/>
          </a:xfrm>
          <a:prstGeom prst="ellipse">
            <a:avLst/>
          </a:prstGeom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8095E8D1-524F-F215-B16A-0F25D2B5AD4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04" b="3804"/>
          <a:stretch/>
        </p:blipFill>
        <p:spPr bwMode="auto">
          <a:xfrm>
            <a:off x="6301225" y="1131888"/>
            <a:ext cx="1764001" cy="1764000"/>
          </a:xfrm>
          <a:prstGeom prst="ellipse">
            <a:avLst/>
          </a:prstGeom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</p:pic>
      <p:sp>
        <p:nvSpPr>
          <p:cNvPr id="12" name="Текст 65">
            <a:extLst>
              <a:ext uri="{FF2B5EF4-FFF2-40B4-BE49-F238E27FC236}">
                <a16:creationId xmlns:a16="http://schemas.microsoft.com/office/drawing/2014/main" id="{A6C5C8A0-3677-120D-21F3-1A93D7BD7ADF}"/>
              </a:ext>
            </a:extLst>
          </p:cNvPr>
          <p:cNvSpPr txBox="1">
            <a:spLocks/>
          </p:cNvSpPr>
          <p:nvPr/>
        </p:nvSpPr>
        <p:spPr bwMode="auto">
          <a:xfrm>
            <a:off x="395287" y="3005112"/>
            <a:ext cx="2460183" cy="1546250"/>
          </a:xfrm>
          <a:prstGeom prst="rect">
            <a:avLst/>
          </a:prstGeom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charset="2"/>
              <a:buNone/>
              <a:defRPr lang="ru-RU" altLang="en-US" sz="14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1200" b="1" dirty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1000" b="1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90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800" baseline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Wingdings" charset="2"/>
              <a:buNone/>
              <a:tabLst/>
              <a:defRPr/>
            </a:pPr>
            <a:r>
              <a:rPr lang="ru-RU" altLang="en-US" kern="0" dirty="0">
                <a:solidFill>
                  <a:srgbClr val="003D4C"/>
                </a:solidFill>
                <a:latin typeface="Arial"/>
              </a:rPr>
              <a:t>Никита Неделько</a:t>
            </a:r>
            <a:endParaRPr kumimoji="0" lang="ru-RU" altLang="en-US" sz="1400" b="1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</a:rPr>
              <a:t>Капитан</a:t>
            </a:r>
          </a:p>
          <a:p>
            <a:pPr lvl="4" algn="just">
              <a:buClr>
                <a:srgbClr val="008C95"/>
              </a:buClr>
            </a:pPr>
            <a:r>
              <a:rPr lang="ru-RU" altLang="en-US" sz="900" kern="0" dirty="0">
                <a:solidFill>
                  <a:srgbClr val="003D4C"/>
                </a:solidFill>
                <a:latin typeface="Arial"/>
              </a:rPr>
              <a:t>Осуществлял общее взаимодействие членов команды. Анализировал работу производств Казаньоргсинтез. Строил структуру решения кейса. Выполнял оформление презентации. Помогал считать </a:t>
            </a:r>
            <a:r>
              <a:rPr kumimoji="0" lang="ru-RU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</a:rPr>
              <a:t>денежные потери</a:t>
            </a:r>
            <a:r>
              <a:rPr lang="ru-RU" altLang="en-US" sz="900" kern="0" dirty="0">
                <a:solidFill>
                  <a:srgbClr val="003D4C"/>
                </a:solidFill>
                <a:latin typeface="Arial"/>
              </a:rPr>
              <a:t> рисков.</a:t>
            </a:r>
          </a:p>
          <a:p>
            <a:pPr lvl="4">
              <a:buClr>
                <a:srgbClr val="008C95"/>
              </a:buClr>
            </a:pPr>
            <a:endParaRPr kumimoji="0" lang="ru-RU" altLang="en-US" sz="800" b="0" i="0" u="none" strike="noStrike" kern="0" cap="none" spc="0" normalizeH="0" baseline="0" noProof="0" dirty="0">
              <a:ln>
                <a:noFill/>
              </a:ln>
              <a:solidFill>
                <a:srgbClr val="008C95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3" name="Текст 67">
            <a:extLst>
              <a:ext uri="{FF2B5EF4-FFF2-40B4-BE49-F238E27FC236}">
                <a16:creationId xmlns:a16="http://schemas.microsoft.com/office/drawing/2014/main" id="{01FA7D57-1B78-0C72-947F-9F47D22D495E}"/>
              </a:ext>
            </a:extLst>
          </p:cNvPr>
          <p:cNvSpPr txBox="1">
            <a:spLocks/>
          </p:cNvSpPr>
          <p:nvPr/>
        </p:nvSpPr>
        <p:spPr bwMode="auto">
          <a:xfrm>
            <a:off x="3371301" y="3005112"/>
            <a:ext cx="2484000" cy="1546250"/>
          </a:xfrm>
          <a:prstGeom prst="rect">
            <a:avLst/>
          </a:prstGeom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charset="2"/>
              <a:buNone/>
              <a:defRPr lang="ru-RU" altLang="en-US" sz="14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1200" b="1" dirty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1000" b="1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90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800" baseline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Wingdings" charset="2"/>
              <a:buNone/>
              <a:tabLst/>
              <a:defRPr/>
            </a:pPr>
            <a:r>
              <a:rPr kumimoji="0" lang="ru-RU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Ульяна Беляева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</a:rPr>
              <a:t>Аналитик и финансист</a:t>
            </a:r>
          </a:p>
          <a:p>
            <a:pPr marL="0" marR="0" lvl="3" indent="0" algn="just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</a:rPr>
              <a:t>Анализировала риски компании, рассчитывала денежные потери, писала аннотацию.</a:t>
            </a: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A314DF1C-82D6-7AA7-874A-00C4DFBC7EF6}"/>
              </a:ext>
            </a:extLst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5189" y="339725"/>
            <a:ext cx="1033507" cy="468210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A3874D47-7F6D-149E-CB2A-92E0A5F1094E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 bwMode="auto">
          <a:xfrm>
            <a:off x="3377279" y="1131888"/>
            <a:ext cx="1764000" cy="1764000"/>
          </a:xfrm>
          <a:prstGeom prst="ellipse">
            <a:avLst/>
          </a:prstGeom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</p:pic>
      <p:sp>
        <p:nvSpPr>
          <p:cNvPr id="2" name="Текст 68">
            <a:extLst>
              <a:ext uri="{FF2B5EF4-FFF2-40B4-BE49-F238E27FC236}">
                <a16:creationId xmlns:a16="http://schemas.microsoft.com/office/drawing/2014/main" id="{7123735A-3B37-954F-80F3-2DC0C4E95DAE}"/>
              </a:ext>
            </a:extLst>
          </p:cNvPr>
          <p:cNvSpPr txBox="1">
            <a:spLocks/>
          </p:cNvSpPr>
          <p:nvPr/>
        </p:nvSpPr>
        <p:spPr bwMode="auto">
          <a:xfrm>
            <a:off x="6371132" y="3005112"/>
            <a:ext cx="2484000" cy="1546250"/>
          </a:xfrm>
          <a:prstGeom prst="rect">
            <a:avLst/>
          </a:prstGeom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charset="2"/>
              <a:buNone/>
              <a:defRPr lang="ru-RU" altLang="en-US" sz="14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1200" b="1" dirty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1000" b="1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90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800" baseline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Wingdings" charset="2"/>
              <a:buNone/>
              <a:tabLst/>
              <a:defRPr/>
            </a:pPr>
            <a:r>
              <a:rPr lang="ru-RU" altLang="en-US" kern="0" dirty="0">
                <a:solidFill>
                  <a:srgbClr val="003D4C"/>
                </a:solidFill>
                <a:latin typeface="Arial"/>
              </a:rPr>
              <a:t>Горбунов Александр</a:t>
            </a:r>
            <a:endParaRPr kumimoji="0" lang="ru-RU" altLang="en-US" sz="1400" b="1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altLang="en-US" kern="0" dirty="0">
                <a:solidFill>
                  <a:srgbClr val="003D4C"/>
                </a:solidFill>
                <a:latin typeface="Arial"/>
              </a:rPr>
              <a:t>Финансист и дизайнер</a:t>
            </a:r>
            <a:endParaRPr kumimoji="0" lang="ru-RU" altLang="en-US" sz="1000" b="1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/>
            </a:endParaRPr>
          </a:p>
          <a:p>
            <a:pPr marL="0" marR="0" lvl="3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</a:rPr>
              <a:t>Анализировал риски и стратегические приоритеты предприятия и распределял выделенные на развитие средства  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EEFA30E5-16A7-8330-EB21-41A41280B8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0A57E3-EA23-4E01-B1DF-72CA8D4A16E5}" type="slidenum">
              <a:rPr lang="ru-RU" altLang="ru-RU" smtClean="0"/>
              <a:pPr/>
              <a:t>2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7766951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DB1D6EB4-8E49-6694-7F4A-18DB5EEFE449}"/>
              </a:ext>
            </a:extLst>
          </p:cNvPr>
          <p:cNvSpPr/>
          <p:nvPr/>
        </p:nvSpPr>
        <p:spPr bwMode="auto">
          <a:xfrm>
            <a:off x="0" y="2561101"/>
            <a:ext cx="3048000" cy="523762"/>
          </a:xfrm>
          <a:prstGeom prst="rect">
            <a:avLst/>
          </a:prstGeom>
          <a:solidFill>
            <a:srgbClr val="77E2C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A932408A-BAF7-CDFA-6E67-251B447E1F9D}"/>
              </a:ext>
            </a:extLst>
          </p:cNvPr>
          <p:cNvSpPr/>
          <p:nvPr/>
        </p:nvSpPr>
        <p:spPr bwMode="auto">
          <a:xfrm>
            <a:off x="5608" y="3082749"/>
            <a:ext cx="3048000" cy="2066599"/>
          </a:xfrm>
          <a:prstGeom prst="rect">
            <a:avLst/>
          </a:prstGeom>
          <a:solidFill>
            <a:srgbClr val="77E2C3">
              <a:lumMod val="40000"/>
              <a:lumOff val="6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  <p:sp>
        <p:nvSpPr>
          <p:cNvPr id="82" name="Прямоугольник 81">
            <a:extLst>
              <a:ext uri="{FF2B5EF4-FFF2-40B4-BE49-F238E27FC236}">
                <a16:creationId xmlns:a16="http://schemas.microsoft.com/office/drawing/2014/main" id="{9BD30E81-8BD6-5343-0641-68D005DB71A1}"/>
              </a:ext>
            </a:extLst>
          </p:cNvPr>
          <p:cNvSpPr/>
          <p:nvPr/>
        </p:nvSpPr>
        <p:spPr bwMode="auto">
          <a:xfrm>
            <a:off x="51593" y="3171890"/>
            <a:ext cx="899459" cy="1445167"/>
          </a:xfrm>
          <a:prstGeom prst="rect">
            <a:avLst/>
          </a:prstGeom>
          <a:solidFill>
            <a:srgbClr val="77E2C3">
              <a:lumMod val="60000"/>
              <a:lumOff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  <p:sp>
        <p:nvSpPr>
          <p:cNvPr id="81" name="Прямоугольник 80">
            <a:extLst>
              <a:ext uri="{FF2B5EF4-FFF2-40B4-BE49-F238E27FC236}">
                <a16:creationId xmlns:a16="http://schemas.microsoft.com/office/drawing/2014/main" id="{8F9F6114-F2C1-A655-B47C-FF3EC28A912F}"/>
              </a:ext>
            </a:extLst>
          </p:cNvPr>
          <p:cNvSpPr/>
          <p:nvPr/>
        </p:nvSpPr>
        <p:spPr bwMode="auto">
          <a:xfrm>
            <a:off x="2127520" y="3171890"/>
            <a:ext cx="860303" cy="714808"/>
          </a:xfrm>
          <a:prstGeom prst="rect">
            <a:avLst/>
          </a:prstGeom>
          <a:solidFill>
            <a:srgbClr val="77E2C3">
              <a:lumMod val="60000"/>
              <a:lumOff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  <p:sp>
        <p:nvSpPr>
          <p:cNvPr id="80" name="Прямоугольник 79">
            <a:extLst>
              <a:ext uri="{FF2B5EF4-FFF2-40B4-BE49-F238E27FC236}">
                <a16:creationId xmlns:a16="http://schemas.microsoft.com/office/drawing/2014/main" id="{F5BCA64A-FBFE-8BAB-EB02-F218B5D95C4D}"/>
              </a:ext>
            </a:extLst>
          </p:cNvPr>
          <p:cNvSpPr/>
          <p:nvPr/>
        </p:nvSpPr>
        <p:spPr bwMode="auto">
          <a:xfrm>
            <a:off x="1020808" y="3171890"/>
            <a:ext cx="1051995" cy="1887474"/>
          </a:xfrm>
          <a:prstGeom prst="rect">
            <a:avLst/>
          </a:prstGeom>
          <a:solidFill>
            <a:srgbClr val="77E2C3">
              <a:lumMod val="60000"/>
              <a:lumOff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5ED88AA-7E11-9964-ABAE-28A1510E814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88" t="33730" r="565" b="17725"/>
          <a:stretch/>
        </p:blipFill>
        <p:spPr>
          <a:xfrm>
            <a:off x="3048000" y="807935"/>
            <a:ext cx="6096000" cy="1759248"/>
          </a:xfrm>
          <a:prstGeom prst="rect">
            <a:avLst/>
          </a:prstGeom>
        </p:spPr>
      </p:pic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AD5A7B44-05CB-507C-B43C-FEB64FC621FC}"/>
              </a:ext>
            </a:extLst>
          </p:cNvPr>
          <p:cNvSpPr/>
          <p:nvPr/>
        </p:nvSpPr>
        <p:spPr bwMode="auto">
          <a:xfrm>
            <a:off x="2516152" y="2561100"/>
            <a:ext cx="4228787" cy="523960"/>
          </a:xfrm>
          <a:prstGeom prst="rect">
            <a:avLst/>
          </a:prstGeom>
          <a:solidFill>
            <a:srgbClr val="008C9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202DF152-2F79-49F7-6B09-78C51004A0C4}"/>
              </a:ext>
            </a:extLst>
          </p:cNvPr>
          <p:cNvSpPr txBox="1">
            <a:spLocks/>
          </p:cNvSpPr>
          <p:nvPr/>
        </p:nvSpPr>
        <p:spPr>
          <a:xfrm>
            <a:off x="358775" y="925722"/>
            <a:ext cx="2629049" cy="672627"/>
          </a:xfrm>
          <a:prstGeom prst="rect">
            <a:avLst/>
          </a:prstGeom>
        </p:spPr>
        <p:txBody>
          <a:bodyPr vert="horz" lIns="0" tIns="0" rIns="0" bIns="0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dirty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95000"/>
              </a:lnSpc>
            </a:pPr>
            <a:r>
              <a:rPr lang="ru-RU" sz="1800" kern="0">
                <a:latin typeface="Arial"/>
              </a:rPr>
              <a:t>Стратегия устойчивого развития</a:t>
            </a:r>
            <a:br>
              <a:rPr sz="1800" kern="0">
                <a:latin typeface="Arial"/>
              </a:rPr>
            </a:br>
            <a:endParaRPr sz="1800" kern="0">
              <a:latin typeface="Arial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B10053CC-0D35-B004-C0CA-395CB6833653}"/>
              </a:ext>
            </a:extLst>
          </p:cNvPr>
          <p:cNvSpPr/>
          <p:nvPr/>
        </p:nvSpPr>
        <p:spPr bwMode="auto">
          <a:xfrm>
            <a:off x="7164288" y="2561101"/>
            <a:ext cx="1979712" cy="523762"/>
          </a:xfrm>
          <a:prstGeom prst="rect">
            <a:avLst/>
          </a:prstGeom>
          <a:solidFill>
            <a:srgbClr val="00313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  <p:sp>
        <p:nvSpPr>
          <p:cNvPr id="14" name="object 42">
            <a:extLst>
              <a:ext uri="{FF2B5EF4-FFF2-40B4-BE49-F238E27FC236}">
                <a16:creationId xmlns:a16="http://schemas.microsoft.com/office/drawing/2014/main" id="{B80E4ECF-FB66-0E20-0D9B-2682CE654709}"/>
              </a:ext>
            </a:extLst>
          </p:cNvPr>
          <p:cNvSpPr txBox="1"/>
          <p:nvPr/>
        </p:nvSpPr>
        <p:spPr>
          <a:xfrm>
            <a:off x="-36512" y="3619010"/>
            <a:ext cx="1048792" cy="4154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81" marR="5072" algn="ctr" defTabSz="685800" eaLnBrk="1" fontAlgn="auto" hangingPunct="1">
              <a:spcBef>
                <a:spcPts val="100"/>
              </a:spcBef>
              <a:spcAft>
                <a:spcPts val="0"/>
              </a:spcAft>
              <a:defRPr/>
            </a:pPr>
            <a:r>
              <a:rPr lang="ru-RU" sz="900" b="1" spc="-5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Охрана окружающей среды и климат</a:t>
            </a:r>
            <a:endParaRPr sz="900" b="1" spc="-5">
              <a:solidFill>
                <a:srgbClr val="00313C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15" name="object 43">
            <a:extLst>
              <a:ext uri="{FF2B5EF4-FFF2-40B4-BE49-F238E27FC236}">
                <a16:creationId xmlns:a16="http://schemas.microsoft.com/office/drawing/2014/main" id="{8629F6F0-2C5B-8AE8-0A10-96320711823C}"/>
              </a:ext>
            </a:extLst>
          </p:cNvPr>
          <p:cNvSpPr txBox="1"/>
          <p:nvPr/>
        </p:nvSpPr>
        <p:spPr>
          <a:xfrm>
            <a:off x="9710" y="4202667"/>
            <a:ext cx="956348" cy="4154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81" marR="5072" algn="ctr" defTabSz="685800" eaLnBrk="1" fontAlgn="auto" hangingPunct="1">
              <a:spcBef>
                <a:spcPts val="100"/>
              </a:spcBef>
              <a:spcAft>
                <a:spcPts val="0"/>
              </a:spcAft>
              <a:defRPr/>
            </a:pPr>
            <a:r>
              <a:rPr lang="ru-RU" sz="900" b="1" spc="-5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Устойчивый продуктовый портфель</a:t>
            </a:r>
            <a:endParaRPr sz="900" b="1" spc="-5">
              <a:solidFill>
                <a:srgbClr val="00313C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16" name="object 45">
            <a:extLst>
              <a:ext uri="{FF2B5EF4-FFF2-40B4-BE49-F238E27FC236}">
                <a16:creationId xmlns:a16="http://schemas.microsoft.com/office/drawing/2014/main" id="{4EA3A0FE-16EA-325F-D14C-A89244F8C0DC}"/>
              </a:ext>
            </a:extLst>
          </p:cNvPr>
          <p:cNvSpPr txBox="1"/>
          <p:nvPr/>
        </p:nvSpPr>
        <p:spPr>
          <a:xfrm>
            <a:off x="920777" y="3617902"/>
            <a:ext cx="1245411" cy="4283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81" algn="ctr" defTabSz="685800" eaLnBrk="1" fontAlgn="auto" hangingPunct="1">
              <a:spcBef>
                <a:spcPts val="100"/>
              </a:spcBef>
              <a:spcAft>
                <a:spcPts val="0"/>
              </a:spcAft>
              <a:defRPr/>
            </a:pPr>
            <a:r>
              <a:rPr lang="ru-RU" sz="900" b="1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Охрана труда</a:t>
            </a:r>
          </a:p>
          <a:p>
            <a:pPr marL="12681" algn="ctr" defTabSz="685800" eaLnBrk="1" fontAlgn="auto" hangingPunct="1">
              <a:spcBef>
                <a:spcPts val="100"/>
              </a:spcBef>
              <a:spcAft>
                <a:spcPts val="0"/>
              </a:spcAft>
              <a:defRPr/>
            </a:pPr>
            <a:r>
              <a:rPr lang="ru-RU" sz="900" b="1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и промышленная  безопасность</a:t>
            </a:r>
            <a:endParaRPr sz="900" b="1">
              <a:solidFill>
                <a:srgbClr val="00313C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17" name="object 46">
            <a:extLst>
              <a:ext uri="{FF2B5EF4-FFF2-40B4-BE49-F238E27FC236}">
                <a16:creationId xmlns:a16="http://schemas.microsoft.com/office/drawing/2014/main" id="{44FDF7BA-3E8A-C91D-D9EC-D94AB75B1CD8}"/>
              </a:ext>
            </a:extLst>
          </p:cNvPr>
          <p:cNvSpPr txBox="1"/>
          <p:nvPr/>
        </p:nvSpPr>
        <p:spPr>
          <a:xfrm>
            <a:off x="1995878" y="3609699"/>
            <a:ext cx="111589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81" marR="5072" algn="ctr" defTabSz="685800" eaLnBrk="1" fontAlgn="auto" hangingPunct="1">
              <a:spcBef>
                <a:spcPts val="100"/>
              </a:spcBef>
              <a:spcAft>
                <a:spcPts val="0"/>
              </a:spcAft>
              <a:defRPr/>
            </a:pPr>
            <a:r>
              <a:rPr lang="ru-RU" sz="900" b="1" spc="-5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Корпоративное управление</a:t>
            </a:r>
            <a:endParaRPr sz="900" b="1" spc="-5">
              <a:solidFill>
                <a:srgbClr val="00313C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18" name="object 83">
            <a:extLst>
              <a:ext uri="{FF2B5EF4-FFF2-40B4-BE49-F238E27FC236}">
                <a16:creationId xmlns:a16="http://schemas.microsoft.com/office/drawing/2014/main" id="{31767808-F366-3646-8B46-93D0B688EE21}"/>
              </a:ext>
            </a:extLst>
          </p:cNvPr>
          <p:cNvSpPr txBox="1"/>
          <p:nvPr/>
        </p:nvSpPr>
        <p:spPr>
          <a:xfrm>
            <a:off x="1022605" y="4777869"/>
            <a:ext cx="1041754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81" algn="ctr" defTabSz="685800" eaLnBrk="1" fontAlgn="auto" hangingPunct="1">
              <a:spcBef>
                <a:spcPts val="100"/>
              </a:spcBef>
              <a:spcAft>
                <a:spcPts val="0"/>
              </a:spcAft>
              <a:defRPr/>
            </a:pPr>
            <a:r>
              <a:rPr lang="ru-RU" sz="900" b="1" spc="-5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Общество </a:t>
            </a:r>
            <a:br>
              <a:rPr lang="en-US" sz="900" b="1" spc="-5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</a:br>
            <a:r>
              <a:rPr lang="ru-RU" sz="900" b="1" spc="-5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и партнерство</a:t>
            </a:r>
            <a:endParaRPr sz="900" b="1" spc="-5">
              <a:solidFill>
                <a:srgbClr val="00313C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19" name="object 90">
            <a:extLst>
              <a:ext uri="{FF2B5EF4-FFF2-40B4-BE49-F238E27FC236}">
                <a16:creationId xmlns:a16="http://schemas.microsoft.com/office/drawing/2014/main" id="{91CEEEF6-B1DC-CA17-507B-64AF9BF004E8}"/>
              </a:ext>
            </a:extLst>
          </p:cNvPr>
          <p:cNvSpPr txBox="1"/>
          <p:nvPr/>
        </p:nvSpPr>
        <p:spPr>
          <a:xfrm>
            <a:off x="3020289" y="2660366"/>
            <a:ext cx="3131376" cy="317503"/>
          </a:xfrm>
          <a:prstGeom prst="rect">
            <a:avLst/>
          </a:prstGeom>
        </p:spPr>
        <p:txBody>
          <a:bodyPr vert="horz" wrap="square" lIns="0" tIns="12680" rIns="0" bIns="0" rtlCol="0">
            <a:spAutoFit/>
          </a:bodyPr>
          <a:lstStyle>
            <a:defPPr>
              <a:defRPr lang="ru-RU"/>
            </a:defPPr>
            <a:lvl1pPr marR="5072" defTabSz="685800">
              <a:lnSpc>
                <a:spcPct val="90000"/>
              </a:lnSpc>
              <a:defRPr sz="1100" b="1">
                <a:solidFill>
                  <a:schemeClr val="tx2"/>
                </a:solidFill>
                <a:cs typeface="Arial" panose="020B0604020202020204" pitchFamily="34" charset="0"/>
              </a:defRPr>
            </a:lvl1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>
                <a:solidFill>
                  <a:prstClr val="white"/>
                </a:solidFill>
                <a:latin typeface="Arial"/>
              </a:rPr>
              <a:t>Стратегические приоритеты Казаньоргсинтез</a:t>
            </a:r>
            <a:endParaRPr>
              <a:solidFill>
                <a:prstClr val="white"/>
              </a:solidFill>
              <a:latin typeface="Arial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890F120-7411-6A27-4B0E-80D07B3778F5}"/>
              </a:ext>
            </a:extLst>
          </p:cNvPr>
          <p:cNvSpPr txBox="1"/>
          <p:nvPr/>
        </p:nvSpPr>
        <p:spPr>
          <a:xfrm>
            <a:off x="279451" y="3069869"/>
            <a:ext cx="42351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78986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2800" b="1">
                <a:solidFill>
                  <a:srgbClr val="008C95"/>
                </a:solidFill>
                <a:latin typeface="Arial"/>
                <a:cs typeface="+mn-cs"/>
              </a:rPr>
              <a:t>E</a:t>
            </a:r>
            <a:endParaRPr lang="ru-RU" sz="2800" b="1">
              <a:solidFill>
                <a:srgbClr val="008C95"/>
              </a:solidFill>
              <a:latin typeface="Arial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A8A4643-60CD-9D39-92B9-BE13AAC05655}"/>
              </a:ext>
            </a:extLst>
          </p:cNvPr>
          <p:cNvSpPr txBox="1"/>
          <p:nvPr/>
        </p:nvSpPr>
        <p:spPr>
          <a:xfrm>
            <a:off x="1335049" y="3068761"/>
            <a:ext cx="42351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78986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2800" b="1">
                <a:solidFill>
                  <a:srgbClr val="008C95"/>
                </a:solidFill>
                <a:latin typeface="Arial"/>
                <a:cs typeface="+mn-cs"/>
              </a:rPr>
              <a:t>S</a:t>
            </a:r>
            <a:endParaRPr lang="ru-RU" sz="2800" b="1">
              <a:solidFill>
                <a:srgbClr val="008C95"/>
              </a:solidFill>
              <a:latin typeface="Arial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F321DFA-3DE3-37ED-D9D6-9318CB13C2A6}"/>
              </a:ext>
            </a:extLst>
          </p:cNvPr>
          <p:cNvSpPr txBox="1"/>
          <p:nvPr/>
        </p:nvSpPr>
        <p:spPr>
          <a:xfrm>
            <a:off x="2325356" y="3060558"/>
            <a:ext cx="46358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78986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2800" b="1">
                <a:solidFill>
                  <a:srgbClr val="008C95"/>
                </a:solidFill>
                <a:latin typeface="Arial"/>
                <a:cs typeface="+mn-cs"/>
              </a:rPr>
              <a:t>G</a:t>
            </a:r>
            <a:endParaRPr lang="ru-RU" sz="2800" b="1">
              <a:solidFill>
                <a:srgbClr val="008C95"/>
              </a:solidFill>
              <a:latin typeface="Arial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1468C56C-B4D6-5142-5FF1-030B4CA5B0F8}"/>
              </a:ext>
            </a:extLst>
          </p:cNvPr>
          <p:cNvSpPr/>
          <p:nvPr/>
        </p:nvSpPr>
        <p:spPr>
          <a:xfrm>
            <a:off x="918172" y="4201559"/>
            <a:ext cx="1241901" cy="4154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81" algn="ctr" defTabSz="685800" eaLnBrk="1" fontAlgn="auto" hangingPunct="1">
              <a:spcBef>
                <a:spcPts val="100"/>
              </a:spcBef>
              <a:spcAft>
                <a:spcPts val="0"/>
              </a:spcAft>
            </a:pPr>
            <a:r>
              <a:rPr lang="ru-RU" sz="900" b="1" spc="-5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Управление  персоналом </a:t>
            </a:r>
            <a:br>
              <a:rPr lang="ru-RU" sz="900" b="1" spc="-5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</a:br>
            <a:r>
              <a:rPr lang="ru-RU" sz="900" b="1" spc="-5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и права человека</a:t>
            </a:r>
          </a:p>
        </p:txBody>
      </p:sp>
      <p:sp>
        <p:nvSpPr>
          <p:cNvPr id="25" name="Овал 24">
            <a:extLst>
              <a:ext uri="{FF2B5EF4-FFF2-40B4-BE49-F238E27FC236}">
                <a16:creationId xmlns:a16="http://schemas.microsoft.com/office/drawing/2014/main" id="{C3253141-8F1F-C33D-1ED7-CDCA979C51BA}"/>
              </a:ext>
            </a:extLst>
          </p:cNvPr>
          <p:cNvSpPr>
            <a:spLocks/>
          </p:cNvSpPr>
          <p:nvPr/>
        </p:nvSpPr>
        <p:spPr bwMode="auto">
          <a:xfrm flipH="1" flipV="1">
            <a:off x="451884" y="3541699"/>
            <a:ext cx="72000" cy="72000"/>
          </a:xfrm>
          <a:prstGeom prst="ellipse">
            <a:avLst/>
          </a:prstGeom>
          <a:solidFill>
            <a:srgbClr val="008C9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  <p:sp>
        <p:nvSpPr>
          <p:cNvPr id="26" name="Овал 25">
            <a:extLst>
              <a:ext uri="{FF2B5EF4-FFF2-40B4-BE49-F238E27FC236}">
                <a16:creationId xmlns:a16="http://schemas.microsoft.com/office/drawing/2014/main" id="{3A3BB4FD-279D-677A-5333-CABC797F319C}"/>
              </a:ext>
            </a:extLst>
          </p:cNvPr>
          <p:cNvSpPr>
            <a:spLocks/>
          </p:cNvSpPr>
          <p:nvPr/>
        </p:nvSpPr>
        <p:spPr bwMode="auto">
          <a:xfrm flipH="1" flipV="1">
            <a:off x="451884" y="4108456"/>
            <a:ext cx="72000" cy="72000"/>
          </a:xfrm>
          <a:prstGeom prst="ellipse">
            <a:avLst/>
          </a:prstGeom>
          <a:solidFill>
            <a:srgbClr val="008C9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  <p:sp>
        <p:nvSpPr>
          <p:cNvPr id="27" name="Овал 26">
            <a:extLst>
              <a:ext uri="{FF2B5EF4-FFF2-40B4-BE49-F238E27FC236}">
                <a16:creationId xmlns:a16="http://schemas.microsoft.com/office/drawing/2014/main" id="{A0674040-B388-FBDA-C7FF-43C15A0EBED2}"/>
              </a:ext>
            </a:extLst>
          </p:cNvPr>
          <p:cNvSpPr>
            <a:spLocks/>
          </p:cNvSpPr>
          <p:nvPr/>
        </p:nvSpPr>
        <p:spPr bwMode="auto">
          <a:xfrm flipH="1" flipV="1">
            <a:off x="1507482" y="3540591"/>
            <a:ext cx="72000" cy="72000"/>
          </a:xfrm>
          <a:prstGeom prst="ellipse">
            <a:avLst/>
          </a:prstGeom>
          <a:solidFill>
            <a:srgbClr val="008C9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  <p:sp>
        <p:nvSpPr>
          <p:cNvPr id="28" name="Овал 27">
            <a:extLst>
              <a:ext uri="{FF2B5EF4-FFF2-40B4-BE49-F238E27FC236}">
                <a16:creationId xmlns:a16="http://schemas.microsoft.com/office/drawing/2014/main" id="{C1FC00D7-16FA-05CC-3B23-DDED06F62469}"/>
              </a:ext>
            </a:extLst>
          </p:cNvPr>
          <p:cNvSpPr>
            <a:spLocks/>
          </p:cNvSpPr>
          <p:nvPr/>
        </p:nvSpPr>
        <p:spPr bwMode="auto">
          <a:xfrm flipH="1" flipV="1">
            <a:off x="1507482" y="4107348"/>
            <a:ext cx="72000" cy="72000"/>
          </a:xfrm>
          <a:prstGeom prst="ellipse">
            <a:avLst/>
          </a:prstGeom>
          <a:solidFill>
            <a:srgbClr val="008C9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  <p:sp>
        <p:nvSpPr>
          <p:cNvPr id="29" name="Овал 28">
            <a:extLst>
              <a:ext uri="{FF2B5EF4-FFF2-40B4-BE49-F238E27FC236}">
                <a16:creationId xmlns:a16="http://schemas.microsoft.com/office/drawing/2014/main" id="{1D111C02-94C4-1E17-3E16-F92F1F6872F4}"/>
              </a:ext>
            </a:extLst>
          </p:cNvPr>
          <p:cNvSpPr>
            <a:spLocks/>
          </p:cNvSpPr>
          <p:nvPr/>
        </p:nvSpPr>
        <p:spPr bwMode="auto">
          <a:xfrm flipH="1" flipV="1">
            <a:off x="2517826" y="3532388"/>
            <a:ext cx="72000" cy="72000"/>
          </a:xfrm>
          <a:prstGeom prst="ellipse">
            <a:avLst/>
          </a:prstGeom>
          <a:solidFill>
            <a:srgbClr val="008C9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  <p:sp>
        <p:nvSpPr>
          <p:cNvPr id="30" name="Овал 29">
            <a:extLst>
              <a:ext uri="{FF2B5EF4-FFF2-40B4-BE49-F238E27FC236}">
                <a16:creationId xmlns:a16="http://schemas.microsoft.com/office/drawing/2014/main" id="{3E422618-8F0E-50F4-DD74-D8C13797F035}"/>
              </a:ext>
            </a:extLst>
          </p:cNvPr>
          <p:cNvSpPr>
            <a:spLocks/>
          </p:cNvSpPr>
          <p:nvPr/>
        </p:nvSpPr>
        <p:spPr bwMode="auto">
          <a:xfrm flipH="1" flipV="1">
            <a:off x="1507482" y="4692537"/>
            <a:ext cx="72000" cy="72000"/>
          </a:xfrm>
          <a:prstGeom prst="ellipse">
            <a:avLst/>
          </a:prstGeom>
          <a:solidFill>
            <a:srgbClr val="008C9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  <p:grpSp>
        <p:nvGrpSpPr>
          <p:cNvPr id="31" name="Группа 30">
            <a:extLst>
              <a:ext uri="{FF2B5EF4-FFF2-40B4-BE49-F238E27FC236}">
                <a16:creationId xmlns:a16="http://schemas.microsoft.com/office/drawing/2014/main" id="{B99FE48E-E30F-0F27-9DEE-A294E43632F6}"/>
              </a:ext>
            </a:extLst>
          </p:cNvPr>
          <p:cNvGrpSpPr/>
          <p:nvPr/>
        </p:nvGrpSpPr>
        <p:grpSpPr>
          <a:xfrm>
            <a:off x="3044176" y="3305181"/>
            <a:ext cx="3088027" cy="1754182"/>
            <a:chOff x="-322011" y="1964951"/>
            <a:chExt cx="3088027" cy="1754182"/>
          </a:xfrm>
        </p:grpSpPr>
        <p:pic>
          <p:nvPicPr>
            <p:cNvPr id="32" name="Рисунок 31">
              <a:extLst>
                <a:ext uri="{FF2B5EF4-FFF2-40B4-BE49-F238E27FC236}">
                  <a16:creationId xmlns:a16="http://schemas.microsoft.com/office/drawing/2014/main" id="{3A3CFB99-5122-695F-AAB6-7916DF51E85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3626" y="1964951"/>
              <a:ext cx="422447" cy="365566"/>
            </a:xfrm>
            <a:prstGeom prst="rect">
              <a:avLst/>
            </a:prstGeom>
          </p:spPr>
        </p:pic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46AC12FA-842C-618F-424E-DE70B76FE01E}"/>
                </a:ext>
              </a:extLst>
            </p:cNvPr>
            <p:cNvSpPr txBox="1"/>
            <p:nvPr/>
          </p:nvSpPr>
          <p:spPr>
            <a:xfrm>
              <a:off x="-34878" y="2443953"/>
              <a:ext cx="1079454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778986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ru-RU" sz="700" b="1">
                  <a:solidFill>
                    <a:srgbClr val="00313C"/>
                  </a:solidFill>
                  <a:latin typeface="Arial"/>
                  <a:cs typeface="+mn-cs"/>
                </a:rPr>
                <a:t>Реализация программ устойчивого развития.</a:t>
              </a:r>
            </a:p>
          </p:txBody>
        </p:sp>
        <p:pic>
          <p:nvPicPr>
            <p:cNvPr id="34" name="Рисунок 33">
              <a:extLst>
                <a:ext uri="{FF2B5EF4-FFF2-40B4-BE49-F238E27FC236}">
                  <a16:creationId xmlns:a16="http://schemas.microsoft.com/office/drawing/2014/main" id="{3A00F8E2-6AA1-42A5-0D15-D718496A934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10370" y="1968731"/>
              <a:ext cx="381634" cy="365733"/>
            </a:xfrm>
            <a:prstGeom prst="rect">
              <a:avLst/>
            </a:prstGeom>
          </p:spPr>
        </p:pic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E7125D40-04FC-4414-B028-E41059724145}"/>
                </a:ext>
              </a:extLst>
            </p:cNvPr>
            <p:cNvSpPr txBox="1"/>
            <p:nvPr/>
          </p:nvSpPr>
          <p:spPr>
            <a:xfrm>
              <a:off x="1236358" y="2438746"/>
              <a:ext cx="1529658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778986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ru-RU" sz="700" b="1">
                  <a:solidFill>
                    <a:srgbClr val="00313C"/>
                  </a:solidFill>
                  <a:latin typeface="Arial"/>
                  <a:cs typeface="+mn-cs"/>
                </a:rPr>
                <a:t>Увеличение объемов выпуска товарной продукции</a:t>
              </a:r>
            </a:p>
          </p:txBody>
        </p:sp>
        <p:pic>
          <p:nvPicPr>
            <p:cNvPr id="36" name="Рисунок 35">
              <a:extLst>
                <a:ext uri="{FF2B5EF4-FFF2-40B4-BE49-F238E27FC236}">
                  <a16:creationId xmlns:a16="http://schemas.microsoft.com/office/drawing/2014/main" id="{DC45ACB0-8E2F-D331-7EA6-E9E2A557A8E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97826" y="2880546"/>
              <a:ext cx="378764" cy="397553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3F8983DA-CF2D-F4AD-306A-6010608BDCD5}"/>
                </a:ext>
              </a:extLst>
            </p:cNvPr>
            <p:cNvSpPr txBox="1"/>
            <p:nvPr/>
          </p:nvSpPr>
          <p:spPr>
            <a:xfrm>
              <a:off x="1453714" y="3386924"/>
              <a:ext cx="1066989" cy="32316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778986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ru-RU" sz="700" b="1">
                  <a:solidFill>
                    <a:srgbClr val="00313C"/>
                  </a:solidFill>
                  <a:latin typeface="Arial"/>
                  <a:cs typeface="+mn-cs"/>
                </a:rPr>
                <a:t>Формирование перспективной программы развития</a:t>
              </a:r>
            </a:p>
          </p:txBody>
        </p:sp>
        <p:pic>
          <p:nvPicPr>
            <p:cNvPr id="39" name="Рисунок 38">
              <a:extLst>
                <a:ext uri="{FF2B5EF4-FFF2-40B4-BE49-F238E27FC236}">
                  <a16:creationId xmlns:a16="http://schemas.microsoft.com/office/drawing/2014/main" id="{A58601DB-EF20-1472-B53F-C6F421D7DB7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8290" y="2999687"/>
              <a:ext cx="381634" cy="277140"/>
            </a:xfrm>
            <a:prstGeom prst="rect">
              <a:avLst/>
            </a:prstGeom>
          </p:spPr>
        </p:pic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7638DB35-7F8E-7B54-1502-C7447E1ABBC6}"/>
                </a:ext>
              </a:extLst>
            </p:cNvPr>
            <p:cNvSpPr txBox="1"/>
            <p:nvPr/>
          </p:nvSpPr>
          <p:spPr>
            <a:xfrm>
              <a:off x="-322011" y="3395968"/>
              <a:ext cx="1662237" cy="32316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778986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ru-RU" sz="700" b="1">
                  <a:solidFill>
                    <a:srgbClr val="00313C"/>
                  </a:solidFill>
                  <a:latin typeface="Arial"/>
                  <a:cs typeface="+mn-cs"/>
                </a:rPr>
                <a:t>Стабильная работа и повышение эффективности действующих</a:t>
              </a:r>
            </a:p>
            <a:p>
              <a:pPr algn="ctr" defTabSz="778986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ru-RU" sz="700" b="1">
                  <a:solidFill>
                    <a:srgbClr val="00313C"/>
                  </a:solidFill>
                  <a:latin typeface="Arial"/>
                  <a:cs typeface="+mn-cs"/>
                </a:rPr>
                <a:t>производств</a:t>
              </a:r>
            </a:p>
          </p:txBody>
        </p:sp>
      </p:grpSp>
      <p:sp>
        <p:nvSpPr>
          <p:cNvPr id="59" name="object 91">
            <a:extLst>
              <a:ext uri="{FF2B5EF4-FFF2-40B4-BE49-F238E27FC236}">
                <a16:creationId xmlns:a16="http://schemas.microsoft.com/office/drawing/2014/main" id="{C7E33EAC-92D9-56DA-E1DB-959422EF2422}"/>
              </a:ext>
            </a:extLst>
          </p:cNvPr>
          <p:cNvSpPr txBox="1"/>
          <p:nvPr/>
        </p:nvSpPr>
        <p:spPr>
          <a:xfrm>
            <a:off x="361950" y="2664231"/>
            <a:ext cx="2289157" cy="317503"/>
          </a:xfrm>
          <a:prstGeom prst="rect">
            <a:avLst/>
          </a:prstGeom>
        </p:spPr>
        <p:txBody>
          <a:bodyPr vert="horz" wrap="square" lIns="0" tIns="12680" rIns="0" bIns="0" rtlCol="0">
            <a:spAutoFit/>
          </a:bodyPr>
          <a:lstStyle/>
          <a:p>
            <a:pPr marR="5072" defTabSz="6858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Стратегия СИБУРа в области устойчивого развития до 2025 г.</a:t>
            </a:r>
          </a:p>
        </p:txBody>
      </p:sp>
      <p:grpSp>
        <p:nvGrpSpPr>
          <p:cNvPr id="64" name="Группа 63">
            <a:extLst>
              <a:ext uri="{FF2B5EF4-FFF2-40B4-BE49-F238E27FC236}">
                <a16:creationId xmlns:a16="http://schemas.microsoft.com/office/drawing/2014/main" id="{4BC774AE-E374-933A-A293-409C162881F0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7056948" y="2079927"/>
            <a:ext cx="523841" cy="1486427"/>
            <a:chOff x="4975992" y="1490618"/>
            <a:chExt cx="837002" cy="2310730"/>
          </a:xfrm>
        </p:grpSpPr>
        <p:sp>
          <p:nvSpPr>
            <p:cNvPr id="65" name="Прямоугольник 64">
              <a:extLst>
                <a:ext uri="{FF2B5EF4-FFF2-40B4-BE49-F238E27FC236}">
                  <a16:creationId xmlns:a16="http://schemas.microsoft.com/office/drawing/2014/main" id="{7DCF3C79-C862-CFC5-0A08-E17563B927F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975993" y="2962491"/>
              <a:ext cx="837001" cy="837000"/>
            </a:xfrm>
            <a:prstGeom prst="rect">
              <a:avLst/>
            </a:pr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 charset="0"/>
                <a:cs typeface="+mn-cs"/>
              </a:endParaRPr>
            </a:p>
          </p:txBody>
        </p:sp>
        <p:sp>
          <p:nvSpPr>
            <p:cNvPr id="66" name="Полилиния 63">
              <a:extLst>
                <a:ext uri="{FF2B5EF4-FFF2-40B4-BE49-F238E27FC236}">
                  <a16:creationId xmlns:a16="http://schemas.microsoft.com/office/drawing/2014/main" id="{AD687BA9-9DE3-F2E6-6AA1-5FC97F63051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975992" y="1490618"/>
              <a:ext cx="837001" cy="2308875"/>
            </a:xfrm>
            <a:custGeom>
              <a:avLst/>
              <a:gdLst>
                <a:gd name="connsiteX0" fmla="*/ 417006 w 837001"/>
                <a:gd name="connsiteY0" fmla="*/ 0 h 837000"/>
                <a:gd name="connsiteX1" fmla="*/ 419995 w 837001"/>
                <a:gd name="connsiteY1" fmla="*/ 0 h 837000"/>
                <a:gd name="connsiteX2" fmla="*/ 837001 w 837001"/>
                <a:gd name="connsiteY2" fmla="*/ 502220 h 837000"/>
                <a:gd name="connsiteX3" fmla="*/ 837001 w 837001"/>
                <a:gd name="connsiteY3" fmla="*/ 837000 h 837000"/>
                <a:gd name="connsiteX4" fmla="*/ 0 w 837001"/>
                <a:gd name="connsiteY4" fmla="*/ 837000 h 837000"/>
                <a:gd name="connsiteX5" fmla="*/ 0 w 837001"/>
                <a:gd name="connsiteY5" fmla="*/ 502219 h 83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7001" h="837000">
                  <a:moveTo>
                    <a:pt x="417006" y="0"/>
                  </a:moveTo>
                  <a:lnTo>
                    <a:pt x="419995" y="0"/>
                  </a:lnTo>
                  <a:lnTo>
                    <a:pt x="837001" y="502220"/>
                  </a:lnTo>
                  <a:lnTo>
                    <a:pt x="837001" y="837000"/>
                  </a:lnTo>
                  <a:lnTo>
                    <a:pt x="0" y="837000"/>
                  </a:lnTo>
                  <a:lnTo>
                    <a:pt x="0" y="502219"/>
                  </a:lnTo>
                  <a:close/>
                </a:path>
              </a:pathLst>
            </a:custGeom>
            <a:solidFill>
              <a:srgbClr val="00313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 charset="0"/>
                <a:cs typeface="+mn-cs"/>
              </a:endParaRPr>
            </a:p>
          </p:txBody>
        </p:sp>
        <p:sp>
          <p:nvSpPr>
            <p:cNvPr id="67" name="Равнобедренный треугольник 66">
              <a:extLst>
                <a:ext uri="{FF2B5EF4-FFF2-40B4-BE49-F238E27FC236}">
                  <a16:creationId xmlns:a16="http://schemas.microsoft.com/office/drawing/2014/main" id="{5485CA80-A041-C874-90E6-772B1DF69FB1}"/>
                </a:ext>
              </a:extLst>
            </p:cNvPr>
            <p:cNvSpPr/>
            <p:nvPr/>
          </p:nvSpPr>
          <p:spPr bwMode="auto">
            <a:xfrm>
              <a:off x="4976011" y="2964345"/>
              <a:ext cx="833288" cy="837003"/>
            </a:xfrm>
            <a:prstGeom prst="triangle">
              <a:avLst>
                <a:gd name="adj" fmla="val 50000"/>
              </a:avLst>
            </a:pr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 charset="0"/>
                <a:cs typeface="+mn-cs"/>
              </a:endParaRPr>
            </a:p>
          </p:txBody>
        </p:sp>
      </p:grpSp>
      <p:pic>
        <p:nvPicPr>
          <p:cNvPr id="70" name="Рисунок 69">
            <a:extLst>
              <a:ext uri="{FF2B5EF4-FFF2-40B4-BE49-F238E27FC236}">
                <a16:creationId xmlns:a16="http://schemas.microsoft.com/office/drawing/2014/main" id="{FE6A1CEE-101D-DA26-B99B-D7F471D56377}"/>
              </a:ext>
            </a:extLst>
          </p:cNvPr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5189" y="339725"/>
            <a:ext cx="1033507" cy="468210"/>
          </a:xfrm>
          <a:prstGeom prst="rect">
            <a:avLst/>
          </a:prstGeom>
        </p:spPr>
      </p:pic>
      <p:sp>
        <p:nvSpPr>
          <p:cNvPr id="74" name="Равнобедренный треугольник 73">
            <a:extLst>
              <a:ext uri="{FF2B5EF4-FFF2-40B4-BE49-F238E27FC236}">
                <a16:creationId xmlns:a16="http://schemas.microsoft.com/office/drawing/2014/main" id="{C5808F61-4FD2-E430-61A4-09DC4E3CC55C}"/>
              </a:ext>
            </a:extLst>
          </p:cNvPr>
          <p:cNvSpPr/>
          <p:nvPr/>
        </p:nvSpPr>
        <p:spPr bwMode="auto">
          <a:xfrm rot="16200000" flipH="1" flipV="1">
            <a:off x="2526127" y="2544436"/>
            <a:ext cx="534354" cy="554303"/>
          </a:xfrm>
          <a:prstGeom prst="triangle">
            <a:avLst/>
          </a:prstGeom>
          <a:solidFill>
            <a:srgbClr val="77E2C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1" i="0" u="none" strike="noStrike" kern="0" cap="none" spc="0" normalizeH="0" baseline="0" noProof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  <p:pic>
        <p:nvPicPr>
          <p:cNvPr id="75" name="Рисунок 74">
            <a:extLst>
              <a:ext uri="{FF2B5EF4-FFF2-40B4-BE49-F238E27FC236}">
                <a16:creationId xmlns:a16="http://schemas.microsoft.com/office/drawing/2014/main" id="{D1C012CB-E47D-9A2F-55FC-EDDDAE07BA1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8407" y="4640335"/>
            <a:ext cx="360000" cy="360000"/>
          </a:xfrm>
          <a:prstGeom prst="rect">
            <a:avLst/>
          </a:prstGeom>
        </p:spPr>
      </p:pic>
      <p:sp>
        <p:nvSpPr>
          <p:cNvPr id="76" name="Прямоугольник 75">
            <a:extLst>
              <a:ext uri="{FF2B5EF4-FFF2-40B4-BE49-F238E27FC236}">
                <a16:creationId xmlns:a16="http://schemas.microsoft.com/office/drawing/2014/main" id="{12FA419E-7E4D-1D53-5B98-EF4E418D0B2D}"/>
              </a:ext>
            </a:extLst>
          </p:cNvPr>
          <p:cNvSpPr>
            <a:spLocks noChangeAspect="1"/>
          </p:cNvSpPr>
          <p:nvPr/>
        </p:nvSpPr>
        <p:spPr bwMode="auto">
          <a:xfrm>
            <a:off x="6575656" y="3082082"/>
            <a:ext cx="2568344" cy="2068975"/>
          </a:xfrm>
          <a:prstGeom prst="rect">
            <a:avLst/>
          </a:prstGeom>
          <a:solidFill>
            <a:srgbClr val="00313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1" i="0" u="none" strike="noStrike" kern="0" cap="none" spc="0" normalizeH="0" baseline="0" noProof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  <p:grpSp>
        <p:nvGrpSpPr>
          <p:cNvPr id="77" name="Группа 76">
            <a:extLst>
              <a:ext uri="{FF2B5EF4-FFF2-40B4-BE49-F238E27FC236}">
                <a16:creationId xmlns:a16="http://schemas.microsoft.com/office/drawing/2014/main" id="{ECE45283-9B58-AFA9-48BB-26E762EF8160}"/>
              </a:ext>
            </a:extLst>
          </p:cNvPr>
          <p:cNvGrpSpPr>
            <a:grpSpLocks noChangeAspect="1"/>
          </p:cNvGrpSpPr>
          <p:nvPr/>
        </p:nvGrpSpPr>
        <p:grpSpPr>
          <a:xfrm>
            <a:off x="6575656" y="3081419"/>
            <a:ext cx="2568344" cy="2069635"/>
            <a:chOff x="1181440" y="3896884"/>
            <a:chExt cx="837001" cy="840065"/>
          </a:xfrm>
        </p:grpSpPr>
        <p:sp>
          <p:nvSpPr>
            <p:cNvPr id="78" name="Полилиния 47">
              <a:extLst>
                <a:ext uri="{FF2B5EF4-FFF2-40B4-BE49-F238E27FC236}">
                  <a16:creationId xmlns:a16="http://schemas.microsoft.com/office/drawing/2014/main" id="{161BDDA5-E0CC-3010-5A7E-BEB1ECCAC17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181531" y="3896975"/>
              <a:ext cx="836910" cy="839974"/>
            </a:xfrm>
            <a:custGeom>
              <a:avLst/>
              <a:gdLst>
                <a:gd name="connsiteX0" fmla="*/ 836910 w 836910"/>
                <a:gd name="connsiteY0" fmla="*/ 0 h 836909"/>
                <a:gd name="connsiteX1" fmla="*/ 836910 w 836910"/>
                <a:gd name="connsiteY1" fmla="*/ 836909 h 836909"/>
                <a:gd name="connsiteX2" fmla="*/ 0 w 836910"/>
                <a:gd name="connsiteY2" fmla="*/ 836909 h 836909"/>
                <a:gd name="connsiteX3" fmla="*/ 4240 w 836910"/>
                <a:gd name="connsiteY3" fmla="*/ 752947 h 836909"/>
                <a:gd name="connsiteX4" fmla="*/ 752947 w 836910"/>
                <a:gd name="connsiteY4" fmla="*/ 4240 h 836909"/>
                <a:gd name="connsiteX5" fmla="*/ 836910 w 836910"/>
                <a:gd name="connsiteY5" fmla="*/ 0 h 836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6910" h="836909">
                  <a:moveTo>
                    <a:pt x="836910" y="0"/>
                  </a:moveTo>
                  <a:lnTo>
                    <a:pt x="836910" y="836909"/>
                  </a:lnTo>
                  <a:lnTo>
                    <a:pt x="0" y="836909"/>
                  </a:lnTo>
                  <a:lnTo>
                    <a:pt x="4240" y="752947"/>
                  </a:lnTo>
                  <a:cubicBezTo>
                    <a:pt x="44331" y="358175"/>
                    <a:pt x="358175" y="44331"/>
                    <a:pt x="752947" y="4240"/>
                  </a:cubicBezTo>
                  <a:lnTo>
                    <a:pt x="836910" y="0"/>
                  </a:lnTo>
                  <a:close/>
                </a:path>
              </a:pathLst>
            </a:cu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 charset="0"/>
                <a:cs typeface="+mn-cs"/>
              </a:endParaRPr>
            </a:p>
          </p:txBody>
        </p:sp>
        <p:sp>
          <p:nvSpPr>
            <p:cNvPr id="79" name="Полилиния 48">
              <a:extLst>
                <a:ext uri="{FF2B5EF4-FFF2-40B4-BE49-F238E27FC236}">
                  <a16:creationId xmlns:a16="http://schemas.microsoft.com/office/drawing/2014/main" id="{E7679E0D-B59A-E263-701E-9E945602B50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181440" y="3896884"/>
              <a:ext cx="837001" cy="837000"/>
            </a:xfrm>
            <a:custGeom>
              <a:avLst/>
              <a:gdLst>
                <a:gd name="connsiteX0" fmla="*/ 0 w 837001"/>
                <a:gd name="connsiteY0" fmla="*/ 0 h 837000"/>
                <a:gd name="connsiteX1" fmla="*/ 837001 w 837001"/>
                <a:gd name="connsiteY1" fmla="*/ 0 h 837000"/>
                <a:gd name="connsiteX2" fmla="*/ 837001 w 837001"/>
                <a:gd name="connsiteY2" fmla="*/ 91 h 837000"/>
                <a:gd name="connsiteX3" fmla="*/ 753038 w 837001"/>
                <a:gd name="connsiteY3" fmla="*/ 4331 h 837000"/>
                <a:gd name="connsiteX4" fmla="*/ 4331 w 837001"/>
                <a:gd name="connsiteY4" fmla="*/ 753038 h 837000"/>
                <a:gd name="connsiteX5" fmla="*/ 91 w 837001"/>
                <a:gd name="connsiteY5" fmla="*/ 837000 h 837000"/>
                <a:gd name="connsiteX6" fmla="*/ 0 w 837001"/>
                <a:gd name="connsiteY6" fmla="*/ 837000 h 837000"/>
                <a:gd name="connsiteX7" fmla="*/ 0 w 837001"/>
                <a:gd name="connsiteY7" fmla="*/ 0 h 83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37001" h="837000">
                  <a:moveTo>
                    <a:pt x="0" y="0"/>
                  </a:moveTo>
                  <a:lnTo>
                    <a:pt x="837001" y="0"/>
                  </a:lnTo>
                  <a:lnTo>
                    <a:pt x="837001" y="91"/>
                  </a:lnTo>
                  <a:lnTo>
                    <a:pt x="753038" y="4331"/>
                  </a:lnTo>
                  <a:cubicBezTo>
                    <a:pt x="358266" y="44422"/>
                    <a:pt x="44422" y="358266"/>
                    <a:pt x="4331" y="753038"/>
                  </a:cubicBezTo>
                  <a:lnTo>
                    <a:pt x="91" y="837000"/>
                  </a:lnTo>
                  <a:lnTo>
                    <a:pt x="0" y="837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313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 charset="0"/>
                <a:cs typeface="+mn-cs"/>
              </a:endParaRPr>
            </a:p>
          </p:txBody>
        </p: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29629CDE-464B-7F57-C980-AC572972DA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0A57E3-EA23-4E01-B1DF-72CA8D4A16E5}" type="slidenum">
              <a:rPr lang="ru-RU" altLang="ru-RU" smtClean="0">
                <a:solidFill>
                  <a:srgbClr val="FFFFFF"/>
                </a:solidFill>
              </a:rPr>
              <a:pPr/>
              <a:t>3</a:t>
            </a:fld>
            <a:endParaRPr lang="ru-RU" alt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97660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id="{671EE3A5-A777-6488-8F45-05EB0BB1119E}"/>
              </a:ext>
            </a:extLst>
          </p:cNvPr>
          <p:cNvSpPr/>
          <p:nvPr/>
        </p:nvSpPr>
        <p:spPr bwMode="auto">
          <a:xfrm>
            <a:off x="6687625" y="1023938"/>
            <a:ext cx="2106000" cy="3527420"/>
          </a:xfrm>
          <a:prstGeom prst="rect">
            <a:avLst/>
          </a:prstGeom>
          <a:solidFill>
            <a:srgbClr val="F0F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1" hangingPunct="1">
              <a:defRPr/>
            </a:pPr>
            <a:endParaRPr lang="ru-RU" b="1">
              <a:solidFill>
                <a:srgbClr val="003D4C"/>
              </a:solidFill>
              <a:latin typeface="Arial" charset="0"/>
              <a:cs typeface="+mn-cs"/>
            </a:endParaRPr>
          </a:p>
        </p:txBody>
      </p:sp>
      <p:sp>
        <p:nvSpPr>
          <p:cNvPr id="291" name="Прямоугольник 290">
            <a:extLst>
              <a:ext uri="{FF2B5EF4-FFF2-40B4-BE49-F238E27FC236}">
                <a16:creationId xmlns:a16="http://schemas.microsoft.com/office/drawing/2014/main" id="{FB4811C9-C851-2138-D55C-497B2C14EE53}"/>
              </a:ext>
            </a:extLst>
          </p:cNvPr>
          <p:cNvSpPr/>
          <p:nvPr/>
        </p:nvSpPr>
        <p:spPr bwMode="auto">
          <a:xfrm>
            <a:off x="6898767" y="3570402"/>
            <a:ext cx="1837641" cy="751340"/>
          </a:xfrm>
          <a:prstGeom prst="rect">
            <a:avLst/>
          </a:prstGeom>
          <a:solidFill>
            <a:srgbClr val="77E2C3">
              <a:lumMod val="60000"/>
              <a:lumOff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id="{BB5861AE-2624-43A2-FC28-3075FCDD4BE1}"/>
              </a:ext>
            </a:extLst>
          </p:cNvPr>
          <p:cNvSpPr/>
          <p:nvPr/>
        </p:nvSpPr>
        <p:spPr bwMode="auto">
          <a:xfrm>
            <a:off x="395287" y="1023937"/>
            <a:ext cx="2071991" cy="3527422"/>
          </a:xfrm>
          <a:prstGeom prst="rect">
            <a:avLst/>
          </a:prstGeom>
          <a:solidFill>
            <a:srgbClr val="F0F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1" hangingPunct="1">
              <a:defRPr/>
            </a:pPr>
            <a:endParaRPr lang="ru-RU" b="1">
              <a:solidFill>
                <a:srgbClr val="003D4C"/>
              </a:solidFill>
              <a:latin typeface="Arial" charset="0"/>
              <a:cs typeface="+mn-cs"/>
            </a:endParaRPr>
          </a:p>
        </p:txBody>
      </p: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id="{22E7B41C-843D-6F3E-F81A-D00937ACB147}"/>
              </a:ext>
            </a:extLst>
          </p:cNvPr>
          <p:cNvSpPr/>
          <p:nvPr/>
        </p:nvSpPr>
        <p:spPr bwMode="auto">
          <a:xfrm>
            <a:off x="2470061" y="1023938"/>
            <a:ext cx="2106000" cy="3527420"/>
          </a:xfrm>
          <a:prstGeom prst="rect">
            <a:avLst/>
          </a:prstGeom>
          <a:solidFill>
            <a:srgbClr val="77E2C3">
              <a:lumMod val="60000"/>
              <a:lumOff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7AD95008-E2DF-DE8A-5503-DF6EB61A8FC6}"/>
              </a:ext>
            </a:extLst>
          </p:cNvPr>
          <p:cNvSpPr/>
          <p:nvPr/>
        </p:nvSpPr>
        <p:spPr bwMode="auto">
          <a:xfrm>
            <a:off x="4578843" y="1023938"/>
            <a:ext cx="2106000" cy="3527420"/>
          </a:xfrm>
          <a:prstGeom prst="rect">
            <a:avLst/>
          </a:prstGeom>
          <a:solidFill>
            <a:srgbClr val="77E2C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  <p:sp>
        <p:nvSpPr>
          <p:cNvPr id="54" name="Заголовок 1">
            <a:extLst>
              <a:ext uri="{FF2B5EF4-FFF2-40B4-BE49-F238E27FC236}">
                <a16:creationId xmlns:a16="http://schemas.microsoft.com/office/drawing/2014/main" id="{5A24068C-413A-D880-6B0F-DBEE4ACC90D6}"/>
              </a:ext>
            </a:extLst>
          </p:cNvPr>
          <p:cNvSpPr txBox="1">
            <a:spLocks/>
          </p:cNvSpPr>
          <p:nvPr/>
        </p:nvSpPr>
        <p:spPr>
          <a:xfrm>
            <a:off x="395288" y="324547"/>
            <a:ext cx="8398337" cy="6959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dirty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0" cap="none" spc="0" normalizeH="0" baseline="0" noProof="0" dirty="0">
                <a:ln>
                  <a:noFill/>
                </a:ln>
                <a:solidFill>
                  <a:srgbClr val="008C95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Бизнес-модель Казаньоргсинтез</a:t>
            </a:r>
          </a:p>
        </p:txBody>
      </p:sp>
      <p:sp>
        <p:nvSpPr>
          <p:cNvPr id="61" name="TextBox 261">
            <a:extLst>
              <a:ext uri="{FF2B5EF4-FFF2-40B4-BE49-F238E27FC236}">
                <a16:creationId xmlns:a16="http://schemas.microsoft.com/office/drawing/2014/main" id="{8ADF91B2-DDD9-651F-1BF5-A1AB15362E4F}"/>
              </a:ext>
            </a:extLst>
          </p:cNvPr>
          <p:cNvSpPr txBox="1"/>
          <p:nvPr/>
        </p:nvSpPr>
        <p:spPr>
          <a:xfrm>
            <a:off x="392504" y="1074737"/>
            <a:ext cx="207071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3680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87361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1042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74723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184039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620845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057651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494460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СЫРЬЕ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2" name="TextBox 261">
            <a:extLst>
              <a:ext uri="{FF2B5EF4-FFF2-40B4-BE49-F238E27FC236}">
                <a16:creationId xmlns:a16="http://schemas.microsoft.com/office/drawing/2014/main" id="{783DC8FA-36C1-B1AD-7EE7-88C9508E1E47}"/>
              </a:ext>
            </a:extLst>
          </p:cNvPr>
          <p:cNvSpPr txBox="1"/>
          <p:nvPr/>
        </p:nvSpPr>
        <p:spPr>
          <a:xfrm>
            <a:off x="7140685" y="1074737"/>
            <a:ext cx="119283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3680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87361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1042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74723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184039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620845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057651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494460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РЫНКИ СБЫТА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67" name="Рисунок 66">
            <a:extLst>
              <a:ext uri="{FF2B5EF4-FFF2-40B4-BE49-F238E27FC236}">
                <a16:creationId xmlns:a16="http://schemas.microsoft.com/office/drawing/2014/main" id="{891EECB4-1099-633B-ACC7-F143FBC3E0F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7889" y="2268541"/>
            <a:ext cx="324000" cy="324000"/>
          </a:xfrm>
          <a:prstGeom prst="rect">
            <a:avLst/>
          </a:prstGeom>
        </p:spPr>
      </p:pic>
      <p:pic>
        <p:nvPicPr>
          <p:cNvPr id="68" name="Рисунок 67">
            <a:extLst>
              <a:ext uri="{FF2B5EF4-FFF2-40B4-BE49-F238E27FC236}">
                <a16:creationId xmlns:a16="http://schemas.microsoft.com/office/drawing/2014/main" id="{E2E36A1F-05A9-193D-A508-B925DCC1274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7889" y="1865287"/>
            <a:ext cx="324000" cy="324000"/>
          </a:xfrm>
          <a:prstGeom prst="rect">
            <a:avLst/>
          </a:prstGeom>
        </p:spPr>
      </p:pic>
      <p:pic>
        <p:nvPicPr>
          <p:cNvPr id="69" name="Рисунок 68">
            <a:extLst>
              <a:ext uri="{FF2B5EF4-FFF2-40B4-BE49-F238E27FC236}">
                <a16:creationId xmlns:a16="http://schemas.microsoft.com/office/drawing/2014/main" id="{2B4FF4F3-8A32-9E40-887C-EFF41A3596C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1414" y="1865287"/>
            <a:ext cx="324000" cy="324000"/>
          </a:xfrm>
          <a:prstGeom prst="rect">
            <a:avLst/>
          </a:prstGeom>
        </p:spPr>
      </p:pic>
      <p:pic>
        <p:nvPicPr>
          <p:cNvPr id="70" name="Рисунок 69">
            <a:extLst>
              <a:ext uri="{FF2B5EF4-FFF2-40B4-BE49-F238E27FC236}">
                <a16:creationId xmlns:a16="http://schemas.microsoft.com/office/drawing/2014/main" id="{C2699CBA-7B3F-83F1-B17B-BCD12A8962C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5808" y="2268541"/>
            <a:ext cx="324000" cy="324000"/>
          </a:xfrm>
          <a:prstGeom prst="rect">
            <a:avLst/>
          </a:prstGeom>
        </p:spPr>
      </p:pic>
      <p:pic>
        <p:nvPicPr>
          <p:cNvPr id="71" name="Рисунок 70">
            <a:extLst>
              <a:ext uri="{FF2B5EF4-FFF2-40B4-BE49-F238E27FC236}">
                <a16:creationId xmlns:a16="http://schemas.microsoft.com/office/drawing/2014/main" id="{8E1414EC-CA80-64A1-0B9B-697D054B4B1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4767" y="2268541"/>
            <a:ext cx="324000" cy="324000"/>
          </a:xfrm>
          <a:prstGeom prst="rect">
            <a:avLst/>
          </a:prstGeom>
        </p:spPr>
      </p:pic>
      <p:pic>
        <p:nvPicPr>
          <p:cNvPr id="72" name="Рисунок 71">
            <a:extLst>
              <a:ext uri="{FF2B5EF4-FFF2-40B4-BE49-F238E27FC236}">
                <a16:creationId xmlns:a16="http://schemas.microsoft.com/office/drawing/2014/main" id="{F77731CD-B6B5-7B45-DF95-05C91D14140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4767" y="2707795"/>
            <a:ext cx="324000" cy="324000"/>
          </a:xfrm>
          <a:prstGeom prst="rect">
            <a:avLst/>
          </a:prstGeom>
        </p:spPr>
      </p:pic>
      <p:pic>
        <p:nvPicPr>
          <p:cNvPr id="73" name="Рисунок 72">
            <a:extLst>
              <a:ext uri="{FF2B5EF4-FFF2-40B4-BE49-F238E27FC236}">
                <a16:creationId xmlns:a16="http://schemas.microsoft.com/office/drawing/2014/main" id="{A0424B8C-9E8C-C657-7A83-C67A2443AF7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1414" y="2268541"/>
            <a:ext cx="324000" cy="324000"/>
          </a:xfrm>
          <a:prstGeom prst="rect">
            <a:avLst/>
          </a:prstGeom>
        </p:spPr>
      </p:pic>
      <p:pic>
        <p:nvPicPr>
          <p:cNvPr id="74" name="Рисунок 73">
            <a:extLst>
              <a:ext uri="{FF2B5EF4-FFF2-40B4-BE49-F238E27FC236}">
                <a16:creationId xmlns:a16="http://schemas.microsoft.com/office/drawing/2014/main" id="{2411BD28-7971-1E85-44D4-EEC38E4D9C28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7889" y="1462033"/>
            <a:ext cx="324000" cy="324000"/>
          </a:xfrm>
          <a:prstGeom prst="rect">
            <a:avLst/>
          </a:prstGeom>
        </p:spPr>
      </p:pic>
      <p:pic>
        <p:nvPicPr>
          <p:cNvPr id="75" name="Рисунок 74">
            <a:extLst>
              <a:ext uri="{FF2B5EF4-FFF2-40B4-BE49-F238E27FC236}">
                <a16:creationId xmlns:a16="http://schemas.microsoft.com/office/drawing/2014/main" id="{46B6D3CC-E7F7-EA70-7A24-385BA21095E7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078" y="1469675"/>
            <a:ext cx="324000" cy="324000"/>
          </a:xfrm>
          <a:prstGeom prst="rect">
            <a:avLst/>
          </a:prstGeom>
        </p:spPr>
      </p:pic>
      <p:pic>
        <p:nvPicPr>
          <p:cNvPr id="76" name="Рисунок 75">
            <a:extLst>
              <a:ext uri="{FF2B5EF4-FFF2-40B4-BE49-F238E27FC236}">
                <a16:creationId xmlns:a16="http://schemas.microsoft.com/office/drawing/2014/main" id="{45B6CFD4-C8C7-412F-C1DC-D3DC39690FEA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5808" y="1865287"/>
            <a:ext cx="324000" cy="324000"/>
          </a:xfrm>
          <a:prstGeom prst="rect">
            <a:avLst/>
          </a:prstGeom>
        </p:spPr>
      </p:pic>
      <p:pic>
        <p:nvPicPr>
          <p:cNvPr id="77" name="Рисунок 76">
            <a:extLst>
              <a:ext uri="{FF2B5EF4-FFF2-40B4-BE49-F238E27FC236}">
                <a16:creationId xmlns:a16="http://schemas.microsoft.com/office/drawing/2014/main" id="{F7A28C52-E6FA-D39A-C90D-ED4EF20D054F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34767" y="1865287"/>
            <a:ext cx="324000" cy="324000"/>
          </a:xfrm>
          <a:prstGeom prst="rect">
            <a:avLst/>
          </a:prstGeom>
        </p:spPr>
      </p:pic>
      <p:pic>
        <p:nvPicPr>
          <p:cNvPr id="78" name="Рисунок 77">
            <a:extLst>
              <a:ext uri="{FF2B5EF4-FFF2-40B4-BE49-F238E27FC236}">
                <a16:creationId xmlns:a16="http://schemas.microsoft.com/office/drawing/2014/main" id="{90AD8FA8-90F1-5C74-7058-D7F916CE828B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5808" y="1462033"/>
            <a:ext cx="324000" cy="324000"/>
          </a:xfrm>
          <a:prstGeom prst="rect">
            <a:avLst/>
          </a:prstGeom>
        </p:spPr>
      </p:pic>
      <p:pic>
        <p:nvPicPr>
          <p:cNvPr id="79" name="Рисунок 78">
            <a:extLst>
              <a:ext uri="{FF2B5EF4-FFF2-40B4-BE49-F238E27FC236}">
                <a16:creationId xmlns:a16="http://schemas.microsoft.com/office/drawing/2014/main" id="{8121BC4A-9F02-DB2D-4E92-C5FC3515CA19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4767" y="1462033"/>
            <a:ext cx="324000" cy="324000"/>
          </a:xfrm>
          <a:prstGeom prst="rect">
            <a:avLst/>
          </a:prstGeom>
        </p:spPr>
      </p:pic>
      <p:pic>
        <p:nvPicPr>
          <p:cNvPr id="80" name="Рисунок 79">
            <a:extLst>
              <a:ext uri="{FF2B5EF4-FFF2-40B4-BE49-F238E27FC236}">
                <a16:creationId xmlns:a16="http://schemas.microsoft.com/office/drawing/2014/main" id="{6F3D7A01-7D52-88F3-CBB7-1E520E55375C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5808" y="2707795"/>
            <a:ext cx="324000" cy="324000"/>
          </a:xfrm>
          <a:prstGeom prst="rect">
            <a:avLst/>
          </a:prstGeom>
        </p:spPr>
      </p:pic>
      <p:pic>
        <p:nvPicPr>
          <p:cNvPr id="81" name="Рисунок 80">
            <a:extLst>
              <a:ext uri="{FF2B5EF4-FFF2-40B4-BE49-F238E27FC236}">
                <a16:creationId xmlns:a16="http://schemas.microsoft.com/office/drawing/2014/main" id="{7DCDBF59-6894-9B5D-AFC7-18B94B0C7194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5414" y="2671795"/>
            <a:ext cx="360000" cy="360000"/>
          </a:xfrm>
          <a:prstGeom prst="rect">
            <a:avLst/>
          </a:prstGeom>
        </p:spPr>
      </p:pic>
      <p:pic>
        <p:nvPicPr>
          <p:cNvPr id="82" name="Рисунок 81">
            <a:extLst>
              <a:ext uri="{FF2B5EF4-FFF2-40B4-BE49-F238E27FC236}">
                <a16:creationId xmlns:a16="http://schemas.microsoft.com/office/drawing/2014/main" id="{7E1093C7-311F-CE98-23A6-E9256265F664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1889" y="2671795"/>
            <a:ext cx="360000" cy="360000"/>
          </a:xfrm>
          <a:prstGeom prst="rect">
            <a:avLst/>
          </a:prstGeom>
        </p:spPr>
      </p:pic>
      <p:pic>
        <p:nvPicPr>
          <p:cNvPr id="83" name="Рисунок 82">
            <a:extLst>
              <a:ext uri="{FF2B5EF4-FFF2-40B4-BE49-F238E27FC236}">
                <a16:creationId xmlns:a16="http://schemas.microsoft.com/office/drawing/2014/main" id="{D96A5C76-2617-1183-1245-DB556672EE23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1889" y="3111047"/>
            <a:ext cx="360000" cy="360000"/>
          </a:xfrm>
          <a:prstGeom prst="rect">
            <a:avLst/>
          </a:prstGeom>
        </p:spPr>
      </p:pic>
      <p:pic>
        <p:nvPicPr>
          <p:cNvPr id="84" name="Рисунок 83">
            <a:extLst>
              <a:ext uri="{FF2B5EF4-FFF2-40B4-BE49-F238E27FC236}">
                <a16:creationId xmlns:a16="http://schemas.microsoft.com/office/drawing/2014/main" id="{0EBCEBDA-4ADA-8B0C-A447-5B34DD15455A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9808" y="3111047"/>
            <a:ext cx="360000" cy="360000"/>
          </a:xfrm>
          <a:prstGeom prst="rect">
            <a:avLst/>
          </a:prstGeom>
        </p:spPr>
      </p:pic>
      <p:pic>
        <p:nvPicPr>
          <p:cNvPr id="85" name="Рисунок 84">
            <a:extLst>
              <a:ext uri="{FF2B5EF4-FFF2-40B4-BE49-F238E27FC236}">
                <a16:creationId xmlns:a16="http://schemas.microsoft.com/office/drawing/2014/main" id="{040ABBDA-0204-C63D-D3B6-B408D46F7838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5414" y="3111047"/>
            <a:ext cx="360000" cy="360000"/>
          </a:xfrm>
          <a:prstGeom prst="rect">
            <a:avLst/>
          </a:prstGeom>
        </p:spPr>
      </p:pic>
      <p:pic>
        <p:nvPicPr>
          <p:cNvPr id="86" name="Рисунок 85">
            <a:extLst>
              <a:ext uri="{FF2B5EF4-FFF2-40B4-BE49-F238E27FC236}">
                <a16:creationId xmlns:a16="http://schemas.microsoft.com/office/drawing/2014/main" id="{87929A6D-F890-DE1D-9BEE-2ACAFA3A72DA}"/>
              </a:ext>
            </a:extLst>
          </p:cNvPr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8767" y="3111047"/>
            <a:ext cx="360000" cy="360000"/>
          </a:xfrm>
          <a:prstGeom prst="rect">
            <a:avLst/>
          </a:prstGeom>
        </p:spPr>
      </p:pic>
      <p:sp>
        <p:nvSpPr>
          <p:cNvPr id="90" name="Прямоугольник 89">
            <a:extLst>
              <a:ext uri="{FF2B5EF4-FFF2-40B4-BE49-F238E27FC236}">
                <a16:creationId xmlns:a16="http://schemas.microsoft.com/office/drawing/2014/main" id="{0F2B6C03-BDC1-C9DC-0913-C8E7AADC1D27}"/>
              </a:ext>
            </a:extLst>
          </p:cNvPr>
          <p:cNvSpPr/>
          <p:nvPr/>
        </p:nvSpPr>
        <p:spPr bwMode="auto">
          <a:xfrm>
            <a:off x="2465999" y="1025681"/>
            <a:ext cx="4218844" cy="252000"/>
          </a:xfrm>
          <a:prstGeom prst="rect">
            <a:avLst/>
          </a:prstGeom>
          <a:solidFill>
            <a:srgbClr val="008C9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  <p:sp>
        <p:nvSpPr>
          <p:cNvPr id="91" name="TextBox 261">
            <a:extLst>
              <a:ext uri="{FF2B5EF4-FFF2-40B4-BE49-F238E27FC236}">
                <a16:creationId xmlns:a16="http://schemas.microsoft.com/office/drawing/2014/main" id="{F3A08ED9-097D-8D4C-55E7-A5C3C718CA52}"/>
              </a:ext>
            </a:extLst>
          </p:cNvPr>
          <p:cNvSpPr txBox="1"/>
          <p:nvPr/>
        </p:nvSpPr>
        <p:spPr>
          <a:xfrm>
            <a:off x="3275856" y="1074737"/>
            <a:ext cx="245932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3680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87361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1042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74723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184039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620845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057651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494460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ПРОИЗВОДСТВО </a:t>
            </a:r>
            <a:r>
              <a:rPr lang="ru-RU" sz="1000" b="1" kern="0" dirty="0">
                <a:solidFill>
                  <a:prstClr val="white"/>
                </a:solidFill>
              </a:rPr>
              <a:t>КАЗАНЬОРГСИНТЕЗ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93" name="Рисунок 92">
            <a:extLst>
              <a:ext uri="{FF2B5EF4-FFF2-40B4-BE49-F238E27FC236}">
                <a16:creationId xmlns:a16="http://schemas.microsoft.com/office/drawing/2014/main" id="{6055A3D9-F1BB-EAC1-13E4-29FFE96D60B3}"/>
              </a:ext>
            </a:extLst>
          </p:cNvPr>
          <p:cNvPicPr/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5189" y="339725"/>
            <a:ext cx="1033507" cy="468210"/>
          </a:xfrm>
          <a:prstGeom prst="rect">
            <a:avLst/>
          </a:prstGeom>
        </p:spPr>
      </p:pic>
      <p:sp>
        <p:nvSpPr>
          <p:cNvPr id="94" name="TextBox 261">
            <a:extLst>
              <a:ext uri="{FF2B5EF4-FFF2-40B4-BE49-F238E27FC236}">
                <a16:creationId xmlns:a16="http://schemas.microsoft.com/office/drawing/2014/main" id="{3B8C0061-1132-3C06-60CC-84F7594CFA0F}"/>
              </a:ext>
            </a:extLst>
          </p:cNvPr>
          <p:cNvSpPr txBox="1"/>
          <p:nvPr/>
        </p:nvSpPr>
        <p:spPr>
          <a:xfrm>
            <a:off x="2622309" y="1326737"/>
            <a:ext cx="180479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3680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87361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1042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74723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184039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620845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057651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494460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НЕФТЕХИМИЯ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95" name="Рисунок 94">
            <a:extLst>
              <a:ext uri="{FF2B5EF4-FFF2-40B4-BE49-F238E27FC236}">
                <a16:creationId xmlns:a16="http://schemas.microsoft.com/office/drawing/2014/main" id="{C3239962-4190-D7EE-2B95-188F7051834B}"/>
              </a:ext>
            </a:extLst>
          </p:cNvPr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3943" y="1565216"/>
            <a:ext cx="589462" cy="600141"/>
          </a:xfrm>
          <a:prstGeom prst="rect">
            <a:avLst/>
          </a:prstGeom>
        </p:spPr>
      </p:pic>
      <p:pic>
        <p:nvPicPr>
          <p:cNvPr id="96" name="Рисунок 95">
            <a:extLst>
              <a:ext uri="{FF2B5EF4-FFF2-40B4-BE49-F238E27FC236}">
                <a16:creationId xmlns:a16="http://schemas.microsoft.com/office/drawing/2014/main" id="{63D7EC43-9BF6-0C75-8A5E-D3436C43BCD4}"/>
              </a:ext>
            </a:extLst>
          </p:cNvPr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8330" y="3666929"/>
            <a:ext cx="589462" cy="600141"/>
          </a:xfrm>
          <a:prstGeom prst="rect">
            <a:avLst/>
          </a:prstGeom>
        </p:spPr>
      </p:pic>
      <p:pic>
        <p:nvPicPr>
          <p:cNvPr id="97" name="Рисунок 96">
            <a:extLst>
              <a:ext uri="{FF2B5EF4-FFF2-40B4-BE49-F238E27FC236}">
                <a16:creationId xmlns:a16="http://schemas.microsoft.com/office/drawing/2014/main" id="{308060E6-AC9C-9B83-D079-6A36B8600DBA}"/>
              </a:ext>
            </a:extLst>
          </p:cNvPr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3943" y="2637064"/>
            <a:ext cx="589462" cy="600141"/>
          </a:xfrm>
          <a:prstGeom prst="rect">
            <a:avLst/>
          </a:prstGeom>
        </p:spPr>
      </p:pic>
      <p:sp>
        <p:nvSpPr>
          <p:cNvPr id="101" name="object 25">
            <a:extLst>
              <a:ext uri="{FF2B5EF4-FFF2-40B4-BE49-F238E27FC236}">
                <a16:creationId xmlns:a16="http://schemas.microsoft.com/office/drawing/2014/main" id="{AED113FE-E10D-1827-E369-157ACB834445}"/>
              </a:ext>
            </a:extLst>
          </p:cNvPr>
          <p:cNvSpPr txBox="1"/>
          <p:nvPr/>
        </p:nvSpPr>
        <p:spPr>
          <a:xfrm>
            <a:off x="3116627" y="3242964"/>
            <a:ext cx="807302" cy="2092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ru-RU"/>
            </a:defPPr>
            <a:lvl1pPr marR="5080" lvl="0" fontAlgn="auto">
              <a:lnSpc>
                <a:spcPct val="1233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1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cs typeface="Arial"/>
              </a:defRPr>
            </a:lvl1pPr>
          </a:lstStyle>
          <a:p>
            <a:pPr marL="0" marR="5080" lvl="0" indent="0" algn="ctr" defTabSz="778986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0" cap="none" spc="0" normalizeH="0" baseline="0" noProof="0" dirty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Arial"/>
              </a:rPr>
              <a:t>Полиэтилен</a:t>
            </a:r>
            <a:br>
              <a:rPr kumimoji="0" lang="ru-RU" sz="800" b="1" i="0" u="none" strike="noStrike" kern="0" cap="none" spc="0" normalizeH="0" baseline="0" noProof="0" dirty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Arial"/>
              </a:rPr>
            </a:br>
            <a:endParaRPr kumimoji="0" sz="800" b="1" i="0" u="none" strike="noStrike" kern="0" cap="none" spc="0" normalizeH="0" baseline="0" noProof="0" dirty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02" name="object 25">
            <a:extLst>
              <a:ext uri="{FF2B5EF4-FFF2-40B4-BE49-F238E27FC236}">
                <a16:creationId xmlns:a16="http://schemas.microsoft.com/office/drawing/2014/main" id="{1B95C84D-77FB-2C41-3AE5-B19BB9D7A798}"/>
              </a:ext>
            </a:extLst>
          </p:cNvPr>
          <p:cNvSpPr txBox="1"/>
          <p:nvPr/>
        </p:nvSpPr>
        <p:spPr>
          <a:xfrm>
            <a:off x="3126549" y="4321742"/>
            <a:ext cx="807304" cy="2092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ru-RU"/>
            </a:defPPr>
            <a:lvl1pPr marR="5080" lvl="0" fontAlgn="auto">
              <a:lnSpc>
                <a:spcPct val="1233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1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cs typeface="Arial"/>
              </a:defRPr>
            </a:lvl1pPr>
          </a:lstStyle>
          <a:p>
            <a:pPr marL="0" marR="5080" lvl="0" indent="0" algn="ctr" defTabSz="778986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0" cap="none" spc="0" normalizeH="0" baseline="0" noProof="0" dirty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Arial"/>
              </a:rPr>
              <a:t>Поликарбонат</a:t>
            </a:r>
            <a:br>
              <a:rPr kumimoji="0" lang="ru-RU" sz="800" b="1" i="0" u="none" strike="noStrike" kern="0" cap="none" spc="0" normalizeH="0" baseline="0" noProof="0" dirty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Arial"/>
              </a:rPr>
            </a:br>
            <a:endParaRPr kumimoji="0" sz="800" b="1" i="0" u="none" strike="noStrike" kern="0" cap="none" spc="0" normalizeH="0" baseline="0" noProof="0" dirty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28" name="Прямоугольник 113">
            <a:extLst>
              <a:ext uri="{FF2B5EF4-FFF2-40B4-BE49-F238E27FC236}">
                <a16:creationId xmlns:a16="http://schemas.microsoft.com/office/drawing/2014/main" id="{FF0A7EBA-1ED9-3361-FE36-171F70B95542}"/>
              </a:ext>
            </a:extLst>
          </p:cNvPr>
          <p:cNvSpPr/>
          <p:nvPr/>
        </p:nvSpPr>
        <p:spPr>
          <a:xfrm>
            <a:off x="502110" y="1476991"/>
            <a:ext cx="1865475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9525" lvl="1" defTabSz="957033" eaLnBrk="1" fontAlgn="auto" hangingPunct="1">
              <a:spcBef>
                <a:spcPts val="0"/>
              </a:spcBef>
              <a:spcAft>
                <a:spcPts val="600"/>
              </a:spcAft>
              <a:buClr>
                <a:srgbClr val="77E2C3"/>
              </a:buClr>
              <a:buSzPct val="100000"/>
            </a:pPr>
            <a:r>
              <a:rPr lang="ru-RU" sz="900" dirty="0">
                <a:solidFill>
                  <a:srgbClr val="003D4C"/>
                </a:solidFill>
                <a:latin typeface="Arial"/>
                <a:cs typeface="+mn-cs"/>
              </a:rPr>
              <a:t>Основными видами потребляемого сырья являются:</a:t>
            </a:r>
          </a:p>
        </p:txBody>
      </p:sp>
      <p:sp>
        <p:nvSpPr>
          <p:cNvPr id="134" name="TextBox 559">
            <a:extLst>
              <a:ext uri="{FF2B5EF4-FFF2-40B4-BE49-F238E27FC236}">
                <a16:creationId xmlns:a16="http://schemas.microsoft.com/office/drawing/2014/main" id="{2935D6C1-6BB1-7857-0379-89A5EEEB884D}"/>
              </a:ext>
            </a:extLst>
          </p:cNvPr>
          <p:cNvSpPr txBox="1"/>
          <p:nvPr/>
        </p:nvSpPr>
        <p:spPr bwMode="gray">
          <a:xfrm>
            <a:off x="1403648" y="1877721"/>
            <a:ext cx="733788" cy="8976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3680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87361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1042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74723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184039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620845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057651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494460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ctr" defTabSz="629735" rtl="0" eaLnBrk="1" fontAlgn="base" latinLnBrk="0" hangingPunct="1">
              <a:lnSpc>
                <a:spcPts val="7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ЭТАНОПРОВОД</a:t>
            </a:r>
            <a:endParaRPr kumimoji="0" lang="en-US" sz="600" b="0" i="1" u="none" strike="noStrike" kern="1200" cap="none" spc="0" normalizeH="0" baseline="30000" noProof="0" dirty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cxnSp>
        <p:nvCxnSpPr>
          <p:cNvPr id="136" name="Прямая со стрелкой 135">
            <a:extLst>
              <a:ext uri="{FF2B5EF4-FFF2-40B4-BE49-F238E27FC236}">
                <a16:creationId xmlns:a16="http://schemas.microsoft.com/office/drawing/2014/main" id="{A454DB15-6585-CC3A-4B1E-7FD3AB43BEC1}"/>
              </a:ext>
            </a:extLst>
          </p:cNvPr>
          <p:cNvCxnSpPr>
            <a:endCxn id="97" idx="1"/>
          </p:cNvCxnSpPr>
          <p:nvPr/>
        </p:nvCxnSpPr>
        <p:spPr bwMode="auto">
          <a:xfrm flipV="1">
            <a:off x="2034891" y="2937135"/>
            <a:ext cx="1199052" cy="5267"/>
          </a:xfrm>
          <a:prstGeom prst="straightConnector1">
            <a:avLst/>
          </a:prstGeom>
          <a:solidFill>
            <a:srgbClr val="008C95"/>
          </a:solidFill>
          <a:ln w="28575" cap="flat" cmpd="sng" algn="ctr">
            <a:solidFill>
              <a:sysClr val="window" lastClr="FFFFFF">
                <a:lumMod val="65000"/>
              </a:sysClr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38" name="Рисунок 137">
            <a:extLst>
              <a:ext uri="{FF2B5EF4-FFF2-40B4-BE49-F238E27FC236}">
                <a16:creationId xmlns:a16="http://schemas.microsoft.com/office/drawing/2014/main" id="{F34353F4-A781-21FD-CCA3-425391E20E53}"/>
              </a:ext>
            </a:extLst>
          </p:cNvPr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397" y="2211750"/>
            <a:ext cx="360000" cy="360000"/>
          </a:xfrm>
          <a:prstGeom prst="rect">
            <a:avLst/>
          </a:prstGeom>
        </p:spPr>
      </p:pic>
      <p:pic>
        <p:nvPicPr>
          <p:cNvPr id="139" name="Рисунок 138">
            <a:extLst>
              <a:ext uri="{FF2B5EF4-FFF2-40B4-BE49-F238E27FC236}">
                <a16:creationId xmlns:a16="http://schemas.microsoft.com/office/drawing/2014/main" id="{2CA4EFFC-6D11-DF69-D618-0D4CADFD1E3D}"/>
              </a:ext>
            </a:extLst>
          </p:cNvPr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288" y="3791075"/>
            <a:ext cx="360000" cy="360000"/>
          </a:xfrm>
          <a:prstGeom prst="rect">
            <a:avLst/>
          </a:prstGeom>
        </p:spPr>
      </p:pic>
      <p:pic>
        <p:nvPicPr>
          <p:cNvPr id="140" name="Рисунок 139">
            <a:extLst>
              <a:ext uri="{FF2B5EF4-FFF2-40B4-BE49-F238E27FC236}">
                <a16:creationId xmlns:a16="http://schemas.microsoft.com/office/drawing/2014/main" id="{B824104F-67C4-A811-6424-06E797BADF41}"/>
              </a:ext>
            </a:extLst>
          </p:cNvPr>
          <p:cNvPicPr>
            <a:picLocks noChangeAspect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397" y="1800115"/>
            <a:ext cx="360000" cy="360000"/>
          </a:xfrm>
          <a:prstGeom prst="rect">
            <a:avLst/>
          </a:prstGeom>
        </p:spPr>
      </p:pic>
      <p:pic>
        <p:nvPicPr>
          <p:cNvPr id="141" name="Рисунок 140">
            <a:extLst>
              <a:ext uri="{FF2B5EF4-FFF2-40B4-BE49-F238E27FC236}">
                <a16:creationId xmlns:a16="http://schemas.microsoft.com/office/drawing/2014/main" id="{167B3B8B-7F71-2A4B-DE7E-264E7116CD65}"/>
              </a:ext>
            </a:extLst>
          </p:cNvPr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74" y="2762893"/>
            <a:ext cx="360000" cy="360000"/>
          </a:xfrm>
          <a:prstGeom prst="rect">
            <a:avLst/>
          </a:prstGeom>
        </p:spPr>
      </p:pic>
      <p:sp>
        <p:nvSpPr>
          <p:cNvPr id="142" name="Прямоугольник 113">
            <a:extLst>
              <a:ext uri="{FF2B5EF4-FFF2-40B4-BE49-F238E27FC236}">
                <a16:creationId xmlns:a16="http://schemas.microsoft.com/office/drawing/2014/main" id="{0A367736-690E-080E-94AF-31969FE1843E}"/>
              </a:ext>
            </a:extLst>
          </p:cNvPr>
          <p:cNvSpPr/>
          <p:nvPr/>
        </p:nvSpPr>
        <p:spPr>
          <a:xfrm>
            <a:off x="749674" y="2804393"/>
            <a:ext cx="1174634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9525" lvl="1" algn="ctr" defTabSz="957033" eaLnBrk="1" fontAlgn="auto" hangingPunct="1">
              <a:spcBef>
                <a:spcPts val="0"/>
              </a:spcBef>
              <a:spcAft>
                <a:spcPts val="600"/>
              </a:spcAft>
              <a:buClr>
                <a:srgbClr val="77E2C3"/>
              </a:buClr>
              <a:buSzPct val="100000"/>
            </a:pPr>
            <a:r>
              <a:rPr lang="ru-RU" sz="900" dirty="0">
                <a:solidFill>
                  <a:srgbClr val="003D4C"/>
                </a:solidFill>
                <a:latin typeface="Arial"/>
                <a:cs typeface="+mn-cs"/>
              </a:rPr>
              <a:t>Бутен-1 собственного производства</a:t>
            </a:r>
            <a:endParaRPr lang="en-US" sz="900" dirty="0">
              <a:solidFill>
                <a:srgbClr val="003D4C"/>
              </a:solidFill>
              <a:latin typeface="Arial"/>
              <a:cs typeface="+mn-cs"/>
            </a:endParaRPr>
          </a:p>
        </p:txBody>
      </p:sp>
      <p:sp>
        <p:nvSpPr>
          <p:cNvPr id="150" name="Прямоугольник 113">
            <a:extLst>
              <a:ext uri="{FF2B5EF4-FFF2-40B4-BE49-F238E27FC236}">
                <a16:creationId xmlns:a16="http://schemas.microsoft.com/office/drawing/2014/main" id="{D648A98D-A7B9-2E45-311A-B3E789B00484}"/>
              </a:ext>
            </a:extLst>
          </p:cNvPr>
          <p:cNvSpPr/>
          <p:nvPr/>
        </p:nvSpPr>
        <p:spPr>
          <a:xfrm>
            <a:off x="771812" y="3897932"/>
            <a:ext cx="430150" cy="13813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9525" lvl="1" defTabSz="957033" eaLnBrk="1" fontAlgn="auto" hangingPunct="1">
              <a:spcBef>
                <a:spcPts val="0"/>
              </a:spcBef>
              <a:spcAft>
                <a:spcPts val="600"/>
              </a:spcAft>
              <a:buClr>
                <a:srgbClr val="77E2C3"/>
              </a:buClr>
              <a:buSzPct val="100000"/>
            </a:pPr>
            <a:r>
              <a:rPr lang="ru-RU" sz="900" dirty="0">
                <a:solidFill>
                  <a:srgbClr val="003D4C"/>
                </a:solidFill>
                <a:latin typeface="Arial"/>
                <a:cs typeface="+mn-cs"/>
              </a:rPr>
              <a:t>Бензол</a:t>
            </a:r>
            <a:endParaRPr lang="en-US" sz="900" dirty="0">
              <a:solidFill>
                <a:srgbClr val="003D4C"/>
              </a:solidFill>
              <a:latin typeface="Arial"/>
              <a:cs typeface="+mn-cs"/>
            </a:endParaRPr>
          </a:p>
        </p:txBody>
      </p:sp>
      <p:cxnSp>
        <p:nvCxnSpPr>
          <p:cNvPr id="151" name="Прямая со стрелкой 150">
            <a:extLst>
              <a:ext uri="{FF2B5EF4-FFF2-40B4-BE49-F238E27FC236}">
                <a16:creationId xmlns:a16="http://schemas.microsoft.com/office/drawing/2014/main" id="{4F9775AE-D30A-2B31-947D-EB1B8BCB5C37}"/>
              </a:ext>
            </a:extLst>
          </p:cNvPr>
          <p:cNvCxnSpPr>
            <a:endCxn id="96" idx="1"/>
          </p:cNvCxnSpPr>
          <p:nvPr/>
        </p:nvCxnSpPr>
        <p:spPr bwMode="auto">
          <a:xfrm>
            <a:off x="1259632" y="3967000"/>
            <a:ext cx="1968698" cy="0"/>
          </a:xfrm>
          <a:prstGeom prst="straightConnector1">
            <a:avLst/>
          </a:prstGeom>
          <a:solidFill>
            <a:srgbClr val="008C95"/>
          </a:solidFill>
          <a:ln w="28575" cap="flat" cmpd="sng" algn="ctr">
            <a:solidFill>
              <a:sysClr val="window" lastClr="FFFFFF">
                <a:lumMod val="65000"/>
              </a:sysClr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3" name="Прямоугольник 113">
            <a:extLst>
              <a:ext uri="{FF2B5EF4-FFF2-40B4-BE49-F238E27FC236}">
                <a16:creationId xmlns:a16="http://schemas.microsoft.com/office/drawing/2014/main" id="{DE7175F5-832C-5699-83DA-0BD0337C67DB}"/>
              </a:ext>
            </a:extLst>
          </p:cNvPr>
          <p:cNvSpPr/>
          <p:nvPr/>
        </p:nvSpPr>
        <p:spPr>
          <a:xfrm>
            <a:off x="761144" y="2243271"/>
            <a:ext cx="1452352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9525" lvl="1" algn="ctr" defTabSz="957033" eaLnBrk="1" fontAlgn="auto" hangingPunct="1"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Pct val="100000"/>
            </a:pPr>
            <a:r>
              <a:rPr lang="ru-RU" sz="900" dirty="0">
                <a:solidFill>
                  <a:srgbClr val="003D4C"/>
                </a:solidFill>
                <a:latin typeface="Arial"/>
                <a:cs typeface="+mn-cs"/>
              </a:rPr>
              <a:t>Сжиженные углеводороды (пропан, бутан)</a:t>
            </a:r>
          </a:p>
        </p:txBody>
      </p:sp>
      <p:sp>
        <p:nvSpPr>
          <p:cNvPr id="174" name="Прямоугольник 113">
            <a:extLst>
              <a:ext uri="{FF2B5EF4-FFF2-40B4-BE49-F238E27FC236}">
                <a16:creationId xmlns:a16="http://schemas.microsoft.com/office/drawing/2014/main" id="{B0B5F96F-43F8-2D3D-FACE-F7A97CB6662A}"/>
              </a:ext>
            </a:extLst>
          </p:cNvPr>
          <p:cNvSpPr/>
          <p:nvPr/>
        </p:nvSpPr>
        <p:spPr>
          <a:xfrm>
            <a:off x="759563" y="1913620"/>
            <a:ext cx="277750" cy="1384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9525" lvl="1" defTabSz="957033" eaLnBrk="1" fontAlgn="auto" hangingPunct="1">
              <a:spcBef>
                <a:spcPts val="0"/>
              </a:spcBef>
              <a:spcAft>
                <a:spcPts val="600"/>
              </a:spcAft>
              <a:buClr>
                <a:srgbClr val="77E2C3"/>
              </a:buClr>
              <a:buSzPct val="100000"/>
            </a:pPr>
            <a:r>
              <a:rPr lang="ru-RU" sz="900" dirty="0">
                <a:solidFill>
                  <a:srgbClr val="003D4C"/>
                </a:solidFill>
                <a:latin typeface="Arial"/>
                <a:cs typeface="+mn-cs"/>
              </a:rPr>
              <a:t>Этан</a:t>
            </a:r>
            <a:endParaRPr lang="en-US" sz="900" dirty="0">
              <a:solidFill>
                <a:srgbClr val="003D4C"/>
              </a:solidFill>
              <a:latin typeface="Arial"/>
              <a:cs typeface="+mn-cs"/>
            </a:endParaRPr>
          </a:p>
        </p:txBody>
      </p:sp>
      <p:cxnSp>
        <p:nvCxnSpPr>
          <p:cNvPr id="180" name="Прямая со стрелкой 174">
            <a:extLst>
              <a:ext uri="{FF2B5EF4-FFF2-40B4-BE49-F238E27FC236}">
                <a16:creationId xmlns:a16="http://schemas.microsoft.com/office/drawing/2014/main" id="{9D321B65-A043-C0B3-FB61-A9D9B0BFF202}"/>
              </a:ext>
            </a:extLst>
          </p:cNvPr>
          <p:cNvCxnSpPr/>
          <p:nvPr/>
        </p:nvCxnSpPr>
        <p:spPr bwMode="auto">
          <a:xfrm flipV="1">
            <a:off x="2367585" y="1979922"/>
            <a:ext cx="869140" cy="386310"/>
          </a:xfrm>
          <a:prstGeom prst="bentConnector3">
            <a:avLst>
              <a:gd name="adj1" fmla="val 24750"/>
            </a:avLst>
          </a:prstGeom>
          <a:solidFill>
            <a:srgbClr val="008C95"/>
          </a:solidFill>
          <a:ln w="28575" cap="flat" cmpd="sng" algn="ctr">
            <a:solidFill>
              <a:sysClr val="window" lastClr="FFFFFF">
                <a:lumMod val="65000"/>
              </a:sysClr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4" name="Прямая со стрелкой 183">
            <a:extLst>
              <a:ext uri="{FF2B5EF4-FFF2-40B4-BE49-F238E27FC236}">
                <a16:creationId xmlns:a16="http://schemas.microsoft.com/office/drawing/2014/main" id="{641BD7E0-9891-59F0-AF15-643EA5AA3749}"/>
              </a:ext>
            </a:extLst>
          </p:cNvPr>
          <p:cNvCxnSpPr>
            <a:endCxn id="95" idx="1"/>
          </p:cNvCxnSpPr>
          <p:nvPr/>
        </p:nvCxnSpPr>
        <p:spPr bwMode="auto">
          <a:xfrm flipV="1">
            <a:off x="1119563" y="1865287"/>
            <a:ext cx="2114380" cy="121346"/>
          </a:xfrm>
          <a:prstGeom prst="bentConnector3">
            <a:avLst>
              <a:gd name="adj1" fmla="val 63142"/>
            </a:avLst>
          </a:prstGeom>
          <a:solidFill>
            <a:srgbClr val="008C95"/>
          </a:solidFill>
          <a:ln w="28575" cap="flat" cmpd="sng" algn="ctr">
            <a:solidFill>
              <a:sysClr val="window" lastClr="FFFFFF">
                <a:lumMod val="65000"/>
              </a:sysClr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1" name="Соединительная линия уступом 175">
            <a:extLst>
              <a:ext uri="{FF2B5EF4-FFF2-40B4-BE49-F238E27FC236}">
                <a16:creationId xmlns:a16="http://schemas.microsoft.com/office/drawing/2014/main" id="{B3DFBE5F-BDB6-0603-54EC-033CC822B61B}"/>
              </a:ext>
            </a:extLst>
          </p:cNvPr>
          <p:cNvCxnSpPr/>
          <p:nvPr/>
        </p:nvCxnSpPr>
        <p:spPr bwMode="auto">
          <a:xfrm>
            <a:off x="3635896" y="2263727"/>
            <a:ext cx="0" cy="308023"/>
          </a:xfrm>
          <a:prstGeom prst="straightConnector1">
            <a:avLst/>
          </a:prstGeom>
          <a:solidFill>
            <a:srgbClr val="008C95"/>
          </a:solidFill>
          <a:ln w="28575" cap="rnd" cmpd="sng" algn="ctr">
            <a:solidFill>
              <a:srgbClr val="77E2C3">
                <a:lumMod val="75000"/>
              </a:srgbClr>
            </a:solidFill>
            <a:prstDash val="sysDot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3" name="Соединительная линия уступом 175">
            <a:extLst>
              <a:ext uri="{FF2B5EF4-FFF2-40B4-BE49-F238E27FC236}">
                <a16:creationId xmlns:a16="http://schemas.microsoft.com/office/drawing/2014/main" id="{CCA40C9D-8F6B-9B6E-C285-D62FDE7BCA00}"/>
              </a:ext>
            </a:extLst>
          </p:cNvPr>
          <p:cNvCxnSpPr/>
          <p:nvPr/>
        </p:nvCxnSpPr>
        <p:spPr bwMode="auto">
          <a:xfrm rot="5400000">
            <a:off x="2579188" y="2918407"/>
            <a:ext cx="1598629" cy="300344"/>
          </a:xfrm>
          <a:prstGeom prst="bentConnector4">
            <a:avLst>
              <a:gd name="adj1" fmla="val 18117"/>
              <a:gd name="adj2" fmla="val 176113"/>
            </a:avLst>
          </a:prstGeom>
          <a:solidFill>
            <a:srgbClr val="008C95"/>
          </a:solidFill>
          <a:ln w="28575" cap="rnd" cmpd="sng" algn="ctr">
            <a:solidFill>
              <a:srgbClr val="77E2C3">
                <a:lumMod val="75000"/>
              </a:srgbClr>
            </a:solidFill>
            <a:prstDash val="sysDot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9" name="object 25">
            <a:extLst>
              <a:ext uri="{FF2B5EF4-FFF2-40B4-BE49-F238E27FC236}">
                <a16:creationId xmlns:a16="http://schemas.microsoft.com/office/drawing/2014/main" id="{97B58B43-DB80-3773-8088-63ED3B10726B}"/>
              </a:ext>
            </a:extLst>
          </p:cNvPr>
          <p:cNvSpPr txBox="1"/>
          <p:nvPr/>
        </p:nvSpPr>
        <p:spPr>
          <a:xfrm>
            <a:off x="3233943" y="2159083"/>
            <a:ext cx="589461" cy="2092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ru-RU"/>
            </a:defPPr>
            <a:lvl1pPr marR="5080" lvl="0" fontAlgn="auto">
              <a:lnSpc>
                <a:spcPct val="1233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1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cs typeface="Arial"/>
              </a:defRPr>
            </a:lvl1pPr>
          </a:lstStyle>
          <a:p>
            <a:pPr marL="0" marR="5080" lvl="0" indent="0" algn="ctr" defTabSz="778986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0" cap="none" spc="0" normalizeH="0" baseline="0" noProof="0" dirty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Arial"/>
              </a:rPr>
              <a:t>Пиролиз</a:t>
            </a:r>
            <a:br>
              <a:rPr kumimoji="0" lang="ru-RU" sz="800" b="1" i="0" u="none" strike="noStrike" kern="0" cap="none" spc="0" normalizeH="0" baseline="0" noProof="0" dirty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Arial"/>
              </a:rPr>
            </a:br>
            <a:endParaRPr kumimoji="0" sz="800" b="1" i="0" u="none" strike="noStrike" kern="0" cap="none" spc="0" normalizeH="0" baseline="0" noProof="0" dirty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cxnSp>
        <p:nvCxnSpPr>
          <p:cNvPr id="267" name="Прямая со стрелкой 266">
            <a:extLst>
              <a:ext uri="{FF2B5EF4-FFF2-40B4-BE49-F238E27FC236}">
                <a16:creationId xmlns:a16="http://schemas.microsoft.com/office/drawing/2014/main" id="{0CEE19CB-630A-7BA5-8F40-E6D312551907}"/>
              </a:ext>
            </a:extLst>
          </p:cNvPr>
          <p:cNvCxnSpPr>
            <a:stCxn id="96" idx="3"/>
          </p:cNvCxnSpPr>
          <p:nvPr/>
        </p:nvCxnSpPr>
        <p:spPr bwMode="auto">
          <a:xfrm flipV="1">
            <a:off x="3817792" y="3966998"/>
            <a:ext cx="2867051" cy="2"/>
          </a:xfrm>
          <a:prstGeom prst="straightConnector1">
            <a:avLst/>
          </a:prstGeom>
          <a:solidFill>
            <a:srgbClr val="008C95"/>
          </a:solidFill>
          <a:ln w="28575" cap="flat" cmpd="sng" algn="ctr">
            <a:solidFill>
              <a:srgbClr val="008C95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2" name="TextBox 559">
            <a:extLst>
              <a:ext uri="{FF2B5EF4-FFF2-40B4-BE49-F238E27FC236}">
                <a16:creationId xmlns:a16="http://schemas.microsoft.com/office/drawing/2014/main" id="{7BA8C899-6138-8EBD-F43F-2CE7FC6EF3E5}"/>
              </a:ext>
            </a:extLst>
          </p:cNvPr>
          <p:cNvSpPr txBox="1"/>
          <p:nvPr/>
        </p:nvSpPr>
        <p:spPr bwMode="gray">
          <a:xfrm>
            <a:off x="3666266" y="2298788"/>
            <a:ext cx="607066" cy="10701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3680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87361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1042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74723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184039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620845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057651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494460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629735" rtl="0" eaLnBrk="1" fontAlgn="base" latinLnBrk="0" hangingPunct="1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0" cap="none" spc="0" normalizeH="0" baseline="0" noProof="0" dirty="0">
                <a:ln>
                  <a:noFill/>
                </a:ln>
                <a:solidFill>
                  <a:srgbClr val="77E2C3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Этилен</a:t>
            </a:r>
            <a:endParaRPr kumimoji="0" lang="ru-RU" sz="7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73" name="TextBox 559">
            <a:extLst>
              <a:ext uri="{FF2B5EF4-FFF2-40B4-BE49-F238E27FC236}">
                <a16:creationId xmlns:a16="http://schemas.microsoft.com/office/drawing/2014/main" id="{6A90F3C1-6D20-D115-7641-B186F4591A51}"/>
              </a:ext>
            </a:extLst>
          </p:cNvPr>
          <p:cNvSpPr txBox="1"/>
          <p:nvPr/>
        </p:nvSpPr>
        <p:spPr bwMode="gray">
          <a:xfrm>
            <a:off x="3048839" y="2423043"/>
            <a:ext cx="607066" cy="10701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3680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87361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1042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74723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184039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620845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057651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494460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629735" rtl="0" eaLnBrk="1" fontAlgn="base" latinLnBrk="0" hangingPunct="1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0" cap="none" spc="0" normalizeH="0" baseline="0" noProof="0" dirty="0">
                <a:ln>
                  <a:noFill/>
                </a:ln>
                <a:solidFill>
                  <a:srgbClr val="77E2C3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Пропилен</a:t>
            </a:r>
            <a:endParaRPr kumimoji="0" lang="ru-RU" sz="7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cxnSp>
        <p:nvCxnSpPr>
          <p:cNvPr id="275" name="Прямая со стрелкой 274">
            <a:extLst>
              <a:ext uri="{FF2B5EF4-FFF2-40B4-BE49-F238E27FC236}">
                <a16:creationId xmlns:a16="http://schemas.microsoft.com/office/drawing/2014/main" id="{B093FAD5-A73A-4D37-E15E-F61CEFB39C7E}"/>
              </a:ext>
            </a:extLst>
          </p:cNvPr>
          <p:cNvCxnSpPr>
            <a:stCxn id="97" idx="3"/>
          </p:cNvCxnSpPr>
          <p:nvPr/>
        </p:nvCxnSpPr>
        <p:spPr bwMode="auto">
          <a:xfrm flipV="1">
            <a:off x="3823405" y="2928198"/>
            <a:ext cx="2861438" cy="8937"/>
          </a:xfrm>
          <a:prstGeom prst="straightConnector1">
            <a:avLst/>
          </a:prstGeom>
          <a:solidFill>
            <a:srgbClr val="008C95"/>
          </a:solidFill>
          <a:ln w="28575" cap="flat" cmpd="sng" algn="ctr">
            <a:solidFill>
              <a:srgbClr val="008C95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9" name="Прямоугольник 278">
            <a:extLst>
              <a:ext uri="{FF2B5EF4-FFF2-40B4-BE49-F238E27FC236}">
                <a16:creationId xmlns:a16="http://schemas.microsoft.com/office/drawing/2014/main" id="{A9676EA6-FEAB-2DB7-B067-84883B31AD41}"/>
              </a:ext>
            </a:extLst>
          </p:cNvPr>
          <p:cNvSpPr/>
          <p:nvPr/>
        </p:nvSpPr>
        <p:spPr bwMode="auto">
          <a:xfrm>
            <a:off x="4806671" y="1422309"/>
            <a:ext cx="1677013" cy="2808892"/>
          </a:xfrm>
          <a:prstGeom prst="rect">
            <a:avLst/>
          </a:prstGeom>
          <a:solidFill>
            <a:srgbClr val="77E2C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  <p:sp>
        <p:nvSpPr>
          <p:cNvPr id="281" name="object 58">
            <a:extLst>
              <a:ext uri="{FF2B5EF4-FFF2-40B4-BE49-F238E27FC236}">
                <a16:creationId xmlns:a16="http://schemas.microsoft.com/office/drawing/2014/main" id="{BDB4FA2F-79A5-F0EA-814C-FC8BCA80F7BC}"/>
              </a:ext>
            </a:extLst>
          </p:cNvPr>
          <p:cNvSpPr txBox="1"/>
          <p:nvPr/>
        </p:nvSpPr>
        <p:spPr>
          <a:xfrm>
            <a:off x="4860032" y="1758578"/>
            <a:ext cx="1584176" cy="2092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just" defTabSz="778986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ru-RU" sz="800" b="1" dirty="0">
                <a:solidFill>
                  <a:srgbClr val="00313C"/>
                </a:solidFill>
                <a:latin typeface="Arial"/>
                <a:cs typeface="Arial"/>
              </a:rPr>
              <a:t>этилен чистотой 99,9 % и пропилен</a:t>
            </a:r>
            <a:r>
              <a:rPr lang="en-US" sz="800" b="1" dirty="0">
                <a:solidFill>
                  <a:srgbClr val="00313C"/>
                </a:solidFill>
                <a:latin typeface="Arial"/>
                <a:cs typeface="Arial"/>
              </a:rPr>
              <a:t> </a:t>
            </a:r>
            <a:r>
              <a:rPr lang="ru-RU" sz="800" b="1" dirty="0">
                <a:solidFill>
                  <a:srgbClr val="00313C"/>
                </a:solidFill>
                <a:latin typeface="Arial"/>
                <a:cs typeface="Arial"/>
              </a:rPr>
              <a:t>чистотой 99,75%</a:t>
            </a:r>
          </a:p>
        </p:txBody>
      </p:sp>
      <p:sp>
        <p:nvSpPr>
          <p:cNvPr id="282" name="object 58">
            <a:extLst>
              <a:ext uri="{FF2B5EF4-FFF2-40B4-BE49-F238E27FC236}">
                <a16:creationId xmlns:a16="http://schemas.microsoft.com/office/drawing/2014/main" id="{D6EE7C75-10B1-C401-EE68-540B72A039EF}"/>
              </a:ext>
            </a:extLst>
          </p:cNvPr>
          <p:cNvSpPr txBox="1"/>
          <p:nvPr/>
        </p:nvSpPr>
        <p:spPr>
          <a:xfrm>
            <a:off x="4860032" y="2832610"/>
            <a:ext cx="1584176" cy="2092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just" defTabSz="778986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ru-RU" sz="800" b="1" dirty="0" err="1">
                <a:solidFill>
                  <a:srgbClr val="00313C"/>
                </a:solidFill>
                <a:latin typeface="Arial"/>
                <a:cs typeface="Arial"/>
              </a:rPr>
              <a:t>сэвилен</a:t>
            </a:r>
            <a:r>
              <a:rPr lang="ru-RU" sz="800" b="1" dirty="0">
                <a:solidFill>
                  <a:srgbClr val="00313C"/>
                </a:solidFill>
                <a:latin typeface="Arial"/>
                <a:cs typeface="Arial"/>
              </a:rPr>
              <a:t>, полиэтилен высокой и низкой плотности</a:t>
            </a:r>
          </a:p>
        </p:txBody>
      </p:sp>
      <p:sp>
        <p:nvSpPr>
          <p:cNvPr id="283" name="TextBox 261">
            <a:extLst>
              <a:ext uri="{FF2B5EF4-FFF2-40B4-BE49-F238E27FC236}">
                <a16:creationId xmlns:a16="http://schemas.microsoft.com/office/drawing/2014/main" id="{C5672126-A15E-5207-85C7-942CE7B190B9}"/>
              </a:ext>
            </a:extLst>
          </p:cNvPr>
          <p:cNvSpPr txBox="1"/>
          <p:nvPr/>
        </p:nvSpPr>
        <p:spPr>
          <a:xfrm>
            <a:off x="4572000" y="1326736"/>
            <a:ext cx="211284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3680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87361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1042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74723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184039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620845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057651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494460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b="1" kern="0" dirty="0">
                <a:solidFill>
                  <a:srgbClr val="003D4C"/>
                </a:solidFill>
              </a:rPr>
              <a:t>ПРОДУКЦИЯ ЗАВОДА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84" name="object 58">
            <a:extLst>
              <a:ext uri="{FF2B5EF4-FFF2-40B4-BE49-F238E27FC236}">
                <a16:creationId xmlns:a16="http://schemas.microsoft.com/office/drawing/2014/main" id="{6FE77E82-B6D9-9CAC-D6AF-8E19B8A4B745}"/>
              </a:ext>
            </a:extLst>
          </p:cNvPr>
          <p:cNvSpPr txBox="1"/>
          <p:nvPr/>
        </p:nvSpPr>
        <p:spPr>
          <a:xfrm>
            <a:off x="4860032" y="3874630"/>
            <a:ext cx="1584176" cy="2092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just" defTabSz="778986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ru-RU" sz="800" b="1" dirty="0">
                <a:solidFill>
                  <a:srgbClr val="00313C"/>
                </a:solidFill>
                <a:latin typeface="Arial"/>
                <a:cs typeface="Arial"/>
              </a:rPr>
              <a:t>фенол, ацетон, </a:t>
            </a:r>
            <a:r>
              <a:rPr lang="ru-RU" sz="800" b="1" dirty="0" err="1">
                <a:solidFill>
                  <a:srgbClr val="00313C"/>
                </a:solidFill>
                <a:latin typeface="Arial"/>
                <a:cs typeface="Arial"/>
              </a:rPr>
              <a:t>бизфенол</a:t>
            </a:r>
            <a:r>
              <a:rPr lang="ru-RU" sz="800" b="1" dirty="0">
                <a:solidFill>
                  <a:srgbClr val="00313C"/>
                </a:solidFill>
                <a:latin typeface="Arial"/>
                <a:cs typeface="Arial"/>
              </a:rPr>
              <a:t>-А, поликарбонаты, </a:t>
            </a:r>
            <a:r>
              <a:rPr lang="ru-RU" sz="800" b="1" dirty="0" err="1">
                <a:solidFill>
                  <a:srgbClr val="00313C"/>
                </a:solidFill>
                <a:latin typeface="Arial"/>
                <a:cs typeface="Arial"/>
              </a:rPr>
              <a:t>этаноламины</a:t>
            </a:r>
            <a:endParaRPr lang="ru-RU" sz="800" b="1" dirty="0">
              <a:solidFill>
                <a:srgbClr val="00313C"/>
              </a:solidFill>
              <a:latin typeface="Arial"/>
              <a:cs typeface="Arial"/>
            </a:endParaRPr>
          </a:p>
        </p:txBody>
      </p:sp>
      <p:sp>
        <p:nvSpPr>
          <p:cNvPr id="285" name="object 58">
            <a:extLst>
              <a:ext uri="{FF2B5EF4-FFF2-40B4-BE49-F238E27FC236}">
                <a16:creationId xmlns:a16="http://schemas.microsoft.com/office/drawing/2014/main" id="{3843DBB8-C4FD-A151-8845-5013DB093F54}"/>
              </a:ext>
            </a:extLst>
          </p:cNvPr>
          <p:cNvSpPr txBox="1"/>
          <p:nvPr/>
        </p:nvSpPr>
        <p:spPr>
          <a:xfrm>
            <a:off x="6898767" y="3607518"/>
            <a:ext cx="1837641" cy="677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1450" indent="-171450" algn="just" defTabSz="778986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ru-RU" sz="800" b="1" dirty="0">
                <a:solidFill>
                  <a:srgbClr val="00313C"/>
                </a:solidFill>
                <a:latin typeface="Arial"/>
                <a:cs typeface="Arial"/>
              </a:rPr>
              <a:t>Строительство </a:t>
            </a:r>
          </a:p>
          <a:p>
            <a:pPr marL="171450" indent="-171450" algn="just" defTabSz="778986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ru-RU" sz="800" b="1" dirty="0">
                <a:solidFill>
                  <a:srgbClr val="00313C"/>
                </a:solidFill>
                <a:latin typeface="Arial"/>
                <a:cs typeface="Arial"/>
              </a:rPr>
              <a:t>Производство упаковки</a:t>
            </a:r>
          </a:p>
          <a:p>
            <a:pPr marL="171450" indent="-171450" algn="just" defTabSz="778986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ru-RU" sz="800" b="1" dirty="0">
                <a:solidFill>
                  <a:srgbClr val="00313C"/>
                </a:solidFill>
                <a:latin typeface="Arial"/>
                <a:cs typeface="Arial"/>
              </a:rPr>
              <a:t>Технические жидкости</a:t>
            </a:r>
          </a:p>
          <a:p>
            <a:pPr marL="171450" indent="-171450" algn="just" defTabSz="778986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ru-RU" sz="800" b="1" dirty="0">
                <a:solidFill>
                  <a:srgbClr val="00313C"/>
                </a:solidFill>
                <a:latin typeface="Arial"/>
                <a:cs typeface="Arial"/>
              </a:rPr>
              <a:t>Автомобилестроение</a:t>
            </a:r>
          </a:p>
          <a:p>
            <a:pPr marL="171450" indent="-171450" algn="just" defTabSz="778986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ru-RU" sz="800" b="1" dirty="0">
                <a:solidFill>
                  <a:srgbClr val="00313C"/>
                </a:solidFill>
                <a:latin typeface="Arial"/>
                <a:cs typeface="Arial"/>
              </a:rPr>
              <a:t>Производство бытовой техники</a:t>
            </a:r>
          </a:p>
        </p:txBody>
      </p:sp>
      <p:cxnSp>
        <p:nvCxnSpPr>
          <p:cNvPr id="129" name="Прямая со стрелкой 128">
            <a:extLst>
              <a:ext uri="{FF2B5EF4-FFF2-40B4-BE49-F238E27FC236}">
                <a16:creationId xmlns:a16="http://schemas.microsoft.com/office/drawing/2014/main" id="{5444665F-E7F6-3116-8322-49B288EDACEB}"/>
              </a:ext>
            </a:extLst>
          </p:cNvPr>
          <p:cNvCxnSpPr>
            <a:stCxn id="95" idx="3"/>
            <a:endCxn id="281" idx="1"/>
          </p:cNvCxnSpPr>
          <p:nvPr/>
        </p:nvCxnSpPr>
        <p:spPr bwMode="auto">
          <a:xfrm flipV="1">
            <a:off x="3823405" y="1863222"/>
            <a:ext cx="1036627" cy="2065"/>
          </a:xfrm>
          <a:prstGeom prst="straightConnector1">
            <a:avLst/>
          </a:prstGeom>
          <a:solidFill>
            <a:srgbClr val="008C95"/>
          </a:solidFill>
          <a:ln w="28575" cap="flat" cmpd="sng" algn="ctr">
            <a:solidFill>
              <a:srgbClr val="008C95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29D9E4D-756F-6216-28B8-0F65DBEDB7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0A57E3-EA23-4E01-B1DF-72CA8D4A16E5}" type="slidenum">
              <a:rPr lang="ru-RU" altLang="ru-RU" smtClean="0"/>
              <a:pPr/>
              <a:t>4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3001689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3" name="Группа 252">
            <a:extLst>
              <a:ext uri="{FF2B5EF4-FFF2-40B4-BE49-F238E27FC236}">
                <a16:creationId xmlns:a16="http://schemas.microsoft.com/office/drawing/2014/main" id="{19F29614-FE10-FD56-D2E0-A96575442E19}"/>
              </a:ext>
            </a:extLst>
          </p:cNvPr>
          <p:cNvGrpSpPr>
            <a:grpSpLocks noChangeAspect="1"/>
          </p:cNvGrpSpPr>
          <p:nvPr/>
        </p:nvGrpSpPr>
        <p:grpSpPr>
          <a:xfrm>
            <a:off x="3041136" y="4479206"/>
            <a:ext cx="6102864" cy="665392"/>
            <a:chOff x="10165340" y="2063385"/>
            <a:chExt cx="1332000" cy="1332000"/>
          </a:xfrm>
        </p:grpSpPr>
        <p:sp>
          <p:nvSpPr>
            <p:cNvPr id="254" name="Прямоугольник 253">
              <a:extLst>
                <a:ext uri="{FF2B5EF4-FFF2-40B4-BE49-F238E27FC236}">
                  <a16:creationId xmlns:a16="http://schemas.microsoft.com/office/drawing/2014/main" id="{1793C724-DE44-0E2E-A48B-34081B4EBCE8}"/>
                </a:ext>
              </a:extLst>
            </p:cNvPr>
            <p:cNvSpPr/>
            <p:nvPr/>
          </p:nvSpPr>
          <p:spPr bwMode="auto">
            <a:xfrm>
              <a:off x="10165340" y="2063385"/>
              <a:ext cx="1332000" cy="1332000"/>
            </a:xfrm>
            <a:prstGeom prst="rect">
              <a:avLst/>
            </a:pr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 charset="0"/>
                <a:cs typeface="+mn-cs"/>
              </a:endParaRPr>
            </a:p>
          </p:txBody>
        </p:sp>
        <p:sp>
          <p:nvSpPr>
            <p:cNvPr id="255" name="Полилиния 25">
              <a:extLst>
                <a:ext uri="{FF2B5EF4-FFF2-40B4-BE49-F238E27FC236}">
                  <a16:creationId xmlns:a16="http://schemas.microsoft.com/office/drawing/2014/main" id="{B3C90837-311A-49AC-38CA-691991E6EB71}"/>
                </a:ext>
              </a:extLst>
            </p:cNvPr>
            <p:cNvSpPr/>
            <p:nvPr/>
          </p:nvSpPr>
          <p:spPr bwMode="auto">
            <a:xfrm>
              <a:off x="10165340" y="2205942"/>
              <a:ext cx="1332000" cy="1046889"/>
            </a:xfrm>
            <a:custGeom>
              <a:avLst/>
              <a:gdLst>
                <a:gd name="connsiteX0" fmla="*/ 0 w 1332000"/>
                <a:gd name="connsiteY0" fmla="*/ 961545 h 1046889"/>
                <a:gd name="connsiteX1" fmla="*/ 1332000 w 1332000"/>
                <a:gd name="connsiteY1" fmla="*/ 961545 h 1046889"/>
                <a:gd name="connsiteX2" fmla="*/ 1332000 w 1332000"/>
                <a:gd name="connsiteY2" fmla="*/ 1046889 h 1046889"/>
                <a:gd name="connsiteX3" fmla="*/ 0 w 1332000"/>
                <a:gd name="connsiteY3" fmla="*/ 1046889 h 1046889"/>
                <a:gd name="connsiteX4" fmla="*/ 0 w 1332000"/>
                <a:gd name="connsiteY4" fmla="*/ 801290 h 1046889"/>
                <a:gd name="connsiteX5" fmla="*/ 1332000 w 1332000"/>
                <a:gd name="connsiteY5" fmla="*/ 801290 h 1046889"/>
                <a:gd name="connsiteX6" fmla="*/ 1332000 w 1332000"/>
                <a:gd name="connsiteY6" fmla="*/ 886634 h 1046889"/>
                <a:gd name="connsiteX7" fmla="*/ 0 w 1332000"/>
                <a:gd name="connsiteY7" fmla="*/ 886634 h 1046889"/>
                <a:gd name="connsiteX8" fmla="*/ 0 w 1332000"/>
                <a:gd name="connsiteY8" fmla="*/ 641032 h 1046889"/>
                <a:gd name="connsiteX9" fmla="*/ 1332000 w 1332000"/>
                <a:gd name="connsiteY9" fmla="*/ 641032 h 1046889"/>
                <a:gd name="connsiteX10" fmla="*/ 1332000 w 1332000"/>
                <a:gd name="connsiteY10" fmla="*/ 726376 h 1046889"/>
                <a:gd name="connsiteX11" fmla="*/ 0 w 1332000"/>
                <a:gd name="connsiteY11" fmla="*/ 726376 h 1046889"/>
                <a:gd name="connsiteX12" fmla="*/ 0 w 1332000"/>
                <a:gd name="connsiteY12" fmla="*/ 480774 h 1046889"/>
                <a:gd name="connsiteX13" fmla="*/ 1332000 w 1332000"/>
                <a:gd name="connsiteY13" fmla="*/ 480774 h 1046889"/>
                <a:gd name="connsiteX14" fmla="*/ 1332000 w 1332000"/>
                <a:gd name="connsiteY14" fmla="*/ 566118 h 1046889"/>
                <a:gd name="connsiteX15" fmla="*/ 0 w 1332000"/>
                <a:gd name="connsiteY15" fmla="*/ 566118 h 1046889"/>
                <a:gd name="connsiteX16" fmla="*/ 0 w 1332000"/>
                <a:gd name="connsiteY16" fmla="*/ 320516 h 1046889"/>
                <a:gd name="connsiteX17" fmla="*/ 1332000 w 1332000"/>
                <a:gd name="connsiteY17" fmla="*/ 320516 h 1046889"/>
                <a:gd name="connsiteX18" fmla="*/ 1332000 w 1332000"/>
                <a:gd name="connsiteY18" fmla="*/ 405860 h 1046889"/>
                <a:gd name="connsiteX19" fmla="*/ 0 w 1332000"/>
                <a:gd name="connsiteY19" fmla="*/ 405860 h 1046889"/>
                <a:gd name="connsiteX20" fmla="*/ 0 w 1332000"/>
                <a:gd name="connsiteY20" fmla="*/ 160258 h 1046889"/>
                <a:gd name="connsiteX21" fmla="*/ 1332000 w 1332000"/>
                <a:gd name="connsiteY21" fmla="*/ 160258 h 1046889"/>
                <a:gd name="connsiteX22" fmla="*/ 1332000 w 1332000"/>
                <a:gd name="connsiteY22" fmla="*/ 245602 h 1046889"/>
                <a:gd name="connsiteX23" fmla="*/ 0 w 1332000"/>
                <a:gd name="connsiteY23" fmla="*/ 245602 h 1046889"/>
                <a:gd name="connsiteX24" fmla="*/ 0 w 1332000"/>
                <a:gd name="connsiteY24" fmla="*/ 0 h 1046889"/>
                <a:gd name="connsiteX25" fmla="*/ 1332000 w 1332000"/>
                <a:gd name="connsiteY25" fmla="*/ 0 h 1046889"/>
                <a:gd name="connsiteX26" fmla="*/ 1332000 w 1332000"/>
                <a:gd name="connsiteY26" fmla="*/ 85344 h 1046889"/>
                <a:gd name="connsiteX27" fmla="*/ 0 w 1332000"/>
                <a:gd name="connsiteY27" fmla="*/ 85344 h 1046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32000" h="1046889">
                  <a:moveTo>
                    <a:pt x="0" y="961545"/>
                  </a:moveTo>
                  <a:lnTo>
                    <a:pt x="1332000" y="961545"/>
                  </a:lnTo>
                  <a:lnTo>
                    <a:pt x="1332000" y="1046889"/>
                  </a:lnTo>
                  <a:lnTo>
                    <a:pt x="0" y="1046889"/>
                  </a:lnTo>
                  <a:close/>
                  <a:moveTo>
                    <a:pt x="0" y="801290"/>
                  </a:moveTo>
                  <a:lnTo>
                    <a:pt x="1332000" y="801290"/>
                  </a:lnTo>
                  <a:lnTo>
                    <a:pt x="1332000" y="886634"/>
                  </a:lnTo>
                  <a:lnTo>
                    <a:pt x="0" y="886634"/>
                  </a:lnTo>
                  <a:close/>
                  <a:moveTo>
                    <a:pt x="0" y="641032"/>
                  </a:moveTo>
                  <a:lnTo>
                    <a:pt x="1332000" y="641032"/>
                  </a:lnTo>
                  <a:lnTo>
                    <a:pt x="1332000" y="726376"/>
                  </a:lnTo>
                  <a:lnTo>
                    <a:pt x="0" y="726376"/>
                  </a:lnTo>
                  <a:close/>
                  <a:moveTo>
                    <a:pt x="0" y="480774"/>
                  </a:moveTo>
                  <a:lnTo>
                    <a:pt x="1332000" y="480774"/>
                  </a:lnTo>
                  <a:lnTo>
                    <a:pt x="1332000" y="566118"/>
                  </a:lnTo>
                  <a:lnTo>
                    <a:pt x="0" y="566118"/>
                  </a:lnTo>
                  <a:close/>
                  <a:moveTo>
                    <a:pt x="0" y="320516"/>
                  </a:moveTo>
                  <a:lnTo>
                    <a:pt x="1332000" y="320516"/>
                  </a:lnTo>
                  <a:lnTo>
                    <a:pt x="1332000" y="405860"/>
                  </a:lnTo>
                  <a:lnTo>
                    <a:pt x="0" y="405860"/>
                  </a:lnTo>
                  <a:close/>
                  <a:moveTo>
                    <a:pt x="0" y="160258"/>
                  </a:moveTo>
                  <a:lnTo>
                    <a:pt x="1332000" y="160258"/>
                  </a:lnTo>
                  <a:lnTo>
                    <a:pt x="1332000" y="245602"/>
                  </a:lnTo>
                  <a:lnTo>
                    <a:pt x="0" y="245602"/>
                  </a:lnTo>
                  <a:close/>
                  <a:moveTo>
                    <a:pt x="0" y="0"/>
                  </a:moveTo>
                  <a:lnTo>
                    <a:pt x="1332000" y="0"/>
                  </a:lnTo>
                  <a:lnTo>
                    <a:pt x="1332000" y="85344"/>
                  </a:lnTo>
                  <a:lnTo>
                    <a:pt x="0" y="85344"/>
                  </a:lnTo>
                  <a:close/>
                </a:path>
              </a:pathLst>
            </a:custGeom>
            <a:solidFill>
              <a:srgbClr val="00313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 charset="0"/>
                <a:cs typeface="+mn-cs"/>
              </a:endParaRPr>
            </a:p>
          </p:txBody>
        </p:sp>
      </p:grp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C65238A6-CAA8-2B7B-D54C-5A24A75C9993}"/>
              </a:ext>
            </a:extLst>
          </p:cNvPr>
          <p:cNvGrpSpPr/>
          <p:nvPr/>
        </p:nvGrpSpPr>
        <p:grpSpPr>
          <a:xfrm>
            <a:off x="3452576" y="946559"/>
            <a:ext cx="5392466" cy="3523480"/>
            <a:chOff x="3884504" y="339725"/>
            <a:chExt cx="4150089" cy="3398750"/>
          </a:xfrm>
          <a:solidFill>
            <a:srgbClr val="C9F3E7"/>
          </a:solidFill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AAE5553A-3D55-5784-27BB-A7E5624CED20}"/>
                </a:ext>
              </a:extLst>
            </p:cNvPr>
            <p:cNvSpPr>
              <a:spLocks/>
            </p:cNvSpPr>
            <p:nvPr/>
          </p:nvSpPr>
          <p:spPr bwMode="gray">
            <a:xfrm>
              <a:off x="5166573" y="2779052"/>
              <a:ext cx="27625" cy="36692"/>
            </a:xfrm>
            <a:custGeom>
              <a:avLst/>
              <a:gdLst>
                <a:gd name="T0" fmla="*/ 5581 w 83"/>
                <a:gd name="T1" fmla="*/ 0 h 106"/>
                <a:gd name="T2" fmla="*/ 3864 w 83"/>
                <a:gd name="T3" fmla="*/ 815 h 106"/>
                <a:gd name="T4" fmla="*/ 2576 w 83"/>
                <a:gd name="T5" fmla="*/ 1629 h 106"/>
                <a:gd name="T6" fmla="*/ 2147 w 83"/>
                <a:gd name="T7" fmla="*/ 2037 h 106"/>
                <a:gd name="T8" fmla="*/ 1717 w 83"/>
                <a:gd name="T9" fmla="*/ 2444 h 106"/>
                <a:gd name="T10" fmla="*/ 1288 w 83"/>
                <a:gd name="T11" fmla="*/ 4073 h 106"/>
                <a:gd name="T12" fmla="*/ 1288 w 83"/>
                <a:gd name="T13" fmla="*/ 4888 h 106"/>
                <a:gd name="T14" fmla="*/ 859 w 83"/>
                <a:gd name="T15" fmla="*/ 6110 h 106"/>
                <a:gd name="T16" fmla="*/ 0 w 83"/>
                <a:gd name="T17" fmla="*/ 6924 h 106"/>
                <a:gd name="T18" fmla="*/ 0 w 83"/>
                <a:gd name="T19" fmla="*/ 6924 h 106"/>
                <a:gd name="T20" fmla="*/ 0 w 83"/>
                <a:gd name="T21" fmla="*/ 7739 h 106"/>
                <a:gd name="T22" fmla="*/ 429 w 83"/>
                <a:gd name="T23" fmla="*/ 8146 h 106"/>
                <a:gd name="T24" fmla="*/ 1717 w 83"/>
                <a:gd name="T25" fmla="*/ 8554 h 106"/>
                <a:gd name="T26" fmla="*/ 2147 w 83"/>
                <a:gd name="T27" fmla="*/ 8146 h 106"/>
                <a:gd name="T28" fmla="*/ 2576 w 83"/>
                <a:gd name="T29" fmla="*/ 8554 h 106"/>
                <a:gd name="T30" fmla="*/ 2576 w 83"/>
                <a:gd name="T31" fmla="*/ 8146 h 106"/>
                <a:gd name="T32" fmla="*/ 2576 w 83"/>
                <a:gd name="T33" fmla="*/ 8146 h 106"/>
                <a:gd name="T34" fmla="*/ 3864 w 83"/>
                <a:gd name="T35" fmla="*/ 7739 h 106"/>
                <a:gd name="T36" fmla="*/ 4293 w 83"/>
                <a:gd name="T37" fmla="*/ 7739 h 106"/>
                <a:gd name="T38" fmla="*/ 4723 w 83"/>
                <a:gd name="T39" fmla="*/ 8554 h 106"/>
                <a:gd name="T40" fmla="*/ 4723 w 83"/>
                <a:gd name="T41" fmla="*/ 8554 h 106"/>
                <a:gd name="T42" fmla="*/ 5152 w 83"/>
                <a:gd name="T43" fmla="*/ 8146 h 106"/>
                <a:gd name="T44" fmla="*/ 6011 w 83"/>
                <a:gd name="T45" fmla="*/ 6924 h 106"/>
                <a:gd name="T46" fmla="*/ 6440 w 83"/>
                <a:gd name="T47" fmla="*/ 6110 h 106"/>
                <a:gd name="T48" fmla="*/ 6440 w 83"/>
                <a:gd name="T49" fmla="*/ 6110 h 106"/>
                <a:gd name="T50" fmla="*/ 6440 w 83"/>
                <a:gd name="T51" fmla="*/ 5702 h 106"/>
                <a:gd name="T52" fmla="*/ 6011 w 83"/>
                <a:gd name="T53" fmla="*/ 5702 h 106"/>
                <a:gd name="T54" fmla="*/ 6011 w 83"/>
                <a:gd name="T55" fmla="*/ 5702 h 106"/>
                <a:gd name="T56" fmla="*/ 5152 w 83"/>
                <a:gd name="T57" fmla="*/ 5702 h 106"/>
                <a:gd name="T58" fmla="*/ 4723 w 83"/>
                <a:gd name="T59" fmla="*/ 5702 h 106"/>
                <a:gd name="T60" fmla="*/ 3864 w 83"/>
                <a:gd name="T61" fmla="*/ 5702 h 106"/>
                <a:gd name="T62" fmla="*/ 3864 w 83"/>
                <a:gd name="T63" fmla="*/ 6110 h 106"/>
                <a:gd name="T64" fmla="*/ 3435 w 83"/>
                <a:gd name="T65" fmla="*/ 6110 h 106"/>
                <a:gd name="T66" fmla="*/ 3435 w 83"/>
                <a:gd name="T67" fmla="*/ 6110 h 106"/>
                <a:gd name="T68" fmla="*/ 3005 w 83"/>
                <a:gd name="T69" fmla="*/ 5702 h 106"/>
                <a:gd name="T70" fmla="*/ 3435 w 83"/>
                <a:gd name="T71" fmla="*/ 5702 h 106"/>
                <a:gd name="T72" fmla="*/ 3435 w 83"/>
                <a:gd name="T73" fmla="*/ 5702 h 106"/>
                <a:gd name="T74" fmla="*/ 3864 w 83"/>
                <a:gd name="T75" fmla="*/ 5702 h 106"/>
                <a:gd name="T76" fmla="*/ 3864 w 83"/>
                <a:gd name="T77" fmla="*/ 5295 h 106"/>
                <a:gd name="T78" fmla="*/ 4293 w 83"/>
                <a:gd name="T79" fmla="*/ 4888 h 106"/>
                <a:gd name="T80" fmla="*/ 4723 w 83"/>
                <a:gd name="T81" fmla="*/ 4481 h 106"/>
                <a:gd name="T82" fmla="*/ 5152 w 83"/>
                <a:gd name="T83" fmla="*/ 4481 h 106"/>
                <a:gd name="T84" fmla="*/ 5581 w 83"/>
                <a:gd name="T85" fmla="*/ 4073 h 106"/>
                <a:gd name="T86" fmla="*/ 6440 w 83"/>
                <a:gd name="T87" fmla="*/ 4073 h 106"/>
                <a:gd name="T88" fmla="*/ 6869 w 83"/>
                <a:gd name="T89" fmla="*/ 3666 h 106"/>
                <a:gd name="T90" fmla="*/ 6869 w 83"/>
                <a:gd name="T91" fmla="*/ 3259 h 106"/>
                <a:gd name="T92" fmla="*/ 6869 w 83"/>
                <a:gd name="T93" fmla="*/ 1629 h 106"/>
                <a:gd name="T94" fmla="*/ 6440 w 83"/>
                <a:gd name="T95" fmla="*/ 1629 h 106"/>
                <a:gd name="T96" fmla="*/ 6011 w 83"/>
                <a:gd name="T97" fmla="*/ 1222 h 106"/>
                <a:gd name="T98" fmla="*/ 6011 w 83"/>
                <a:gd name="T99" fmla="*/ 815 h 106"/>
                <a:gd name="T100" fmla="*/ 5581 w 83"/>
                <a:gd name="T101" fmla="*/ 407 h 106"/>
                <a:gd name="T102" fmla="*/ 5581 w 83"/>
                <a:gd name="T103" fmla="*/ 0 h 10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"/>
                <a:gd name="T157" fmla="*/ 0 h 106"/>
                <a:gd name="T158" fmla="*/ 83 w 83"/>
                <a:gd name="T159" fmla="*/ 106 h 10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" h="106">
                  <a:moveTo>
                    <a:pt x="65" y="0"/>
                  </a:moveTo>
                  <a:lnTo>
                    <a:pt x="48" y="11"/>
                  </a:lnTo>
                  <a:lnTo>
                    <a:pt x="33" y="19"/>
                  </a:lnTo>
                  <a:lnTo>
                    <a:pt x="28" y="25"/>
                  </a:lnTo>
                  <a:lnTo>
                    <a:pt x="22" y="29"/>
                  </a:lnTo>
                  <a:lnTo>
                    <a:pt x="17" y="51"/>
                  </a:lnTo>
                  <a:lnTo>
                    <a:pt x="15" y="62"/>
                  </a:lnTo>
                  <a:lnTo>
                    <a:pt x="9" y="74"/>
                  </a:lnTo>
                  <a:lnTo>
                    <a:pt x="0" y="85"/>
                  </a:lnTo>
                  <a:lnTo>
                    <a:pt x="0" y="88"/>
                  </a:lnTo>
                  <a:lnTo>
                    <a:pt x="1" y="97"/>
                  </a:lnTo>
                  <a:lnTo>
                    <a:pt x="7" y="103"/>
                  </a:lnTo>
                  <a:lnTo>
                    <a:pt x="20" y="105"/>
                  </a:lnTo>
                  <a:lnTo>
                    <a:pt x="24" y="102"/>
                  </a:lnTo>
                  <a:lnTo>
                    <a:pt x="31" y="105"/>
                  </a:lnTo>
                  <a:lnTo>
                    <a:pt x="32" y="103"/>
                  </a:lnTo>
                  <a:lnTo>
                    <a:pt x="33" y="100"/>
                  </a:lnTo>
                  <a:lnTo>
                    <a:pt x="45" y="96"/>
                  </a:lnTo>
                  <a:lnTo>
                    <a:pt x="50" y="97"/>
                  </a:lnTo>
                  <a:lnTo>
                    <a:pt x="59" y="105"/>
                  </a:lnTo>
                  <a:lnTo>
                    <a:pt x="59" y="106"/>
                  </a:lnTo>
                  <a:lnTo>
                    <a:pt x="61" y="100"/>
                  </a:lnTo>
                  <a:lnTo>
                    <a:pt x="71" y="88"/>
                  </a:lnTo>
                  <a:lnTo>
                    <a:pt x="76" y="76"/>
                  </a:lnTo>
                  <a:lnTo>
                    <a:pt x="79" y="74"/>
                  </a:lnTo>
                  <a:lnTo>
                    <a:pt x="76" y="72"/>
                  </a:lnTo>
                  <a:lnTo>
                    <a:pt x="74" y="72"/>
                  </a:lnTo>
                  <a:lnTo>
                    <a:pt x="71" y="69"/>
                  </a:lnTo>
                  <a:lnTo>
                    <a:pt x="64" y="70"/>
                  </a:lnTo>
                  <a:lnTo>
                    <a:pt x="56" y="69"/>
                  </a:lnTo>
                  <a:lnTo>
                    <a:pt x="48" y="72"/>
                  </a:lnTo>
                  <a:lnTo>
                    <a:pt x="47" y="74"/>
                  </a:lnTo>
                  <a:lnTo>
                    <a:pt x="44" y="75"/>
                  </a:lnTo>
                  <a:lnTo>
                    <a:pt x="40" y="74"/>
                  </a:lnTo>
                  <a:lnTo>
                    <a:pt x="38" y="70"/>
                  </a:lnTo>
                  <a:lnTo>
                    <a:pt x="39" y="69"/>
                  </a:lnTo>
                  <a:lnTo>
                    <a:pt x="44" y="70"/>
                  </a:lnTo>
                  <a:lnTo>
                    <a:pt x="47" y="70"/>
                  </a:lnTo>
                  <a:lnTo>
                    <a:pt x="48" y="67"/>
                  </a:lnTo>
                  <a:lnTo>
                    <a:pt x="53" y="59"/>
                  </a:lnTo>
                  <a:lnTo>
                    <a:pt x="56" y="57"/>
                  </a:lnTo>
                  <a:lnTo>
                    <a:pt x="61" y="57"/>
                  </a:lnTo>
                  <a:lnTo>
                    <a:pt x="66" y="51"/>
                  </a:lnTo>
                  <a:lnTo>
                    <a:pt x="77" y="48"/>
                  </a:lnTo>
                  <a:lnTo>
                    <a:pt x="83" y="45"/>
                  </a:lnTo>
                  <a:lnTo>
                    <a:pt x="83" y="38"/>
                  </a:lnTo>
                  <a:lnTo>
                    <a:pt x="81" y="22"/>
                  </a:lnTo>
                  <a:lnTo>
                    <a:pt x="80" y="20"/>
                  </a:lnTo>
                  <a:lnTo>
                    <a:pt x="75" y="16"/>
                  </a:lnTo>
                  <a:lnTo>
                    <a:pt x="71" y="9"/>
                  </a:lnTo>
                  <a:lnTo>
                    <a:pt x="67" y="5"/>
                  </a:lnTo>
                  <a:lnTo>
                    <a:pt x="65" y="0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grpSp>
          <p:nvGrpSpPr>
            <p:cNvPr id="8" name="Group 6">
              <a:extLst>
                <a:ext uri="{FF2B5EF4-FFF2-40B4-BE49-F238E27FC236}">
                  <a16:creationId xmlns:a16="http://schemas.microsoft.com/office/drawing/2014/main" id="{714B84C4-CDC5-D29C-1386-71BB7C821E2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020119" y="2253136"/>
              <a:ext cx="1328531" cy="1485339"/>
              <a:chOff x="2324" y="2047"/>
              <a:chExt cx="754" cy="844"/>
            </a:xfrm>
            <a:grpFill/>
          </p:grpSpPr>
          <p:sp>
            <p:nvSpPr>
              <p:cNvPr id="143" name="Freeform 7">
                <a:extLst>
                  <a:ext uri="{FF2B5EF4-FFF2-40B4-BE49-F238E27FC236}">
                    <a16:creationId xmlns:a16="http://schemas.microsoft.com/office/drawing/2014/main" id="{32F322CB-9763-DA45-94B8-C5EDA914676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81" y="2364"/>
                <a:ext cx="49" cy="72"/>
              </a:xfrm>
              <a:custGeom>
                <a:avLst/>
                <a:gdLst>
                  <a:gd name="T0" fmla="*/ 10 w 242"/>
                  <a:gd name="T1" fmla="*/ 11 h 356"/>
                  <a:gd name="T2" fmla="*/ 9 w 242"/>
                  <a:gd name="T3" fmla="*/ 10 h 356"/>
                  <a:gd name="T4" fmla="*/ 9 w 242"/>
                  <a:gd name="T5" fmla="*/ 10 h 356"/>
                  <a:gd name="T6" fmla="*/ 9 w 242"/>
                  <a:gd name="T7" fmla="*/ 8 h 356"/>
                  <a:gd name="T8" fmla="*/ 8 w 242"/>
                  <a:gd name="T9" fmla="*/ 5 h 356"/>
                  <a:gd name="T10" fmla="*/ 8 w 242"/>
                  <a:gd name="T11" fmla="*/ 4 h 356"/>
                  <a:gd name="T12" fmla="*/ 8 w 242"/>
                  <a:gd name="T13" fmla="*/ 3 h 356"/>
                  <a:gd name="T14" fmla="*/ 8 w 242"/>
                  <a:gd name="T15" fmla="*/ 2 h 356"/>
                  <a:gd name="T16" fmla="*/ 7 w 242"/>
                  <a:gd name="T17" fmla="*/ 1 h 356"/>
                  <a:gd name="T18" fmla="*/ 7 w 242"/>
                  <a:gd name="T19" fmla="*/ 1 h 356"/>
                  <a:gd name="T20" fmla="*/ 7 w 242"/>
                  <a:gd name="T21" fmla="*/ 0 h 356"/>
                  <a:gd name="T22" fmla="*/ 7 w 242"/>
                  <a:gd name="T23" fmla="*/ 0 h 356"/>
                  <a:gd name="T24" fmla="*/ 7 w 242"/>
                  <a:gd name="T25" fmla="*/ 0 h 356"/>
                  <a:gd name="T26" fmla="*/ 6 w 242"/>
                  <a:gd name="T27" fmla="*/ 0 h 356"/>
                  <a:gd name="T28" fmla="*/ 5 w 242"/>
                  <a:gd name="T29" fmla="*/ 0 h 356"/>
                  <a:gd name="T30" fmla="*/ 3 w 242"/>
                  <a:gd name="T31" fmla="*/ 0 h 356"/>
                  <a:gd name="T32" fmla="*/ 2 w 242"/>
                  <a:gd name="T33" fmla="*/ 0 h 356"/>
                  <a:gd name="T34" fmla="*/ 1 w 242"/>
                  <a:gd name="T35" fmla="*/ 0 h 356"/>
                  <a:gd name="T36" fmla="*/ 1 w 242"/>
                  <a:gd name="T37" fmla="*/ 1 h 356"/>
                  <a:gd name="T38" fmla="*/ 1 w 242"/>
                  <a:gd name="T39" fmla="*/ 1 h 356"/>
                  <a:gd name="T40" fmla="*/ 1 w 242"/>
                  <a:gd name="T41" fmla="*/ 2 h 356"/>
                  <a:gd name="T42" fmla="*/ 1 w 242"/>
                  <a:gd name="T43" fmla="*/ 3 h 356"/>
                  <a:gd name="T44" fmla="*/ 1 w 242"/>
                  <a:gd name="T45" fmla="*/ 3 h 356"/>
                  <a:gd name="T46" fmla="*/ 1 w 242"/>
                  <a:gd name="T47" fmla="*/ 4 h 356"/>
                  <a:gd name="T48" fmla="*/ 1 w 242"/>
                  <a:gd name="T49" fmla="*/ 4 h 356"/>
                  <a:gd name="T50" fmla="*/ 1 w 242"/>
                  <a:gd name="T51" fmla="*/ 4 h 356"/>
                  <a:gd name="T52" fmla="*/ 1 w 242"/>
                  <a:gd name="T53" fmla="*/ 5 h 356"/>
                  <a:gd name="T54" fmla="*/ 2 w 242"/>
                  <a:gd name="T55" fmla="*/ 6 h 356"/>
                  <a:gd name="T56" fmla="*/ 1 w 242"/>
                  <a:gd name="T57" fmla="*/ 7 h 356"/>
                  <a:gd name="T58" fmla="*/ 1 w 242"/>
                  <a:gd name="T59" fmla="*/ 7 h 356"/>
                  <a:gd name="T60" fmla="*/ 1 w 242"/>
                  <a:gd name="T61" fmla="*/ 7 h 356"/>
                  <a:gd name="T62" fmla="*/ 1 w 242"/>
                  <a:gd name="T63" fmla="*/ 8 h 356"/>
                  <a:gd name="T64" fmla="*/ 0 w 242"/>
                  <a:gd name="T65" fmla="*/ 9 h 356"/>
                  <a:gd name="T66" fmla="*/ 0 w 242"/>
                  <a:gd name="T67" fmla="*/ 10 h 356"/>
                  <a:gd name="T68" fmla="*/ 0 w 242"/>
                  <a:gd name="T69" fmla="*/ 11 h 356"/>
                  <a:gd name="T70" fmla="*/ 0 w 242"/>
                  <a:gd name="T71" fmla="*/ 12 h 356"/>
                  <a:gd name="T72" fmla="*/ 1 w 242"/>
                  <a:gd name="T73" fmla="*/ 12 h 356"/>
                  <a:gd name="T74" fmla="*/ 1 w 242"/>
                  <a:gd name="T75" fmla="*/ 13 h 356"/>
                  <a:gd name="T76" fmla="*/ 1 w 242"/>
                  <a:gd name="T77" fmla="*/ 14 h 356"/>
                  <a:gd name="T78" fmla="*/ 0 w 242"/>
                  <a:gd name="T79" fmla="*/ 13 h 356"/>
                  <a:gd name="T80" fmla="*/ 0 w 242"/>
                  <a:gd name="T81" fmla="*/ 14 h 356"/>
                  <a:gd name="T82" fmla="*/ 3 w 242"/>
                  <a:gd name="T83" fmla="*/ 15 h 356"/>
                  <a:gd name="T84" fmla="*/ 4 w 242"/>
                  <a:gd name="T85" fmla="*/ 14 h 356"/>
                  <a:gd name="T86" fmla="*/ 6 w 242"/>
                  <a:gd name="T87" fmla="*/ 13 h 356"/>
                  <a:gd name="T88" fmla="*/ 7 w 242"/>
                  <a:gd name="T89" fmla="*/ 12 h 356"/>
                  <a:gd name="T90" fmla="*/ 8 w 242"/>
                  <a:gd name="T91" fmla="*/ 12 h 356"/>
                  <a:gd name="T92" fmla="*/ 9 w 242"/>
                  <a:gd name="T93" fmla="*/ 12 h 356"/>
                  <a:gd name="T94" fmla="*/ 10 w 242"/>
                  <a:gd name="T95" fmla="*/ 12 h 35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242"/>
                  <a:gd name="T145" fmla="*/ 0 h 356"/>
                  <a:gd name="T146" fmla="*/ 242 w 242"/>
                  <a:gd name="T147" fmla="*/ 356 h 35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242" h="356">
                    <a:moveTo>
                      <a:pt x="242" y="281"/>
                    </a:moveTo>
                    <a:lnTo>
                      <a:pt x="239" y="279"/>
                    </a:lnTo>
                    <a:lnTo>
                      <a:pt x="223" y="262"/>
                    </a:lnTo>
                    <a:lnTo>
                      <a:pt x="215" y="252"/>
                    </a:lnTo>
                    <a:lnTo>
                      <a:pt x="210" y="241"/>
                    </a:lnTo>
                    <a:lnTo>
                      <a:pt x="209" y="231"/>
                    </a:lnTo>
                    <a:lnTo>
                      <a:pt x="208" y="209"/>
                    </a:lnTo>
                    <a:lnTo>
                      <a:pt x="209" y="188"/>
                    </a:lnTo>
                    <a:lnTo>
                      <a:pt x="205" y="148"/>
                    </a:lnTo>
                    <a:lnTo>
                      <a:pt x="204" y="114"/>
                    </a:lnTo>
                    <a:lnTo>
                      <a:pt x="203" y="101"/>
                    </a:lnTo>
                    <a:lnTo>
                      <a:pt x="200" y="95"/>
                    </a:lnTo>
                    <a:lnTo>
                      <a:pt x="196" y="89"/>
                    </a:lnTo>
                    <a:lnTo>
                      <a:pt x="194" y="68"/>
                    </a:lnTo>
                    <a:lnTo>
                      <a:pt x="191" y="53"/>
                    </a:lnTo>
                    <a:lnTo>
                      <a:pt x="187" y="48"/>
                    </a:lnTo>
                    <a:lnTo>
                      <a:pt x="180" y="41"/>
                    </a:lnTo>
                    <a:lnTo>
                      <a:pt x="176" y="33"/>
                    </a:lnTo>
                    <a:lnTo>
                      <a:pt x="167" y="27"/>
                    </a:lnTo>
                    <a:lnTo>
                      <a:pt x="166" y="21"/>
                    </a:lnTo>
                    <a:lnTo>
                      <a:pt x="170" y="16"/>
                    </a:lnTo>
                    <a:lnTo>
                      <a:pt x="170" y="11"/>
                    </a:lnTo>
                    <a:lnTo>
                      <a:pt x="173" y="6"/>
                    </a:lnTo>
                    <a:lnTo>
                      <a:pt x="172" y="5"/>
                    </a:lnTo>
                    <a:lnTo>
                      <a:pt x="164" y="4"/>
                    </a:lnTo>
                    <a:lnTo>
                      <a:pt x="162" y="3"/>
                    </a:lnTo>
                    <a:lnTo>
                      <a:pt x="162" y="0"/>
                    </a:lnTo>
                    <a:lnTo>
                      <a:pt x="145" y="3"/>
                    </a:lnTo>
                    <a:lnTo>
                      <a:pt x="133" y="11"/>
                    </a:lnTo>
                    <a:lnTo>
                      <a:pt x="129" y="12"/>
                    </a:lnTo>
                    <a:lnTo>
                      <a:pt x="112" y="11"/>
                    </a:lnTo>
                    <a:lnTo>
                      <a:pt x="86" y="6"/>
                    </a:lnTo>
                    <a:lnTo>
                      <a:pt x="58" y="8"/>
                    </a:lnTo>
                    <a:lnTo>
                      <a:pt x="47" y="5"/>
                    </a:lnTo>
                    <a:lnTo>
                      <a:pt x="36" y="5"/>
                    </a:lnTo>
                    <a:lnTo>
                      <a:pt x="19" y="8"/>
                    </a:lnTo>
                    <a:lnTo>
                      <a:pt x="14" y="16"/>
                    </a:lnTo>
                    <a:lnTo>
                      <a:pt x="14" y="24"/>
                    </a:lnTo>
                    <a:lnTo>
                      <a:pt x="17" y="32"/>
                    </a:lnTo>
                    <a:lnTo>
                      <a:pt x="20" y="35"/>
                    </a:lnTo>
                    <a:lnTo>
                      <a:pt x="20" y="43"/>
                    </a:lnTo>
                    <a:lnTo>
                      <a:pt x="24" y="44"/>
                    </a:lnTo>
                    <a:lnTo>
                      <a:pt x="22" y="57"/>
                    </a:lnTo>
                    <a:lnTo>
                      <a:pt x="25" y="65"/>
                    </a:lnTo>
                    <a:lnTo>
                      <a:pt x="25" y="76"/>
                    </a:lnTo>
                    <a:lnTo>
                      <a:pt x="25" y="82"/>
                    </a:lnTo>
                    <a:lnTo>
                      <a:pt x="28" y="89"/>
                    </a:lnTo>
                    <a:lnTo>
                      <a:pt x="28" y="95"/>
                    </a:lnTo>
                    <a:lnTo>
                      <a:pt x="27" y="98"/>
                    </a:lnTo>
                    <a:lnTo>
                      <a:pt x="30" y="103"/>
                    </a:lnTo>
                    <a:lnTo>
                      <a:pt x="25" y="108"/>
                    </a:lnTo>
                    <a:lnTo>
                      <a:pt x="25" y="111"/>
                    </a:lnTo>
                    <a:lnTo>
                      <a:pt x="28" y="112"/>
                    </a:lnTo>
                    <a:lnTo>
                      <a:pt x="31" y="116"/>
                    </a:lnTo>
                    <a:lnTo>
                      <a:pt x="38" y="143"/>
                    </a:lnTo>
                    <a:lnTo>
                      <a:pt x="41" y="159"/>
                    </a:lnTo>
                    <a:lnTo>
                      <a:pt x="36" y="160"/>
                    </a:lnTo>
                    <a:lnTo>
                      <a:pt x="36" y="165"/>
                    </a:lnTo>
                    <a:lnTo>
                      <a:pt x="32" y="166"/>
                    </a:lnTo>
                    <a:lnTo>
                      <a:pt x="28" y="171"/>
                    </a:lnTo>
                    <a:lnTo>
                      <a:pt x="26" y="173"/>
                    </a:lnTo>
                    <a:lnTo>
                      <a:pt x="22" y="182"/>
                    </a:lnTo>
                    <a:lnTo>
                      <a:pt x="16" y="195"/>
                    </a:lnTo>
                    <a:lnTo>
                      <a:pt x="14" y="204"/>
                    </a:lnTo>
                    <a:lnTo>
                      <a:pt x="14" y="215"/>
                    </a:lnTo>
                    <a:lnTo>
                      <a:pt x="11" y="220"/>
                    </a:lnTo>
                    <a:lnTo>
                      <a:pt x="5" y="227"/>
                    </a:lnTo>
                    <a:lnTo>
                      <a:pt x="1" y="234"/>
                    </a:lnTo>
                    <a:lnTo>
                      <a:pt x="0" y="251"/>
                    </a:lnTo>
                    <a:lnTo>
                      <a:pt x="0" y="259"/>
                    </a:lnTo>
                    <a:lnTo>
                      <a:pt x="8" y="279"/>
                    </a:lnTo>
                    <a:lnTo>
                      <a:pt x="11" y="295"/>
                    </a:lnTo>
                    <a:lnTo>
                      <a:pt x="15" y="300"/>
                    </a:lnTo>
                    <a:lnTo>
                      <a:pt x="22" y="301"/>
                    </a:lnTo>
                    <a:lnTo>
                      <a:pt x="25" y="302"/>
                    </a:lnTo>
                    <a:lnTo>
                      <a:pt x="27" y="315"/>
                    </a:lnTo>
                    <a:lnTo>
                      <a:pt x="27" y="329"/>
                    </a:lnTo>
                    <a:lnTo>
                      <a:pt x="21" y="331"/>
                    </a:lnTo>
                    <a:lnTo>
                      <a:pt x="17" y="328"/>
                    </a:lnTo>
                    <a:lnTo>
                      <a:pt x="11" y="328"/>
                    </a:lnTo>
                    <a:lnTo>
                      <a:pt x="9" y="329"/>
                    </a:lnTo>
                    <a:lnTo>
                      <a:pt x="5" y="336"/>
                    </a:lnTo>
                    <a:lnTo>
                      <a:pt x="41" y="345"/>
                    </a:lnTo>
                    <a:lnTo>
                      <a:pt x="67" y="356"/>
                    </a:lnTo>
                    <a:lnTo>
                      <a:pt x="87" y="345"/>
                    </a:lnTo>
                    <a:lnTo>
                      <a:pt x="95" y="338"/>
                    </a:lnTo>
                    <a:lnTo>
                      <a:pt x="103" y="336"/>
                    </a:lnTo>
                    <a:lnTo>
                      <a:pt x="137" y="328"/>
                    </a:lnTo>
                    <a:lnTo>
                      <a:pt x="166" y="311"/>
                    </a:lnTo>
                    <a:lnTo>
                      <a:pt x="183" y="302"/>
                    </a:lnTo>
                    <a:lnTo>
                      <a:pt x="188" y="300"/>
                    </a:lnTo>
                    <a:lnTo>
                      <a:pt x="196" y="300"/>
                    </a:lnTo>
                    <a:lnTo>
                      <a:pt x="215" y="296"/>
                    </a:lnTo>
                    <a:lnTo>
                      <a:pt x="219" y="300"/>
                    </a:lnTo>
                    <a:lnTo>
                      <a:pt x="229" y="299"/>
                    </a:lnTo>
                    <a:lnTo>
                      <a:pt x="240" y="283"/>
                    </a:lnTo>
                    <a:lnTo>
                      <a:pt x="242" y="28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44" name="Freeform 8">
                <a:extLst>
                  <a:ext uri="{FF2B5EF4-FFF2-40B4-BE49-F238E27FC236}">
                    <a16:creationId xmlns:a16="http://schemas.microsoft.com/office/drawing/2014/main" id="{70CA13A8-FD17-9E84-CAB1-63C32FD8354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59" y="2321"/>
                <a:ext cx="83" cy="62"/>
              </a:xfrm>
              <a:custGeom>
                <a:avLst/>
                <a:gdLst>
                  <a:gd name="T0" fmla="*/ 10 w 417"/>
                  <a:gd name="T1" fmla="*/ 0 h 307"/>
                  <a:gd name="T2" fmla="*/ 7 w 417"/>
                  <a:gd name="T3" fmla="*/ 2 h 307"/>
                  <a:gd name="T4" fmla="*/ 4 w 417"/>
                  <a:gd name="T5" fmla="*/ 4 h 307"/>
                  <a:gd name="T6" fmla="*/ 3 w 417"/>
                  <a:gd name="T7" fmla="*/ 4 h 307"/>
                  <a:gd name="T8" fmla="*/ 3 w 417"/>
                  <a:gd name="T9" fmla="*/ 5 h 307"/>
                  <a:gd name="T10" fmla="*/ 2 w 417"/>
                  <a:gd name="T11" fmla="*/ 7 h 307"/>
                  <a:gd name="T12" fmla="*/ 1 w 417"/>
                  <a:gd name="T13" fmla="*/ 8 h 307"/>
                  <a:gd name="T14" fmla="*/ 0 w 417"/>
                  <a:gd name="T15" fmla="*/ 9 h 307"/>
                  <a:gd name="T16" fmla="*/ 0 w 417"/>
                  <a:gd name="T17" fmla="*/ 11 h 307"/>
                  <a:gd name="T18" fmla="*/ 0 w 417"/>
                  <a:gd name="T19" fmla="*/ 11 h 307"/>
                  <a:gd name="T20" fmla="*/ 0 w 417"/>
                  <a:gd name="T21" fmla="*/ 11 h 307"/>
                  <a:gd name="T22" fmla="*/ 1 w 417"/>
                  <a:gd name="T23" fmla="*/ 12 h 307"/>
                  <a:gd name="T24" fmla="*/ 1 w 417"/>
                  <a:gd name="T25" fmla="*/ 12 h 307"/>
                  <a:gd name="T26" fmla="*/ 1 w 417"/>
                  <a:gd name="T27" fmla="*/ 12 h 307"/>
                  <a:gd name="T28" fmla="*/ 2 w 417"/>
                  <a:gd name="T29" fmla="*/ 12 h 307"/>
                  <a:gd name="T30" fmla="*/ 2 w 417"/>
                  <a:gd name="T31" fmla="*/ 12 h 307"/>
                  <a:gd name="T32" fmla="*/ 3 w 417"/>
                  <a:gd name="T33" fmla="*/ 12 h 307"/>
                  <a:gd name="T34" fmla="*/ 4 w 417"/>
                  <a:gd name="T35" fmla="*/ 12 h 307"/>
                  <a:gd name="T36" fmla="*/ 5 w 417"/>
                  <a:gd name="T37" fmla="*/ 12 h 307"/>
                  <a:gd name="T38" fmla="*/ 5 w 417"/>
                  <a:gd name="T39" fmla="*/ 13 h 307"/>
                  <a:gd name="T40" fmla="*/ 6 w 417"/>
                  <a:gd name="T41" fmla="*/ 13 h 307"/>
                  <a:gd name="T42" fmla="*/ 5 w 417"/>
                  <a:gd name="T43" fmla="*/ 12 h 307"/>
                  <a:gd name="T44" fmla="*/ 5 w 417"/>
                  <a:gd name="T45" fmla="*/ 11 h 307"/>
                  <a:gd name="T46" fmla="*/ 5 w 417"/>
                  <a:gd name="T47" fmla="*/ 10 h 307"/>
                  <a:gd name="T48" fmla="*/ 6 w 417"/>
                  <a:gd name="T49" fmla="*/ 9 h 307"/>
                  <a:gd name="T50" fmla="*/ 8 w 417"/>
                  <a:gd name="T51" fmla="*/ 9 h 307"/>
                  <a:gd name="T52" fmla="*/ 10 w 417"/>
                  <a:gd name="T53" fmla="*/ 9 h 307"/>
                  <a:gd name="T54" fmla="*/ 11 w 417"/>
                  <a:gd name="T55" fmla="*/ 9 h 307"/>
                  <a:gd name="T56" fmla="*/ 13 w 417"/>
                  <a:gd name="T57" fmla="*/ 9 h 307"/>
                  <a:gd name="T58" fmla="*/ 13 w 417"/>
                  <a:gd name="T59" fmla="*/ 9 h 307"/>
                  <a:gd name="T60" fmla="*/ 14 w 417"/>
                  <a:gd name="T61" fmla="*/ 9 h 307"/>
                  <a:gd name="T62" fmla="*/ 14 w 417"/>
                  <a:gd name="T63" fmla="*/ 8 h 307"/>
                  <a:gd name="T64" fmla="*/ 14 w 417"/>
                  <a:gd name="T65" fmla="*/ 8 h 307"/>
                  <a:gd name="T66" fmla="*/ 15 w 417"/>
                  <a:gd name="T67" fmla="*/ 8 h 307"/>
                  <a:gd name="T68" fmla="*/ 16 w 417"/>
                  <a:gd name="T69" fmla="*/ 7 h 307"/>
                  <a:gd name="T70" fmla="*/ 17 w 417"/>
                  <a:gd name="T71" fmla="*/ 7 h 307"/>
                  <a:gd name="T72" fmla="*/ 17 w 417"/>
                  <a:gd name="T73" fmla="*/ 7 h 307"/>
                  <a:gd name="T74" fmla="*/ 16 w 417"/>
                  <a:gd name="T75" fmla="*/ 6 h 307"/>
                  <a:gd name="T76" fmla="*/ 16 w 417"/>
                  <a:gd name="T77" fmla="*/ 6 h 307"/>
                  <a:gd name="T78" fmla="*/ 16 w 417"/>
                  <a:gd name="T79" fmla="*/ 5 h 307"/>
                  <a:gd name="T80" fmla="*/ 15 w 417"/>
                  <a:gd name="T81" fmla="*/ 5 h 307"/>
                  <a:gd name="T82" fmla="*/ 15 w 417"/>
                  <a:gd name="T83" fmla="*/ 5 h 307"/>
                  <a:gd name="T84" fmla="*/ 14 w 417"/>
                  <a:gd name="T85" fmla="*/ 4 h 307"/>
                  <a:gd name="T86" fmla="*/ 13 w 417"/>
                  <a:gd name="T87" fmla="*/ 3 h 307"/>
                  <a:gd name="T88" fmla="*/ 12 w 417"/>
                  <a:gd name="T89" fmla="*/ 2 h 307"/>
                  <a:gd name="T90" fmla="*/ 12 w 417"/>
                  <a:gd name="T91" fmla="*/ 1 h 307"/>
                  <a:gd name="T92" fmla="*/ 12 w 417"/>
                  <a:gd name="T93" fmla="*/ 0 h 307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417"/>
                  <a:gd name="T142" fmla="*/ 0 h 307"/>
                  <a:gd name="T143" fmla="*/ 417 w 417"/>
                  <a:gd name="T144" fmla="*/ 307 h 307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417" h="307">
                    <a:moveTo>
                      <a:pt x="295" y="0"/>
                    </a:moveTo>
                    <a:lnTo>
                      <a:pt x="262" y="1"/>
                    </a:lnTo>
                    <a:lnTo>
                      <a:pt x="242" y="9"/>
                    </a:lnTo>
                    <a:lnTo>
                      <a:pt x="234" y="12"/>
                    </a:lnTo>
                    <a:lnTo>
                      <a:pt x="219" y="25"/>
                    </a:lnTo>
                    <a:lnTo>
                      <a:pt x="182" y="49"/>
                    </a:lnTo>
                    <a:lnTo>
                      <a:pt x="170" y="65"/>
                    </a:lnTo>
                    <a:lnTo>
                      <a:pt x="151" y="79"/>
                    </a:lnTo>
                    <a:lnTo>
                      <a:pt x="113" y="91"/>
                    </a:lnTo>
                    <a:lnTo>
                      <a:pt x="101" y="93"/>
                    </a:lnTo>
                    <a:lnTo>
                      <a:pt x="89" y="95"/>
                    </a:lnTo>
                    <a:lnTo>
                      <a:pt x="83" y="96"/>
                    </a:lnTo>
                    <a:lnTo>
                      <a:pt x="74" y="102"/>
                    </a:lnTo>
                    <a:lnTo>
                      <a:pt x="69" y="108"/>
                    </a:lnTo>
                    <a:lnTo>
                      <a:pt x="64" y="119"/>
                    </a:lnTo>
                    <a:lnTo>
                      <a:pt x="60" y="134"/>
                    </a:lnTo>
                    <a:lnTo>
                      <a:pt x="53" y="152"/>
                    </a:lnTo>
                    <a:lnTo>
                      <a:pt x="46" y="162"/>
                    </a:lnTo>
                    <a:lnTo>
                      <a:pt x="30" y="174"/>
                    </a:lnTo>
                    <a:lnTo>
                      <a:pt x="20" y="183"/>
                    </a:lnTo>
                    <a:lnTo>
                      <a:pt x="16" y="188"/>
                    </a:lnTo>
                    <a:lnTo>
                      <a:pt x="11" y="197"/>
                    </a:lnTo>
                    <a:lnTo>
                      <a:pt x="10" y="206"/>
                    </a:lnTo>
                    <a:lnTo>
                      <a:pt x="1" y="224"/>
                    </a:lnTo>
                    <a:lnTo>
                      <a:pt x="0" y="235"/>
                    </a:lnTo>
                    <a:lnTo>
                      <a:pt x="0" y="248"/>
                    </a:lnTo>
                    <a:lnTo>
                      <a:pt x="1" y="259"/>
                    </a:lnTo>
                    <a:lnTo>
                      <a:pt x="4" y="260"/>
                    </a:lnTo>
                    <a:lnTo>
                      <a:pt x="4" y="262"/>
                    </a:lnTo>
                    <a:lnTo>
                      <a:pt x="5" y="267"/>
                    </a:lnTo>
                    <a:lnTo>
                      <a:pt x="6" y="268"/>
                    </a:lnTo>
                    <a:lnTo>
                      <a:pt x="8" y="269"/>
                    </a:lnTo>
                    <a:lnTo>
                      <a:pt x="11" y="275"/>
                    </a:lnTo>
                    <a:lnTo>
                      <a:pt x="14" y="276"/>
                    </a:lnTo>
                    <a:lnTo>
                      <a:pt x="15" y="279"/>
                    </a:lnTo>
                    <a:lnTo>
                      <a:pt x="15" y="284"/>
                    </a:lnTo>
                    <a:lnTo>
                      <a:pt x="19" y="284"/>
                    </a:lnTo>
                    <a:lnTo>
                      <a:pt x="22" y="287"/>
                    </a:lnTo>
                    <a:lnTo>
                      <a:pt x="24" y="291"/>
                    </a:lnTo>
                    <a:lnTo>
                      <a:pt x="31" y="295"/>
                    </a:lnTo>
                    <a:lnTo>
                      <a:pt x="31" y="294"/>
                    </a:lnTo>
                    <a:lnTo>
                      <a:pt x="35" y="294"/>
                    </a:lnTo>
                    <a:lnTo>
                      <a:pt x="37" y="291"/>
                    </a:lnTo>
                    <a:lnTo>
                      <a:pt x="38" y="291"/>
                    </a:lnTo>
                    <a:lnTo>
                      <a:pt x="40" y="295"/>
                    </a:lnTo>
                    <a:lnTo>
                      <a:pt x="47" y="298"/>
                    </a:lnTo>
                    <a:lnTo>
                      <a:pt x="51" y="296"/>
                    </a:lnTo>
                    <a:lnTo>
                      <a:pt x="53" y="290"/>
                    </a:lnTo>
                    <a:lnTo>
                      <a:pt x="59" y="289"/>
                    </a:lnTo>
                    <a:lnTo>
                      <a:pt x="67" y="286"/>
                    </a:lnTo>
                    <a:lnTo>
                      <a:pt x="79" y="283"/>
                    </a:lnTo>
                    <a:lnTo>
                      <a:pt x="89" y="280"/>
                    </a:lnTo>
                    <a:lnTo>
                      <a:pt x="96" y="280"/>
                    </a:lnTo>
                    <a:lnTo>
                      <a:pt x="107" y="285"/>
                    </a:lnTo>
                    <a:lnTo>
                      <a:pt x="112" y="280"/>
                    </a:lnTo>
                    <a:lnTo>
                      <a:pt x="113" y="280"/>
                    </a:lnTo>
                    <a:lnTo>
                      <a:pt x="119" y="290"/>
                    </a:lnTo>
                    <a:lnTo>
                      <a:pt x="124" y="291"/>
                    </a:lnTo>
                    <a:lnTo>
                      <a:pt x="125" y="296"/>
                    </a:lnTo>
                    <a:lnTo>
                      <a:pt x="130" y="306"/>
                    </a:lnTo>
                    <a:lnTo>
                      <a:pt x="133" y="307"/>
                    </a:lnTo>
                    <a:lnTo>
                      <a:pt x="139" y="307"/>
                    </a:lnTo>
                    <a:lnTo>
                      <a:pt x="141" y="305"/>
                    </a:lnTo>
                    <a:lnTo>
                      <a:pt x="138" y="298"/>
                    </a:lnTo>
                    <a:lnTo>
                      <a:pt x="138" y="292"/>
                    </a:lnTo>
                    <a:lnTo>
                      <a:pt x="138" y="281"/>
                    </a:lnTo>
                    <a:lnTo>
                      <a:pt x="135" y="273"/>
                    </a:lnTo>
                    <a:lnTo>
                      <a:pt x="137" y="260"/>
                    </a:lnTo>
                    <a:lnTo>
                      <a:pt x="133" y="259"/>
                    </a:lnTo>
                    <a:lnTo>
                      <a:pt x="133" y="251"/>
                    </a:lnTo>
                    <a:lnTo>
                      <a:pt x="130" y="248"/>
                    </a:lnTo>
                    <a:lnTo>
                      <a:pt x="127" y="240"/>
                    </a:lnTo>
                    <a:lnTo>
                      <a:pt x="128" y="232"/>
                    </a:lnTo>
                    <a:lnTo>
                      <a:pt x="132" y="224"/>
                    </a:lnTo>
                    <a:lnTo>
                      <a:pt x="149" y="221"/>
                    </a:lnTo>
                    <a:lnTo>
                      <a:pt x="160" y="221"/>
                    </a:lnTo>
                    <a:lnTo>
                      <a:pt x="171" y="224"/>
                    </a:lnTo>
                    <a:lnTo>
                      <a:pt x="199" y="222"/>
                    </a:lnTo>
                    <a:lnTo>
                      <a:pt x="225" y="227"/>
                    </a:lnTo>
                    <a:lnTo>
                      <a:pt x="242" y="228"/>
                    </a:lnTo>
                    <a:lnTo>
                      <a:pt x="246" y="227"/>
                    </a:lnTo>
                    <a:lnTo>
                      <a:pt x="258" y="219"/>
                    </a:lnTo>
                    <a:lnTo>
                      <a:pt x="275" y="216"/>
                    </a:lnTo>
                    <a:lnTo>
                      <a:pt x="275" y="217"/>
                    </a:lnTo>
                    <a:lnTo>
                      <a:pt x="310" y="222"/>
                    </a:lnTo>
                    <a:lnTo>
                      <a:pt x="313" y="227"/>
                    </a:lnTo>
                    <a:lnTo>
                      <a:pt x="317" y="227"/>
                    </a:lnTo>
                    <a:lnTo>
                      <a:pt x="320" y="225"/>
                    </a:lnTo>
                    <a:lnTo>
                      <a:pt x="334" y="225"/>
                    </a:lnTo>
                    <a:lnTo>
                      <a:pt x="336" y="224"/>
                    </a:lnTo>
                    <a:lnTo>
                      <a:pt x="339" y="220"/>
                    </a:lnTo>
                    <a:lnTo>
                      <a:pt x="343" y="220"/>
                    </a:lnTo>
                    <a:lnTo>
                      <a:pt x="344" y="214"/>
                    </a:lnTo>
                    <a:lnTo>
                      <a:pt x="347" y="211"/>
                    </a:lnTo>
                    <a:lnTo>
                      <a:pt x="348" y="210"/>
                    </a:lnTo>
                    <a:lnTo>
                      <a:pt x="350" y="208"/>
                    </a:lnTo>
                    <a:lnTo>
                      <a:pt x="354" y="209"/>
                    </a:lnTo>
                    <a:lnTo>
                      <a:pt x="361" y="197"/>
                    </a:lnTo>
                    <a:lnTo>
                      <a:pt x="364" y="195"/>
                    </a:lnTo>
                    <a:lnTo>
                      <a:pt x="370" y="195"/>
                    </a:lnTo>
                    <a:lnTo>
                      <a:pt x="379" y="199"/>
                    </a:lnTo>
                    <a:lnTo>
                      <a:pt x="387" y="197"/>
                    </a:lnTo>
                    <a:lnTo>
                      <a:pt x="393" y="199"/>
                    </a:lnTo>
                    <a:lnTo>
                      <a:pt x="398" y="197"/>
                    </a:lnTo>
                    <a:lnTo>
                      <a:pt x="410" y="185"/>
                    </a:lnTo>
                    <a:lnTo>
                      <a:pt x="412" y="182"/>
                    </a:lnTo>
                    <a:lnTo>
                      <a:pt x="412" y="181"/>
                    </a:lnTo>
                    <a:lnTo>
                      <a:pt x="415" y="177"/>
                    </a:lnTo>
                    <a:lnTo>
                      <a:pt x="417" y="172"/>
                    </a:lnTo>
                    <a:lnTo>
                      <a:pt x="417" y="170"/>
                    </a:lnTo>
                    <a:lnTo>
                      <a:pt x="417" y="171"/>
                    </a:lnTo>
                    <a:lnTo>
                      <a:pt x="406" y="161"/>
                    </a:lnTo>
                    <a:lnTo>
                      <a:pt x="399" y="154"/>
                    </a:lnTo>
                    <a:lnTo>
                      <a:pt x="398" y="150"/>
                    </a:lnTo>
                    <a:lnTo>
                      <a:pt x="399" y="146"/>
                    </a:lnTo>
                    <a:lnTo>
                      <a:pt x="403" y="145"/>
                    </a:lnTo>
                    <a:lnTo>
                      <a:pt x="408" y="145"/>
                    </a:lnTo>
                    <a:lnTo>
                      <a:pt x="409" y="142"/>
                    </a:lnTo>
                    <a:lnTo>
                      <a:pt x="408" y="140"/>
                    </a:lnTo>
                    <a:lnTo>
                      <a:pt x="402" y="130"/>
                    </a:lnTo>
                    <a:lnTo>
                      <a:pt x="396" y="127"/>
                    </a:lnTo>
                    <a:lnTo>
                      <a:pt x="392" y="128"/>
                    </a:lnTo>
                    <a:lnTo>
                      <a:pt x="387" y="133"/>
                    </a:lnTo>
                    <a:lnTo>
                      <a:pt x="382" y="134"/>
                    </a:lnTo>
                    <a:lnTo>
                      <a:pt x="379" y="134"/>
                    </a:lnTo>
                    <a:lnTo>
                      <a:pt x="368" y="131"/>
                    </a:lnTo>
                    <a:lnTo>
                      <a:pt x="360" y="127"/>
                    </a:lnTo>
                    <a:lnTo>
                      <a:pt x="349" y="114"/>
                    </a:lnTo>
                    <a:lnTo>
                      <a:pt x="345" y="108"/>
                    </a:lnTo>
                    <a:lnTo>
                      <a:pt x="339" y="93"/>
                    </a:lnTo>
                    <a:lnTo>
                      <a:pt x="334" y="84"/>
                    </a:lnTo>
                    <a:lnTo>
                      <a:pt x="317" y="70"/>
                    </a:lnTo>
                    <a:lnTo>
                      <a:pt x="305" y="55"/>
                    </a:lnTo>
                    <a:lnTo>
                      <a:pt x="301" y="48"/>
                    </a:lnTo>
                    <a:lnTo>
                      <a:pt x="302" y="39"/>
                    </a:lnTo>
                    <a:lnTo>
                      <a:pt x="301" y="37"/>
                    </a:lnTo>
                    <a:lnTo>
                      <a:pt x="291" y="28"/>
                    </a:lnTo>
                    <a:lnTo>
                      <a:pt x="290" y="26"/>
                    </a:lnTo>
                    <a:lnTo>
                      <a:pt x="293" y="16"/>
                    </a:lnTo>
                    <a:lnTo>
                      <a:pt x="294" y="5"/>
                    </a:lnTo>
                    <a:lnTo>
                      <a:pt x="295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45" name="Freeform 9">
                <a:extLst>
                  <a:ext uri="{FF2B5EF4-FFF2-40B4-BE49-F238E27FC236}">
                    <a16:creationId xmlns:a16="http://schemas.microsoft.com/office/drawing/2014/main" id="{38F771B4-9883-5072-04B7-50D1A29EF15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608" y="2346"/>
                <a:ext cx="84" cy="123"/>
              </a:xfrm>
              <a:custGeom>
                <a:avLst/>
                <a:gdLst>
                  <a:gd name="T0" fmla="*/ 9 w 420"/>
                  <a:gd name="T1" fmla="*/ 23 h 615"/>
                  <a:gd name="T2" fmla="*/ 7 w 420"/>
                  <a:gd name="T3" fmla="*/ 23 h 615"/>
                  <a:gd name="T4" fmla="*/ 3 w 420"/>
                  <a:gd name="T5" fmla="*/ 23 h 615"/>
                  <a:gd name="T6" fmla="*/ 3 w 420"/>
                  <a:gd name="T7" fmla="*/ 21 h 615"/>
                  <a:gd name="T8" fmla="*/ 3 w 420"/>
                  <a:gd name="T9" fmla="*/ 21 h 615"/>
                  <a:gd name="T10" fmla="*/ 3 w 420"/>
                  <a:gd name="T11" fmla="*/ 20 h 615"/>
                  <a:gd name="T12" fmla="*/ 3 w 420"/>
                  <a:gd name="T13" fmla="*/ 20 h 615"/>
                  <a:gd name="T14" fmla="*/ 2 w 420"/>
                  <a:gd name="T15" fmla="*/ 19 h 615"/>
                  <a:gd name="T16" fmla="*/ 1 w 420"/>
                  <a:gd name="T17" fmla="*/ 19 h 615"/>
                  <a:gd name="T18" fmla="*/ 0 w 420"/>
                  <a:gd name="T19" fmla="*/ 18 h 615"/>
                  <a:gd name="T20" fmla="*/ 0 w 420"/>
                  <a:gd name="T21" fmla="*/ 18 h 615"/>
                  <a:gd name="T22" fmla="*/ 0 w 420"/>
                  <a:gd name="T23" fmla="*/ 17 h 615"/>
                  <a:gd name="T24" fmla="*/ 1 w 420"/>
                  <a:gd name="T25" fmla="*/ 16 h 615"/>
                  <a:gd name="T26" fmla="*/ 2 w 420"/>
                  <a:gd name="T27" fmla="*/ 14 h 615"/>
                  <a:gd name="T28" fmla="*/ 2 w 420"/>
                  <a:gd name="T29" fmla="*/ 13 h 615"/>
                  <a:gd name="T30" fmla="*/ 4 w 420"/>
                  <a:gd name="T31" fmla="*/ 13 h 615"/>
                  <a:gd name="T32" fmla="*/ 5 w 420"/>
                  <a:gd name="T33" fmla="*/ 14 h 615"/>
                  <a:gd name="T34" fmla="*/ 6 w 420"/>
                  <a:gd name="T35" fmla="*/ 14 h 615"/>
                  <a:gd name="T36" fmla="*/ 7 w 420"/>
                  <a:gd name="T37" fmla="*/ 14 h 615"/>
                  <a:gd name="T38" fmla="*/ 8 w 420"/>
                  <a:gd name="T39" fmla="*/ 11 h 615"/>
                  <a:gd name="T40" fmla="*/ 8 w 420"/>
                  <a:gd name="T41" fmla="*/ 10 h 615"/>
                  <a:gd name="T42" fmla="*/ 10 w 420"/>
                  <a:gd name="T43" fmla="*/ 9 h 615"/>
                  <a:gd name="T44" fmla="*/ 10 w 420"/>
                  <a:gd name="T45" fmla="*/ 7 h 615"/>
                  <a:gd name="T46" fmla="*/ 11 w 420"/>
                  <a:gd name="T47" fmla="*/ 5 h 615"/>
                  <a:gd name="T48" fmla="*/ 11 w 420"/>
                  <a:gd name="T49" fmla="*/ 4 h 615"/>
                  <a:gd name="T50" fmla="*/ 12 w 420"/>
                  <a:gd name="T51" fmla="*/ 3 h 615"/>
                  <a:gd name="T52" fmla="*/ 13 w 420"/>
                  <a:gd name="T53" fmla="*/ 2 h 615"/>
                  <a:gd name="T54" fmla="*/ 13 w 420"/>
                  <a:gd name="T55" fmla="*/ 1 h 615"/>
                  <a:gd name="T56" fmla="*/ 12 w 420"/>
                  <a:gd name="T57" fmla="*/ 1 h 615"/>
                  <a:gd name="T58" fmla="*/ 13 w 420"/>
                  <a:gd name="T59" fmla="*/ 0 h 615"/>
                  <a:gd name="T60" fmla="*/ 14 w 420"/>
                  <a:gd name="T61" fmla="*/ 0 h 615"/>
                  <a:gd name="T62" fmla="*/ 14 w 420"/>
                  <a:gd name="T63" fmla="*/ 2 h 615"/>
                  <a:gd name="T64" fmla="*/ 14 w 420"/>
                  <a:gd name="T65" fmla="*/ 4 h 615"/>
                  <a:gd name="T66" fmla="*/ 15 w 420"/>
                  <a:gd name="T67" fmla="*/ 6 h 615"/>
                  <a:gd name="T68" fmla="*/ 15 w 420"/>
                  <a:gd name="T69" fmla="*/ 6 h 615"/>
                  <a:gd name="T70" fmla="*/ 13 w 420"/>
                  <a:gd name="T71" fmla="*/ 6 h 615"/>
                  <a:gd name="T72" fmla="*/ 13 w 420"/>
                  <a:gd name="T73" fmla="*/ 6 h 615"/>
                  <a:gd name="T74" fmla="*/ 12 w 420"/>
                  <a:gd name="T75" fmla="*/ 8 h 615"/>
                  <a:gd name="T76" fmla="*/ 14 w 420"/>
                  <a:gd name="T77" fmla="*/ 9 h 615"/>
                  <a:gd name="T78" fmla="*/ 14 w 420"/>
                  <a:gd name="T79" fmla="*/ 9 h 615"/>
                  <a:gd name="T80" fmla="*/ 15 w 420"/>
                  <a:gd name="T81" fmla="*/ 12 h 615"/>
                  <a:gd name="T82" fmla="*/ 15 w 420"/>
                  <a:gd name="T83" fmla="*/ 13 h 615"/>
                  <a:gd name="T84" fmla="*/ 14 w 420"/>
                  <a:gd name="T85" fmla="*/ 15 h 615"/>
                  <a:gd name="T86" fmla="*/ 13 w 420"/>
                  <a:gd name="T87" fmla="*/ 16 h 615"/>
                  <a:gd name="T88" fmla="*/ 14 w 420"/>
                  <a:gd name="T89" fmla="*/ 18 h 615"/>
                  <a:gd name="T90" fmla="*/ 16 w 420"/>
                  <a:gd name="T91" fmla="*/ 21 h 615"/>
                  <a:gd name="T92" fmla="*/ 17 w 420"/>
                  <a:gd name="T93" fmla="*/ 22 h 615"/>
                  <a:gd name="T94" fmla="*/ 17 w 420"/>
                  <a:gd name="T95" fmla="*/ 25 h 615"/>
                  <a:gd name="T96" fmla="*/ 15 w 420"/>
                  <a:gd name="T97" fmla="*/ 24 h 615"/>
                  <a:gd name="T98" fmla="*/ 11 w 420"/>
                  <a:gd name="T99" fmla="*/ 23 h 615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420"/>
                  <a:gd name="T151" fmla="*/ 0 h 615"/>
                  <a:gd name="T152" fmla="*/ 420 w 420"/>
                  <a:gd name="T153" fmla="*/ 615 h 615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420" h="615">
                    <a:moveTo>
                      <a:pt x="264" y="585"/>
                    </a:moveTo>
                    <a:lnTo>
                      <a:pt x="256" y="582"/>
                    </a:lnTo>
                    <a:lnTo>
                      <a:pt x="220" y="581"/>
                    </a:lnTo>
                    <a:lnTo>
                      <a:pt x="204" y="577"/>
                    </a:lnTo>
                    <a:lnTo>
                      <a:pt x="184" y="581"/>
                    </a:lnTo>
                    <a:lnTo>
                      <a:pt x="170" y="579"/>
                    </a:lnTo>
                    <a:lnTo>
                      <a:pt x="156" y="582"/>
                    </a:lnTo>
                    <a:lnTo>
                      <a:pt x="116" y="582"/>
                    </a:lnTo>
                    <a:lnTo>
                      <a:pt x="74" y="585"/>
                    </a:lnTo>
                    <a:lnTo>
                      <a:pt x="70" y="586"/>
                    </a:lnTo>
                    <a:lnTo>
                      <a:pt x="74" y="552"/>
                    </a:lnTo>
                    <a:lnTo>
                      <a:pt x="79" y="536"/>
                    </a:lnTo>
                    <a:lnTo>
                      <a:pt x="79" y="529"/>
                    </a:lnTo>
                    <a:lnTo>
                      <a:pt x="81" y="527"/>
                    </a:lnTo>
                    <a:lnTo>
                      <a:pt x="75" y="520"/>
                    </a:lnTo>
                    <a:lnTo>
                      <a:pt x="69" y="513"/>
                    </a:lnTo>
                    <a:lnTo>
                      <a:pt x="66" y="509"/>
                    </a:lnTo>
                    <a:lnTo>
                      <a:pt x="63" y="502"/>
                    </a:lnTo>
                    <a:lnTo>
                      <a:pt x="63" y="500"/>
                    </a:lnTo>
                    <a:lnTo>
                      <a:pt x="66" y="499"/>
                    </a:lnTo>
                    <a:lnTo>
                      <a:pt x="68" y="494"/>
                    </a:lnTo>
                    <a:lnTo>
                      <a:pt x="68" y="485"/>
                    </a:lnTo>
                    <a:lnTo>
                      <a:pt x="64" y="483"/>
                    </a:lnTo>
                    <a:lnTo>
                      <a:pt x="58" y="484"/>
                    </a:lnTo>
                    <a:lnTo>
                      <a:pt x="57" y="488"/>
                    </a:lnTo>
                    <a:lnTo>
                      <a:pt x="52" y="489"/>
                    </a:lnTo>
                    <a:lnTo>
                      <a:pt x="32" y="480"/>
                    </a:lnTo>
                    <a:lnTo>
                      <a:pt x="27" y="471"/>
                    </a:lnTo>
                    <a:lnTo>
                      <a:pt x="21" y="456"/>
                    </a:lnTo>
                    <a:lnTo>
                      <a:pt x="11" y="456"/>
                    </a:lnTo>
                    <a:lnTo>
                      <a:pt x="6" y="458"/>
                    </a:lnTo>
                    <a:lnTo>
                      <a:pt x="1" y="455"/>
                    </a:lnTo>
                    <a:lnTo>
                      <a:pt x="3" y="448"/>
                    </a:lnTo>
                    <a:lnTo>
                      <a:pt x="0" y="446"/>
                    </a:lnTo>
                    <a:lnTo>
                      <a:pt x="0" y="439"/>
                    </a:lnTo>
                    <a:lnTo>
                      <a:pt x="7" y="432"/>
                    </a:lnTo>
                    <a:lnTo>
                      <a:pt x="14" y="423"/>
                    </a:lnTo>
                    <a:lnTo>
                      <a:pt x="17" y="414"/>
                    </a:lnTo>
                    <a:lnTo>
                      <a:pt x="19" y="400"/>
                    </a:lnTo>
                    <a:lnTo>
                      <a:pt x="22" y="385"/>
                    </a:lnTo>
                    <a:lnTo>
                      <a:pt x="31" y="369"/>
                    </a:lnTo>
                    <a:lnTo>
                      <a:pt x="39" y="358"/>
                    </a:lnTo>
                    <a:lnTo>
                      <a:pt x="47" y="350"/>
                    </a:lnTo>
                    <a:lnTo>
                      <a:pt x="58" y="345"/>
                    </a:lnTo>
                    <a:lnTo>
                      <a:pt x="62" y="328"/>
                    </a:lnTo>
                    <a:lnTo>
                      <a:pt x="64" y="328"/>
                    </a:lnTo>
                    <a:lnTo>
                      <a:pt x="79" y="328"/>
                    </a:lnTo>
                    <a:lnTo>
                      <a:pt x="101" y="323"/>
                    </a:lnTo>
                    <a:lnTo>
                      <a:pt x="116" y="324"/>
                    </a:lnTo>
                    <a:lnTo>
                      <a:pt x="127" y="334"/>
                    </a:lnTo>
                    <a:lnTo>
                      <a:pt x="130" y="339"/>
                    </a:lnTo>
                    <a:lnTo>
                      <a:pt x="130" y="340"/>
                    </a:lnTo>
                    <a:lnTo>
                      <a:pt x="134" y="343"/>
                    </a:lnTo>
                    <a:lnTo>
                      <a:pt x="143" y="350"/>
                    </a:lnTo>
                    <a:lnTo>
                      <a:pt x="156" y="351"/>
                    </a:lnTo>
                    <a:lnTo>
                      <a:pt x="165" y="348"/>
                    </a:lnTo>
                    <a:lnTo>
                      <a:pt x="168" y="342"/>
                    </a:lnTo>
                    <a:lnTo>
                      <a:pt x="170" y="333"/>
                    </a:lnTo>
                    <a:lnTo>
                      <a:pt x="188" y="302"/>
                    </a:lnTo>
                    <a:lnTo>
                      <a:pt x="198" y="280"/>
                    </a:lnTo>
                    <a:lnTo>
                      <a:pt x="200" y="273"/>
                    </a:lnTo>
                    <a:lnTo>
                      <a:pt x="204" y="257"/>
                    </a:lnTo>
                    <a:lnTo>
                      <a:pt x="210" y="241"/>
                    </a:lnTo>
                    <a:lnTo>
                      <a:pt x="221" y="229"/>
                    </a:lnTo>
                    <a:lnTo>
                      <a:pt x="236" y="222"/>
                    </a:lnTo>
                    <a:lnTo>
                      <a:pt x="238" y="217"/>
                    </a:lnTo>
                    <a:lnTo>
                      <a:pt x="240" y="211"/>
                    </a:lnTo>
                    <a:lnTo>
                      <a:pt x="241" y="199"/>
                    </a:lnTo>
                    <a:lnTo>
                      <a:pt x="249" y="171"/>
                    </a:lnTo>
                    <a:lnTo>
                      <a:pt x="251" y="160"/>
                    </a:lnTo>
                    <a:lnTo>
                      <a:pt x="254" y="149"/>
                    </a:lnTo>
                    <a:lnTo>
                      <a:pt x="263" y="131"/>
                    </a:lnTo>
                    <a:lnTo>
                      <a:pt x="270" y="108"/>
                    </a:lnTo>
                    <a:lnTo>
                      <a:pt x="274" y="101"/>
                    </a:lnTo>
                    <a:lnTo>
                      <a:pt x="279" y="95"/>
                    </a:lnTo>
                    <a:lnTo>
                      <a:pt x="288" y="85"/>
                    </a:lnTo>
                    <a:lnTo>
                      <a:pt x="291" y="84"/>
                    </a:lnTo>
                    <a:lnTo>
                      <a:pt x="307" y="77"/>
                    </a:lnTo>
                    <a:lnTo>
                      <a:pt x="310" y="74"/>
                    </a:lnTo>
                    <a:lnTo>
                      <a:pt x="329" y="61"/>
                    </a:lnTo>
                    <a:lnTo>
                      <a:pt x="327" y="48"/>
                    </a:lnTo>
                    <a:lnTo>
                      <a:pt x="328" y="31"/>
                    </a:lnTo>
                    <a:lnTo>
                      <a:pt x="326" y="26"/>
                    </a:lnTo>
                    <a:lnTo>
                      <a:pt x="323" y="23"/>
                    </a:lnTo>
                    <a:lnTo>
                      <a:pt x="322" y="22"/>
                    </a:lnTo>
                    <a:lnTo>
                      <a:pt x="311" y="18"/>
                    </a:lnTo>
                    <a:lnTo>
                      <a:pt x="310" y="15"/>
                    </a:lnTo>
                    <a:lnTo>
                      <a:pt x="315" y="15"/>
                    </a:lnTo>
                    <a:lnTo>
                      <a:pt x="323" y="3"/>
                    </a:lnTo>
                    <a:lnTo>
                      <a:pt x="332" y="0"/>
                    </a:lnTo>
                    <a:lnTo>
                      <a:pt x="338" y="0"/>
                    </a:lnTo>
                    <a:lnTo>
                      <a:pt x="340" y="1"/>
                    </a:lnTo>
                    <a:lnTo>
                      <a:pt x="340" y="4"/>
                    </a:lnTo>
                    <a:lnTo>
                      <a:pt x="347" y="32"/>
                    </a:lnTo>
                    <a:lnTo>
                      <a:pt x="353" y="41"/>
                    </a:lnTo>
                    <a:lnTo>
                      <a:pt x="355" y="48"/>
                    </a:lnTo>
                    <a:lnTo>
                      <a:pt x="354" y="68"/>
                    </a:lnTo>
                    <a:lnTo>
                      <a:pt x="353" y="79"/>
                    </a:lnTo>
                    <a:lnTo>
                      <a:pt x="349" y="90"/>
                    </a:lnTo>
                    <a:lnTo>
                      <a:pt x="349" y="98"/>
                    </a:lnTo>
                    <a:lnTo>
                      <a:pt x="359" y="119"/>
                    </a:lnTo>
                    <a:lnTo>
                      <a:pt x="374" y="140"/>
                    </a:lnTo>
                    <a:lnTo>
                      <a:pt x="376" y="146"/>
                    </a:lnTo>
                    <a:lnTo>
                      <a:pt x="377" y="155"/>
                    </a:lnTo>
                    <a:lnTo>
                      <a:pt x="376" y="157"/>
                    </a:lnTo>
                    <a:lnTo>
                      <a:pt x="372" y="160"/>
                    </a:lnTo>
                    <a:lnTo>
                      <a:pt x="353" y="156"/>
                    </a:lnTo>
                    <a:lnTo>
                      <a:pt x="337" y="154"/>
                    </a:lnTo>
                    <a:lnTo>
                      <a:pt x="322" y="155"/>
                    </a:lnTo>
                    <a:lnTo>
                      <a:pt x="318" y="156"/>
                    </a:lnTo>
                    <a:lnTo>
                      <a:pt x="315" y="159"/>
                    </a:lnTo>
                    <a:lnTo>
                      <a:pt x="310" y="165"/>
                    </a:lnTo>
                    <a:lnTo>
                      <a:pt x="310" y="179"/>
                    </a:lnTo>
                    <a:lnTo>
                      <a:pt x="311" y="192"/>
                    </a:lnTo>
                    <a:lnTo>
                      <a:pt x="322" y="205"/>
                    </a:lnTo>
                    <a:lnTo>
                      <a:pt x="329" y="211"/>
                    </a:lnTo>
                    <a:lnTo>
                      <a:pt x="338" y="215"/>
                    </a:lnTo>
                    <a:lnTo>
                      <a:pt x="350" y="217"/>
                    </a:lnTo>
                    <a:lnTo>
                      <a:pt x="354" y="220"/>
                    </a:lnTo>
                    <a:lnTo>
                      <a:pt x="360" y="230"/>
                    </a:lnTo>
                    <a:lnTo>
                      <a:pt x="370" y="257"/>
                    </a:lnTo>
                    <a:lnTo>
                      <a:pt x="375" y="275"/>
                    </a:lnTo>
                    <a:lnTo>
                      <a:pt x="376" y="292"/>
                    </a:lnTo>
                    <a:lnTo>
                      <a:pt x="377" y="295"/>
                    </a:lnTo>
                    <a:lnTo>
                      <a:pt x="380" y="297"/>
                    </a:lnTo>
                    <a:lnTo>
                      <a:pt x="370" y="323"/>
                    </a:lnTo>
                    <a:lnTo>
                      <a:pt x="360" y="338"/>
                    </a:lnTo>
                    <a:lnTo>
                      <a:pt x="353" y="354"/>
                    </a:lnTo>
                    <a:lnTo>
                      <a:pt x="343" y="369"/>
                    </a:lnTo>
                    <a:lnTo>
                      <a:pt x="332" y="380"/>
                    </a:lnTo>
                    <a:lnTo>
                      <a:pt x="332" y="393"/>
                    </a:lnTo>
                    <a:lnTo>
                      <a:pt x="335" y="407"/>
                    </a:lnTo>
                    <a:lnTo>
                      <a:pt x="334" y="424"/>
                    </a:lnTo>
                    <a:lnTo>
                      <a:pt x="335" y="440"/>
                    </a:lnTo>
                    <a:lnTo>
                      <a:pt x="345" y="458"/>
                    </a:lnTo>
                    <a:lnTo>
                      <a:pt x="354" y="469"/>
                    </a:lnTo>
                    <a:lnTo>
                      <a:pt x="378" y="516"/>
                    </a:lnTo>
                    <a:lnTo>
                      <a:pt x="390" y="528"/>
                    </a:lnTo>
                    <a:lnTo>
                      <a:pt x="413" y="548"/>
                    </a:lnTo>
                    <a:lnTo>
                      <a:pt x="420" y="548"/>
                    </a:lnTo>
                    <a:lnTo>
                      <a:pt x="418" y="559"/>
                    </a:lnTo>
                    <a:lnTo>
                      <a:pt x="420" y="602"/>
                    </a:lnTo>
                    <a:lnTo>
                      <a:pt x="418" y="612"/>
                    </a:lnTo>
                    <a:lnTo>
                      <a:pt x="413" y="615"/>
                    </a:lnTo>
                    <a:lnTo>
                      <a:pt x="390" y="597"/>
                    </a:lnTo>
                    <a:lnTo>
                      <a:pt x="380" y="597"/>
                    </a:lnTo>
                    <a:lnTo>
                      <a:pt x="366" y="592"/>
                    </a:lnTo>
                    <a:lnTo>
                      <a:pt x="351" y="591"/>
                    </a:lnTo>
                    <a:lnTo>
                      <a:pt x="340" y="585"/>
                    </a:lnTo>
                    <a:lnTo>
                      <a:pt x="264" y="58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46" name="Freeform 10">
                <a:extLst>
                  <a:ext uri="{FF2B5EF4-FFF2-40B4-BE49-F238E27FC236}">
                    <a16:creationId xmlns:a16="http://schemas.microsoft.com/office/drawing/2014/main" id="{459D503A-0133-AA54-74A6-DB67D27F4FD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24" y="2350"/>
                <a:ext cx="33" cy="68"/>
              </a:xfrm>
              <a:custGeom>
                <a:avLst/>
                <a:gdLst>
                  <a:gd name="T0" fmla="*/ 6 w 166"/>
                  <a:gd name="T1" fmla="*/ 1 h 340"/>
                  <a:gd name="T2" fmla="*/ 5 w 166"/>
                  <a:gd name="T3" fmla="*/ 0 h 340"/>
                  <a:gd name="T4" fmla="*/ 5 w 166"/>
                  <a:gd name="T5" fmla="*/ 0 h 340"/>
                  <a:gd name="T6" fmla="*/ 4 w 166"/>
                  <a:gd name="T7" fmla="*/ 0 h 340"/>
                  <a:gd name="T8" fmla="*/ 4 w 166"/>
                  <a:gd name="T9" fmla="*/ 0 h 340"/>
                  <a:gd name="T10" fmla="*/ 4 w 166"/>
                  <a:gd name="T11" fmla="*/ 1 h 340"/>
                  <a:gd name="T12" fmla="*/ 4 w 166"/>
                  <a:gd name="T13" fmla="*/ 1 h 340"/>
                  <a:gd name="T14" fmla="*/ 3 w 166"/>
                  <a:gd name="T15" fmla="*/ 1 h 340"/>
                  <a:gd name="T16" fmla="*/ 3 w 166"/>
                  <a:gd name="T17" fmla="*/ 2 h 340"/>
                  <a:gd name="T18" fmla="*/ 3 w 166"/>
                  <a:gd name="T19" fmla="*/ 2 h 340"/>
                  <a:gd name="T20" fmla="*/ 2 w 166"/>
                  <a:gd name="T21" fmla="*/ 2 h 340"/>
                  <a:gd name="T22" fmla="*/ 1 w 166"/>
                  <a:gd name="T23" fmla="*/ 2 h 340"/>
                  <a:gd name="T24" fmla="*/ 1 w 166"/>
                  <a:gd name="T25" fmla="*/ 3 h 340"/>
                  <a:gd name="T26" fmla="*/ 1 w 166"/>
                  <a:gd name="T27" fmla="*/ 3 h 340"/>
                  <a:gd name="T28" fmla="*/ 1 w 166"/>
                  <a:gd name="T29" fmla="*/ 3 h 340"/>
                  <a:gd name="T30" fmla="*/ 0 w 166"/>
                  <a:gd name="T31" fmla="*/ 3 h 340"/>
                  <a:gd name="T32" fmla="*/ 0 w 166"/>
                  <a:gd name="T33" fmla="*/ 3 h 340"/>
                  <a:gd name="T34" fmla="*/ 0 w 166"/>
                  <a:gd name="T35" fmla="*/ 4 h 340"/>
                  <a:gd name="T36" fmla="*/ 0 w 166"/>
                  <a:gd name="T37" fmla="*/ 5 h 340"/>
                  <a:gd name="T38" fmla="*/ 0 w 166"/>
                  <a:gd name="T39" fmla="*/ 5 h 340"/>
                  <a:gd name="T40" fmla="*/ 1 w 166"/>
                  <a:gd name="T41" fmla="*/ 5 h 340"/>
                  <a:gd name="T42" fmla="*/ 2 w 166"/>
                  <a:gd name="T43" fmla="*/ 6 h 340"/>
                  <a:gd name="T44" fmla="*/ 2 w 166"/>
                  <a:gd name="T45" fmla="*/ 8 h 340"/>
                  <a:gd name="T46" fmla="*/ 2 w 166"/>
                  <a:gd name="T47" fmla="*/ 8 h 340"/>
                  <a:gd name="T48" fmla="*/ 2 w 166"/>
                  <a:gd name="T49" fmla="*/ 9 h 340"/>
                  <a:gd name="T50" fmla="*/ 2 w 166"/>
                  <a:gd name="T51" fmla="*/ 12 h 340"/>
                  <a:gd name="T52" fmla="*/ 2 w 166"/>
                  <a:gd name="T53" fmla="*/ 13 h 340"/>
                  <a:gd name="T54" fmla="*/ 2 w 166"/>
                  <a:gd name="T55" fmla="*/ 14 h 340"/>
                  <a:gd name="T56" fmla="*/ 4 w 166"/>
                  <a:gd name="T57" fmla="*/ 13 h 340"/>
                  <a:gd name="T58" fmla="*/ 4 w 166"/>
                  <a:gd name="T59" fmla="*/ 12 h 340"/>
                  <a:gd name="T60" fmla="*/ 4 w 166"/>
                  <a:gd name="T61" fmla="*/ 11 h 340"/>
                  <a:gd name="T62" fmla="*/ 4 w 166"/>
                  <a:gd name="T63" fmla="*/ 9 h 340"/>
                  <a:gd name="T64" fmla="*/ 5 w 166"/>
                  <a:gd name="T65" fmla="*/ 7 h 340"/>
                  <a:gd name="T66" fmla="*/ 5 w 166"/>
                  <a:gd name="T67" fmla="*/ 6 h 340"/>
                  <a:gd name="T68" fmla="*/ 6 w 166"/>
                  <a:gd name="T69" fmla="*/ 6 h 340"/>
                  <a:gd name="T70" fmla="*/ 6 w 166"/>
                  <a:gd name="T71" fmla="*/ 5 h 340"/>
                  <a:gd name="T72" fmla="*/ 6 w 166"/>
                  <a:gd name="T73" fmla="*/ 5 h 340"/>
                  <a:gd name="T74" fmla="*/ 6 w 166"/>
                  <a:gd name="T75" fmla="*/ 5 h 340"/>
                  <a:gd name="T76" fmla="*/ 6 w 166"/>
                  <a:gd name="T77" fmla="*/ 4 h 340"/>
                  <a:gd name="T78" fmla="*/ 7 w 166"/>
                  <a:gd name="T79" fmla="*/ 4 h 340"/>
                  <a:gd name="T80" fmla="*/ 6 w 166"/>
                  <a:gd name="T81" fmla="*/ 3 h 340"/>
                  <a:gd name="T82" fmla="*/ 6 w 166"/>
                  <a:gd name="T83" fmla="*/ 2 h 340"/>
                  <a:gd name="T84" fmla="*/ 6 w 166"/>
                  <a:gd name="T85" fmla="*/ 2 h 340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66"/>
                  <a:gd name="T130" fmla="*/ 0 h 340"/>
                  <a:gd name="T131" fmla="*/ 166 w 166"/>
                  <a:gd name="T132" fmla="*/ 340 h 340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66" h="340">
                    <a:moveTo>
                      <a:pt x="156" y="37"/>
                    </a:moveTo>
                    <a:lnTo>
                      <a:pt x="147" y="30"/>
                    </a:lnTo>
                    <a:lnTo>
                      <a:pt x="140" y="25"/>
                    </a:lnTo>
                    <a:lnTo>
                      <a:pt x="128" y="12"/>
                    </a:lnTo>
                    <a:lnTo>
                      <a:pt x="117" y="1"/>
                    </a:lnTo>
                    <a:lnTo>
                      <a:pt x="114" y="0"/>
                    </a:lnTo>
                    <a:lnTo>
                      <a:pt x="106" y="4"/>
                    </a:lnTo>
                    <a:lnTo>
                      <a:pt x="101" y="5"/>
                    </a:lnTo>
                    <a:lnTo>
                      <a:pt x="90" y="8"/>
                    </a:lnTo>
                    <a:lnTo>
                      <a:pt x="90" y="12"/>
                    </a:lnTo>
                    <a:lnTo>
                      <a:pt x="97" y="21"/>
                    </a:lnTo>
                    <a:lnTo>
                      <a:pt x="90" y="25"/>
                    </a:lnTo>
                    <a:lnTo>
                      <a:pt x="90" y="24"/>
                    </a:lnTo>
                    <a:lnTo>
                      <a:pt x="90" y="26"/>
                    </a:lnTo>
                    <a:lnTo>
                      <a:pt x="88" y="31"/>
                    </a:lnTo>
                    <a:lnTo>
                      <a:pt x="85" y="35"/>
                    </a:lnTo>
                    <a:lnTo>
                      <a:pt x="85" y="36"/>
                    </a:lnTo>
                    <a:lnTo>
                      <a:pt x="83" y="39"/>
                    </a:lnTo>
                    <a:lnTo>
                      <a:pt x="71" y="51"/>
                    </a:lnTo>
                    <a:lnTo>
                      <a:pt x="66" y="53"/>
                    </a:lnTo>
                    <a:lnTo>
                      <a:pt x="60" y="51"/>
                    </a:lnTo>
                    <a:lnTo>
                      <a:pt x="52" y="53"/>
                    </a:lnTo>
                    <a:lnTo>
                      <a:pt x="43" y="49"/>
                    </a:lnTo>
                    <a:lnTo>
                      <a:pt x="37" y="49"/>
                    </a:lnTo>
                    <a:lnTo>
                      <a:pt x="34" y="51"/>
                    </a:lnTo>
                    <a:lnTo>
                      <a:pt x="27" y="63"/>
                    </a:lnTo>
                    <a:lnTo>
                      <a:pt x="23" y="62"/>
                    </a:lnTo>
                    <a:lnTo>
                      <a:pt x="21" y="64"/>
                    </a:lnTo>
                    <a:lnTo>
                      <a:pt x="20" y="65"/>
                    </a:lnTo>
                    <a:lnTo>
                      <a:pt x="17" y="68"/>
                    </a:lnTo>
                    <a:lnTo>
                      <a:pt x="16" y="74"/>
                    </a:lnTo>
                    <a:lnTo>
                      <a:pt x="12" y="74"/>
                    </a:lnTo>
                    <a:lnTo>
                      <a:pt x="9" y="78"/>
                    </a:lnTo>
                    <a:lnTo>
                      <a:pt x="6" y="80"/>
                    </a:lnTo>
                    <a:lnTo>
                      <a:pt x="5" y="87"/>
                    </a:lnTo>
                    <a:lnTo>
                      <a:pt x="1" y="95"/>
                    </a:lnTo>
                    <a:lnTo>
                      <a:pt x="0" y="105"/>
                    </a:lnTo>
                    <a:lnTo>
                      <a:pt x="0" y="113"/>
                    </a:lnTo>
                    <a:lnTo>
                      <a:pt x="5" y="117"/>
                    </a:lnTo>
                    <a:lnTo>
                      <a:pt x="11" y="121"/>
                    </a:lnTo>
                    <a:lnTo>
                      <a:pt x="15" y="121"/>
                    </a:lnTo>
                    <a:lnTo>
                      <a:pt x="20" y="124"/>
                    </a:lnTo>
                    <a:lnTo>
                      <a:pt x="32" y="139"/>
                    </a:lnTo>
                    <a:lnTo>
                      <a:pt x="41" y="159"/>
                    </a:lnTo>
                    <a:lnTo>
                      <a:pt x="47" y="180"/>
                    </a:lnTo>
                    <a:lnTo>
                      <a:pt x="50" y="189"/>
                    </a:lnTo>
                    <a:lnTo>
                      <a:pt x="52" y="195"/>
                    </a:lnTo>
                    <a:lnTo>
                      <a:pt x="54" y="204"/>
                    </a:lnTo>
                    <a:lnTo>
                      <a:pt x="56" y="215"/>
                    </a:lnTo>
                    <a:lnTo>
                      <a:pt x="58" y="234"/>
                    </a:lnTo>
                    <a:lnTo>
                      <a:pt x="58" y="285"/>
                    </a:lnTo>
                    <a:lnTo>
                      <a:pt x="54" y="308"/>
                    </a:lnTo>
                    <a:lnTo>
                      <a:pt x="54" y="318"/>
                    </a:lnTo>
                    <a:lnTo>
                      <a:pt x="58" y="331"/>
                    </a:lnTo>
                    <a:lnTo>
                      <a:pt x="60" y="338"/>
                    </a:lnTo>
                    <a:lnTo>
                      <a:pt x="61" y="339"/>
                    </a:lnTo>
                    <a:lnTo>
                      <a:pt x="68" y="340"/>
                    </a:lnTo>
                    <a:lnTo>
                      <a:pt x="112" y="337"/>
                    </a:lnTo>
                    <a:lnTo>
                      <a:pt x="109" y="334"/>
                    </a:lnTo>
                    <a:lnTo>
                      <a:pt x="107" y="295"/>
                    </a:lnTo>
                    <a:lnTo>
                      <a:pt x="108" y="286"/>
                    </a:lnTo>
                    <a:lnTo>
                      <a:pt x="113" y="265"/>
                    </a:lnTo>
                    <a:lnTo>
                      <a:pt x="112" y="235"/>
                    </a:lnTo>
                    <a:lnTo>
                      <a:pt x="113" y="215"/>
                    </a:lnTo>
                    <a:lnTo>
                      <a:pt x="117" y="203"/>
                    </a:lnTo>
                    <a:lnTo>
                      <a:pt x="129" y="183"/>
                    </a:lnTo>
                    <a:lnTo>
                      <a:pt x="130" y="168"/>
                    </a:lnTo>
                    <a:lnTo>
                      <a:pt x="133" y="159"/>
                    </a:lnTo>
                    <a:lnTo>
                      <a:pt x="141" y="149"/>
                    </a:lnTo>
                    <a:lnTo>
                      <a:pt x="156" y="138"/>
                    </a:lnTo>
                    <a:lnTo>
                      <a:pt x="156" y="132"/>
                    </a:lnTo>
                    <a:lnTo>
                      <a:pt x="160" y="129"/>
                    </a:lnTo>
                    <a:lnTo>
                      <a:pt x="160" y="128"/>
                    </a:lnTo>
                    <a:lnTo>
                      <a:pt x="160" y="124"/>
                    </a:lnTo>
                    <a:lnTo>
                      <a:pt x="155" y="119"/>
                    </a:lnTo>
                    <a:lnTo>
                      <a:pt x="155" y="117"/>
                    </a:lnTo>
                    <a:lnTo>
                      <a:pt x="157" y="111"/>
                    </a:lnTo>
                    <a:lnTo>
                      <a:pt x="160" y="109"/>
                    </a:lnTo>
                    <a:lnTo>
                      <a:pt x="165" y="109"/>
                    </a:lnTo>
                    <a:lnTo>
                      <a:pt x="166" y="107"/>
                    </a:lnTo>
                    <a:lnTo>
                      <a:pt x="166" y="89"/>
                    </a:lnTo>
                    <a:lnTo>
                      <a:pt x="162" y="74"/>
                    </a:lnTo>
                    <a:lnTo>
                      <a:pt x="161" y="69"/>
                    </a:lnTo>
                    <a:lnTo>
                      <a:pt x="151" y="59"/>
                    </a:lnTo>
                    <a:lnTo>
                      <a:pt x="150" y="54"/>
                    </a:lnTo>
                    <a:lnTo>
                      <a:pt x="151" y="43"/>
                    </a:lnTo>
                    <a:lnTo>
                      <a:pt x="156" y="3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47" name="Freeform 11">
                <a:extLst>
                  <a:ext uri="{FF2B5EF4-FFF2-40B4-BE49-F238E27FC236}">
                    <a16:creationId xmlns:a16="http://schemas.microsoft.com/office/drawing/2014/main" id="{9723D34C-6A30-A516-0B99-7AD920039CE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662" y="2224"/>
                <a:ext cx="118" cy="181"/>
              </a:xfrm>
              <a:custGeom>
                <a:avLst/>
                <a:gdLst>
                  <a:gd name="T0" fmla="*/ 4 w 588"/>
                  <a:gd name="T1" fmla="*/ 5 h 905"/>
                  <a:gd name="T2" fmla="*/ 4 w 588"/>
                  <a:gd name="T3" fmla="*/ 6 h 905"/>
                  <a:gd name="T4" fmla="*/ 5 w 588"/>
                  <a:gd name="T5" fmla="*/ 6 h 905"/>
                  <a:gd name="T6" fmla="*/ 5 w 588"/>
                  <a:gd name="T7" fmla="*/ 11 h 905"/>
                  <a:gd name="T8" fmla="*/ 1 w 588"/>
                  <a:gd name="T9" fmla="*/ 19 h 905"/>
                  <a:gd name="T10" fmla="*/ 1 w 588"/>
                  <a:gd name="T11" fmla="*/ 20 h 905"/>
                  <a:gd name="T12" fmla="*/ 0 w 588"/>
                  <a:gd name="T13" fmla="*/ 21 h 905"/>
                  <a:gd name="T14" fmla="*/ 1 w 588"/>
                  <a:gd name="T15" fmla="*/ 21 h 905"/>
                  <a:gd name="T16" fmla="*/ 2 w 588"/>
                  <a:gd name="T17" fmla="*/ 23 h 905"/>
                  <a:gd name="T18" fmla="*/ 3 w 588"/>
                  <a:gd name="T19" fmla="*/ 23 h 905"/>
                  <a:gd name="T20" fmla="*/ 4 w 588"/>
                  <a:gd name="T21" fmla="*/ 23 h 905"/>
                  <a:gd name="T22" fmla="*/ 3 w 588"/>
                  <a:gd name="T23" fmla="*/ 24 h 905"/>
                  <a:gd name="T24" fmla="*/ 3 w 588"/>
                  <a:gd name="T25" fmla="*/ 26 h 905"/>
                  <a:gd name="T26" fmla="*/ 3 w 588"/>
                  <a:gd name="T27" fmla="*/ 27 h 905"/>
                  <a:gd name="T28" fmla="*/ 3 w 588"/>
                  <a:gd name="T29" fmla="*/ 28 h 905"/>
                  <a:gd name="T30" fmla="*/ 4 w 588"/>
                  <a:gd name="T31" fmla="*/ 30 h 905"/>
                  <a:gd name="T32" fmla="*/ 4 w 588"/>
                  <a:gd name="T33" fmla="*/ 31 h 905"/>
                  <a:gd name="T34" fmla="*/ 2 w 588"/>
                  <a:gd name="T35" fmla="*/ 31 h 905"/>
                  <a:gd name="T36" fmla="*/ 2 w 588"/>
                  <a:gd name="T37" fmla="*/ 31 h 905"/>
                  <a:gd name="T38" fmla="*/ 2 w 588"/>
                  <a:gd name="T39" fmla="*/ 33 h 905"/>
                  <a:gd name="T40" fmla="*/ 3 w 588"/>
                  <a:gd name="T41" fmla="*/ 33 h 905"/>
                  <a:gd name="T42" fmla="*/ 4 w 588"/>
                  <a:gd name="T43" fmla="*/ 35 h 905"/>
                  <a:gd name="T44" fmla="*/ 4 w 588"/>
                  <a:gd name="T45" fmla="*/ 36 h 905"/>
                  <a:gd name="T46" fmla="*/ 5 w 588"/>
                  <a:gd name="T47" fmla="*/ 36 h 905"/>
                  <a:gd name="T48" fmla="*/ 6 w 588"/>
                  <a:gd name="T49" fmla="*/ 36 h 905"/>
                  <a:gd name="T50" fmla="*/ 7 w 588"/>
                  <a:gd name="T51" fmla="*/ 36 h 905"/>
                  <a:gd name="T52" fmla="*/ 7 w 588"/>
                  <a:gd name="T53" fmla="*/ 35 h 905"/>
                  <a:gd name="T54" fmla="*/ 7 w 588"/>
                  <a:gd name="T55" fmla="*/ 36 h 905"/>
                  <a:gd name="T56" fmla="*/ 8 w 588"/>
                  <a:gd name="T57" fmla="*/ 36 h 905"/>
                  <a:gd name="T58" fmla="*/ 9 w 588"/>
                  <a:gd name="T59" fmla="*/ 36 h 905"/>
                  <a:gd name="T60" fmla="*/ 10 w 588"/>
                  <a:gd name="T61" fmla="*/ 35 h 905"/>
                  <a:gd name="T62" fmla="*/ 11 w 588"/>
                  <a:gd name="T63" fmla="*/ 35 h 905"/>
                  <a:gd name="T64" fmla="*/ 12 w 588"/>
                  <a:gd name="T65" fmla="*/ 35 h 905"/>
                  <a:gd name="T66" fmla="*/ 12 w 588"/>
                  <a:gd name="T67" fmla="*/ 34 h 905"/>
                  <a:gd name="T68" fmla="*/ 13 w 588"/>
                  <a:gd name="T69" fmla="*/ 34 h 905"/>
                  <a:gd name="T70" fmla="*/ 12 w 588"/>
                  <a:gd name="T71" fmla="*/ 33 h 905"/>
                  <a:gd name="T72" fmla="*/ 13 w 588"/>
                  <a:gd name="T73" fmla="*/ 33 h 905"/>
                  <a:gd name="T74" fmla="*/ 14 w 588"/>
                  <a:gd name="T75" fmla="*/ 33 h 905"/>
                  <a:gd name="T76" fmla="*/ 15 w 588"/>
                  <a:gd name="T77" fmla="*/ 32 h 905"/>
                  <a:gd name="T78" fmla="*/ 16 w 588"/>
                  <a:gd name="T79" fmla="*/ 32 h 905"/>
                  <a:gd name="T80" fmla="*/ 17 w 588"/>
                  <a:gd name="T81" fmla="*/ 32 h 905"/>
                  <a:gd name="T82" fmla="*/ 18 w 588"/>
                  <a:gd name="T83" fmla="*/ 31 h 905"/>
                  <a:gd name="T84" fmla="*/ 18 w 588"/>
                  <a:gd name="T85" fmla="*/ 30 h 905"/>
                  <a:gd name="T86" fmla="*/ 19 w 588"/>
                  <a:gd name="T87" fmla="*/ 29 h 905"/>
                  <a:gd name="T88" fmla="*/ 20 w 588"/>
                  <a:gd name="T89" fmla="*/ 28 h 905"/>
                  <a:gd name="T90" fmla="*/ 21 w 588"/>
                  <a:gd name="T91" fmla="*/ 28 h 905"/>
                  <a:gd name="T92" fmla="*/ 21 w 588"/>
                  <a:gd name="T93" fmla="*/ 27 h 905"/>
                  <a:gd name="T94" fmla="*/ 20 w 588"/>
                  <a:gd name="T95" fmla="*/ 26 h 905"/>
                  <a:gd name="T96" fmla="*/ 19 w 588"/>
                  <a:gd name="T97" fmla="*/ 24 h 905"/>
                  <a:gd name="T98" fmla="*/ 19 w 588"/>
                  <a:gd name="T99" fmla="*/ 24 h 905"/>
                  <a:gd name="T100" fmla="*/ 19 w 588"/>
                  <a:gd name="T101" fmla="*/ 23 h 905"/>
                  <a:gd name="T102" fmla="*/ 19 w 588"/>
                  <a:gd name="T103" fmla="*/ 22 h 905"/>
                  <a:gd name="T104" fmla="*/ 20 w 588"/>
                  <a:gd name="T105" fmla="*/ 21 h 905"/>
                  <a:gd name="T106" fmla="*/ 20 w 588"/>
                  <a:gd name="T107" fmla="*/ 20 h 905"/>
                  <a:gd name="T108" fmla="*/ 21 w 588"/>
                  <a:gd name="T109" fmla="*/ 18 h 905"/>
                  <a:gd name="T110" fmla="*/ 22 w 588"/>
                  <a:gd name="T111" fmla="*/ 18 h 905"/>
                  <a:gd name="T112" fmla="*/ 24 w 588"/>
                  <a:gd name="T113" fmla="*/ 18 h 905"/>
                  <a:gd name="T114" fmla="*/ 24 w 588"/>
                  <a:gd name="T115" fmla="*/ 11 h 905"/>
                  <a:gd name="T116" fmla="*/ 21 w 588"/>
                  <a:gd name="T117" fmla="*/ 8 h 905"/>
                  <a:gd name="T118" fmla="*/ 16 w 588"/>
                  <a:gd name="T119" fmla="*/ 5 h 905"/>
                  <a:gd name="T120" fmla="*/ 10 w 588"/>
                  <a:gd name="T121" fmla="*/ 2 h 905"/>
                  <a:gd name="T122" fmla="*/ 6 w 588"/>
                  <a:gd name="T123" fmla="*/ 0 h 905"/>
                  <a:gd name="T124" fmla="*/ 4 w 588"/>
                  <a:gd name="T125" fmla="*/ 4 h 905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588"/>
                  <a:gd name="T190" fmla="*/ 0 h 905"/>
                  <a:gd name="T191" fmla="*/ 588 w 588"/>
                  <a:gd name="T192" fmla="*/ 905 h 905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588" h="905">
                    <a:moveTo>
                      <a:pt x="91" y="106"/>
                    </a:moveTo>
                    <a:lnTo>
                      <a:pt x="94" y="112"/>
                    </a:lnTo>
                    <a:lnTo>
                      <a:pt x="99" y="122"/>
                    </a:lnTo>
                    <a:lnTo>
                      <a:pt x="99" y="124"/>
                    </a:lnTo>
                    <a:lnTo>
                      <a:pt x="102" y="131"/>
                    </a:lnTo>
                    <a:lnTo>
                      <a:pt x="106" y="143"/>
                    </a:lnTo>
                    <a:lnTo>
                      <a:pt x="110" y="149"/>
                    </a:lnTo>
                    <a:lnTo>
                      <a:pt x="116" y="155"/>
                    </a:lnTo>
                    <a:lnTo>
                      <a:pt x="122" y="160"/>
                    </a:lnTo>
                    <a:lnTo>
                      <a:pt x="145" y="173"/>
                    </a:lnTo>
                    <a:lnTo>
                      <a:pt x="132" y="197"/>
                    </a:lnTo>
                    <a:lnTo>
                      <a:pt x="117" y="276"/>
                    </a:lnTo>
                    <a:lnTo>
                      <a:pt x="111" y="375"/>
                    </a:lnTo>
                    <a:lnTo>
                      <a:pt x="107" y="380"/>
                    </a:lnTo>
                    <a:lnTo>
                      <a:pt x="19" y="479"/>
                    </a:lnTo>
                    <a:lnTo>
                      <a:pt x="19" y="490"/>
                    </a:lnTo>
                    <a:lnTo>
                      <a:pt x="13" y="493"/>
                    </a:lnTo>
                    <a:lnTo>
                      <a:pt x="13" y="502"/>
                    </a:lnTo>
                    <a:lnTo>
                      <a:pt x="5" y="504"/>
                    </a:lnTo>
                    <a:lnTo>
                      <a:pt x="0" y="509"/>
                    </a:lnTo>
                    <a:lnTo>
                      <a:pt x="3" y="520"/>
                    </a:lnTo>
                    <a:lnTo>
                      <a:pt x="19" y="525"/>
                    </a:lnTo>
                    <a:lnTo>
                      <a:pt x="22" y="531"/>
                    </a:lnTo>
                    <a:lnTo>
                      <a:pt x="30" y="534"/>
                    </a:lnTo>
                    <a:lnTo>
                      <a:pt x="36" y="543"/>
                    </a:lnTo>
                    <a:lnTo>
                      <a:pt x="40" y="564"/>
                    </a:lnTo>
                    <a:lnTo>
                      <a:pt x="57" y="568"/>
                    </a:lnTo>
                    <a:lnTo>
                      <a:pt x="69" y="565"/>
                    </a:lnTo>
                    <a:lnTo>
                      <a:pt x="75" y="569"/>
                    </a:lnTo>
                    <a:lnTo>
                      <a:pt x="83" y="571"/>
                    </a:lnTo>
                    <a:lnTo>
                      <a:pt x="90" y="569"/>
                    </a:lnTo>
                    <a:lnTo>
                      <a:pt x="97" y="582"/>
                    </a:lnTo>
                    <a:lnTo>
                      <a:pt x="95" y="587"/>
                    </a:lnTo>
                    <a:lnTo>
                      <a:pt x="94" y="596"/>
                    </a:lnTo>
                    <a:lnTo>
                      <a:pt x="84" y="603"/>
                    </a:lnTo>
                    <a:lnTo>
                      <a:pt x="68" y="608"/>
                    </a:lnTo>
                    <a:lnTo>
                      <a:pt x="70" y="609"/>
                    </a:lnTo>
                    <a:lnTo>
                      <a:pt x="70" y="612"/>
                    </a:lnTo>
                    <a:lnTo>
                      <a:pt x="77" y="640"/>
                    </a:lnTo>
                    <a:lnTo>
                      <a:pt x="83" y="649"/>
                    </a:lnTo>
                    <a:lnTo>
                      <a:pt x="85" y="656"/>
                    </a:lnTo>
                    <a:lnTo>
                      <a:pt x="84" y="676"/>
                    </a:lnTo>
                    <a:lnTo>
                      <a:pt x="83" y="687"/>
                    </a:lnTo>
                    <a:lnTo>
                      <a:pt x="79" y="698"/>
                    </a:lnTo>
                    <a:lnTo>
                      <a:pt x="79" y="706"/>
                    </a:lnTo>
                    <a:lnTo>
                      <a:pt x="89" y="727"/>
                    </a:lnTo>
                    <a:lnTo>
                      <a:pt x="104" y="748"/>
                    </a:lnTo>
                    <a:lnTo>
                      <a:pt x="106" y="754"/>
                    </a:lnTo>
                    <a:lnTo>
                      <a:pt x="107" y="763"/>
                    </a:lnTo>
                    <a:lnTo>
                      <a:pt x="106" y="765"/>
                    </a:lnTo>
                    <a:lnTo>
                      <a:pt x="102" y="768"/>
                    </a:lnTo>
                    <a:lnTo>
                      <a:pt x="83" y="764"/>
                    </a:lnTo>
                    <a:lnTo>
                      <a:pt x="67" y="762"/>
                    </a:lnTo>
                    <a:lnTo>
                      <a:pt x="52" y="763"/>
                    </a:lnTo>
                    <a:lnTo>
                      <a:pt x="48" y="764"/>
                    </a:lnTo>
                    <a:lnTo>
                      <a:pt x="45" y="767"/>
                    </a:lnTo>
                    <a:lnTo>
                      <a:pt x="40" y="773"/>
                    </a:lnTo>
                    <a:lnTo>
                      <a:pt x="40" y="787"/>
                    </a:lnTo>
                    <a:lnTo>
                      <a:pt x="41" y="800"/>
                    </a:lnTo>
                    <a:lnTo>
                      <a:pt x="52" y="813"/>
                    </a:lnTo>
                    <a:lnTo>
                      <a:pt x="59" y="819"/>
                    </a:lnTo>
                    <a:lnTo>
                      <a:pt x="68" y="823"/>
                    </a:lnTo>
                    <a:lnTo>
                      <a:pt x="80" y="825"/>
                    </a:lnTo>
                    <a:lnTo>
                      <a:pt x="84" y="828"/>
                    </a:lnTo>
                    <a:lnTo>
                      <a:pt x="90" y="838"/>
                    </a:lnTo>
                    <a:lnTo>
                      <a:pt x="100" y="865"/>
                    </a:lnTo>
                    <a:lnTo>
                      <a:pt x="105" y="883"/>
                    </a:lnTo>
                    <a:lnTo>
                      <a:pt x="106" y="900"/>
                    </a:lnTo>
                    <a:lnTo>
                      <a:pt x="107" y="903"/>
                    </a:lnTo>
                    <a:lnTo>
                      <a:pt x="110" y="905"/>
                    </a:lnTo>
                    <a:lnTo>
                      <a:pt x="113" y="903"/>
                    </a:lnTo>
                    <a:lnTo>
                      <a:pt x="122" y="902"/>
                    </a:lnTo>
                    <a:lnTo>
                      <a:pt x="128" y="900"/>
                    </a:lnTo>
                    <a:lnTo>
                      <a:pt x="133" y="900"/>
                    </a:lnTo>
                    <a:lnTo>
                      <a:pt x="139" y="903"/>
                    </a:lnTo>
                    <a:lnTo>
                      <a:pt x="144" y="902"/>
                    </a:lnTo>
                    <a:lnTo>
                      <a:pt x="154" y="894"/>
                    </a:lnTo>
                    <a:lnTo>
                      <a:pt x="167" y="892"/>
                    </a:lnTo>
                    <a:lnTo>
                      <a:pt x="170" y="884"/>
                    </a:lnTo>
                    <a:lnTo>
                      <a:pt x="174" y="884"/>
                    </a:lnTo>
                    <a:lnTo>
                      <a:pt x="175" y="882"/>
                    </a:lnTo>
                    <a:lnTo>
                      <a:pt x="178" y="882"/>
                    </a:lnTo>
                    <a:lnTo>
                      <a:pt x="181" y="883"/>
                    </a:lnTo>
                    <a:lnTo>
                      <a:pt x="185" y="889"/>
                    </a:lnTo>
                    <a:lnTo>
                      <a:pt x="187" y="892"/>
                    </a:lnTo>
                    <a:lnTo>
                      <a:pt x="194" y="898"/>
                    </a:lnTo>
                    <a:lnTo>
                      <a:pt x="198" y="897"/>
                    </a:lnTo>
                    <a:lnTo>
                      <a:pt x="201" y="893"/>
                    </a:lnTo>
                    <a:lnTo>
                      <a:pt x="209" y="892"/>
                    </a:lnTo>
                    <a:lnTo>
                      <a:pt x="215" y="888"/>
                    </a:lnTo>
                    <a:lnTo>
                      <a:pt x="219" y="886"/>
                    </a:lnTo>
                    <a:lnTo>
                      <a:pt x="223" y="882"/>
                    </a:lnTo>
                    <a:lnTo>
                      <a:pt x="245" y="875"/>
                    </a:lnTo>
                    <a:lnTo>
                      <a:pt x="251" y="875"/>
                    </a:lnTo>
                    <a:lnTo>
                      <a:pt x="260" y="875"/>
                    </a:lnTo>
                    <a:lnTo>
                      <a:pt x="267" y="871"/>
                    </a:lnTo>
                    <a:lnTo>
                      <a:pt x="291" y="871"/>
                    </a:lnTo>
                    <a:lnTo>
                      <a:pt x="293" y="870"/>
                    </a:lnTo>
                    <a:lnTo>
                      <a:pt x="294" y="864"/>
                    </a:lnTo>
                    <a:lnTo>
                      <a:pt x="296" y="861"/>
                    </a:lnTo>
                    <a:lnTo>
                      <a:pt x="301" y="860"/>
                    </a:lnTo>
                    <a:lnTo>
                      <a:pt x="306" y="857"/>
                    </a:lnTo>
                    <a:lnTo>
                      <a:pt x="309" y="849"/>
                    </a:lnTo>
                    <a:lnTo>
                      <a:pt x="314" y="845"/>
                    </a:lnTo>
                    <a:lnTo>
                      <a:pt x="316" y="841"/>
                    </a:lnTo>
                    <a:lnTo>
                      <a:pt x="314" y="834"/>
                    </a:lnTo>
                    <a:lnTo>
                      <a:pt x="307" y="829"/>
                    </a:lnTo>
                    <a:lnTo>
                      <a:pt x="307" y="827"/>
                    </a:lnTo>
                    <a:lnTo>
                      <a:pt x="309" y="823"/>
                    </a:lnTo>
                    <a:lnTo>
                      <a:pt x="311" y="822"/>
                    </a:lnTo>
                    <a:lnTo>
                      <a:pt x="321" y="818"/>
                    </a:lnTo>
                    <a:lnTo>
                      <a:pt x="332" y="817"/>
                    </a:lnTo>
                    <a:lnTo>
                      <a:pt x="352" y="817"/>
                    </a:lnTo>
                    <a:lnTo>
                      <a:pt x="354" y="814"/>
                    </a:lnTo>
                    <a:lnTo>
                      <a:pt x="364" y="813"/>
                    </a:lnTo>
                    <a:lnTo>
                      <a:pt x="371" y="811"/>
                    </a:lnTo>
                    <a:lnTo>
                      <a:pt x="379" y="811"/>
                    </a:lnTo>
                    <a:lnTo>
                      <a:pt x="384" y="813"/>
                    </a:lnTo>
                    <a:lnTo>
                      <a:pt x="391" y="810"/>
                    </a:lnTo>
                    <a:lnTo>
                      <a:pt x="393" y="807"/>
                    </a:lnTo>
                    <a:lnTo>
                      <a:pt x="398" y="800"/>
                    </a:lnTo>
                    <a:lnTo>
                      <a:pt x="404" y="798"/>
                    </a:lnTo>
                    <a:lnTo>
                      <a:pt x="417" y="792"/>
                    </a:lnTo>
                    <a:lnTo>
                      <a:pt x="420" y="789"/>
                    </a:lnTo>
                    <a:lnTo>
                      <a:pt x="424" y="779"/>
                    </a:lnTo>
                    <a:lnTo>
                      <a:pt x="440" y="763"/>
                    </a:lnTo>
                    <a:lnTo>
                      <a:pt x="445" y="762"/>
                    </a:lnTo>
                    <a:lnTo>
                      <a:pt x="449" y="759"/>
                    </a:lnTo>
                    <a:lnTo>
                      <a:pt x="455" y="749"/>
                    </a:lnTo>
                    <a:lnTo>
                      <a:pt x="462" y="747"/>
                    </a:lnTo>
                    <a:lnTo>
                      <a:pt x="462" y="731"/>
                    </a:lnTo>
                    <a:lnTo>
                      <a:pt x="467" y="720"/>
                    </a:lnTo>
                    <a:lnTo>
                      <a:pt x="473" y="715"/>
                    </a:lnTo>
                    <a:lnTo>
                      <a:pt x="479" y="712"/>
                    </a:lnTo>
                    <a:lnTo>
                      <a:pt x="495" y="711"/>
                    </a:lnTo>
                    <a:lnTo>
                      <a:pt x="504" y="708"/>
                    </a:lnTo>
                    <a:lnTo>
                      <a:pt x="515" y="705"/>
                    </a:lnTo>
                    <a:lnTo>
                      <a:pt x="524" y="701"/>
                    </a:lnTo>
                    <a:lnTo>
                      <a:pt x="524" y="693"/>
                    </a:lnTo>
                    <a:lnTo>
                      <a:pt x="521" y="684"/>
                    </a:lnTo>
                    <a:lnTo>
                      <a:pt x="518" y="679"/>
                    </a:lnTo>
                    <a:lnTo>
                      <a:pt x="511" y="676"/>
                    </a:lnTo>
                    <a:lnTo>
                      <a:pt x="510" y="674"/>
                    </a:lnTo>
                    <a:lnTo>
                      <a:pt x="498" y="640"/>
                    </a:lnTo>
                    <a:lnTo>
                      <a:pt x="493" y="624"/>
                    </a:lnTo>
                    <a:lnTo>
                      <a:pt x="494" y="608"/>
                    </a:lnTo>
                    <a:lnTo>
                      <a:pt x="478" y="612"/>
                    </a:lnTo>
                    <a:lnTo>
                      <a:pt x="473" y="613"/>
                    </a:lnTo>
                    <a:lnTo>
                      <a:pt x="470" y="613"/>
                    </a:lnTo>
                    <a:lnTo>
                      <a:pt x="470" y="597"/>
                    </a:lnTo>
                    <a:lnTo>
                      <a:pt x="471" y="592"/>
                    </a:lnTo>
                    <a:lnTo>
                      <a:pt x="477" y="581"/>
                    </a:lnTo>
                    <a:lnTo>
                      <a:pt x="479" y="572"/>
                    </a:lnTo>
                    <a:lnTo>
                      <a:pt x="479" y="558"/>
                    </a:lnTo>
                    <a:lnTo>
                      <a:pt x="481" y="548"/>
                    </a:lnTo>
                    <a:lnTo>
                      <a:pt x="484" y="544"/>
                    </a:lnTo>
                    <a:lnTo>
                      <a:pt x="492" y="539"/>
                    </a:lnTo>
                    <a:lnTo>
                      <a:pt x="493" y="538"/>
                    </a:lnTo>
                    <a:lnTo>
                      <a:pt x="494" y="533"/>
                    </a:lnTo>
                    <a:lnTo>
                      <a:pt x="493" y="525"/>
                    </a:lnTo>
                    <a:lnTo>
                      <a:pt x="493" y="512"/>
                    </a:lnTo>
                    <a:lnTo>
                      <a:pt x="509" y="494"/>
                    </a:lnTo>
                    <a:lnTo>
                      <a:pt x="521" y="477"/>
                    </a:lnTo>
                    <a:lnTo>
                      <a:pt x="525" y="466"/>
                    </a:lnTo>
                    <a:lnTo>
                      <a:pt x="526" y="455"/>
                    </a:lnTo>
                    <a:lnTo>
                      <a:pt x="529" y="446"/>
                    </a:lnTo>
                    <a:lnTo>
                      <a:pt x="530" y="445"/>
                    </a:lnTo>
                    <a:lnTo>
                      <a:pt x="542" y="443"/>
                    </a:lnTo>
                    <a:lnTo>
                      <a:pt x="551" y="442"/>
                    </a:lnTo>
                    <a:lnTo>
                      <a:pt x="580" y="442"/>
                    </a:lnTo>
                    <a:lnTo>
                      <a:pt x="586" y="441"/>
                    </a:lnTo>
                    <a:lnTo>
                      <a:pt x="588" y="392"/>
                    </a:lnTo>
                    <a:lnTo>
                      <a:pt x="588" y="337"/>
                    </a:lnTo>
                    <a:lnTo>
                      <a:pt x="588" y="283"/>
                    </a:lnTo>
                    <a:lnTo>
                      <a:pt x="588" y="227"/>
                    </a:lnTo>
                    <a:lnTo>
                      <a:pt x="579" y="226"/>
                    </a:lnTo>
                    <a:lnTo>
                      <a:pt x="532" y="202"/>
                    </a:lnTo>
                    <a:lnTo>
                      <a:pt x="486" y="178"/>
                    </a:lnTo>
                    <a:lnTo>
                      <a:pt x="438" y="154"/>
                    </a:lnTo>
                    <a:lnTo>
                      <a:pt x="391" y="129"/>
                    </a:lnTo>
                    <a:lnTo>
                      <a:pt x="344" y="104"/>
                    </a:lnTo>
                    <a:lnTo>
                      <a:pt x="298" y="79"/>
                    </a:lnTo>
                    <a:lnTo>
                      <a:pt x="251" y="54"/>
                    </a:lnTo>
                    <a:lnTo>
                      <a:pt x="204" y="30"/>
                    </a:lnTo>
                    <a:lnTo>
                      <a:pt x="158" y="5"/>
                    </a:lnTo>
                    <a:lnTo>
                      <a:pt x="147" y="0"/>
                    </a:lnTo>
                    <a:lnTo>
                      <a:pt x="97" y="17"/>
                    </a:lnTo>
                    <a:lnTo>
                      <a:pt x="91" y="20"/>
                    </a:lnTo>
                    <a:lnTo>
                      <a:pt x="91" y="10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48" name="Freeform 12">
                <a:extLst>
                  <a:ext uri="{FF2B5EF4-FFF2-40B4-BE49-F238E27FC236}">
                    <a16:creationId xmlns:a16="http://schemas.microsoft.com/office/drawing/2014/main" id="{7C1F790F-9EDB-AC69-3349-0C906D62274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916" y="2286"/>
                <a:ext cx="72" cy="65"/>
              </a:xfrm>
              <a:custGeom>
                <a:avLst/>
                <a:gdLst>
                  <a:gd name="T0" fmla="*/ 4 w 360"/>
                  <a:gd name="T1" fmla="*/ 1 h 324"/>
                  <a:gd name="T2" fmla="*/ 2 w 360"/>
                  <a:gd name="T3" fmla="*/ 2 h 324"/>
                  <a:gd name="T4" fmla="*/ 1 w 360"/>
                  <a:gd name="T5" fmla="*/ 2 h 324"/>
                  <a:gd name="T6" fmla="*/ 1 w 360"/>
                  <a:gd name="T7" fmla="*/ 4 h 324"/>
                  <a:gd name="T8" fmla="*/ 0 w 360"/>
                  <a:gd name="T9" fmla="*/ 7 h 324"/>
                  <a:gd name="T10" fmla="*/ 0 w 360"/>
                  <a:gd name="T11" fmla="*/ 9 h 324"/>
                  <a:gd name="T12" fmla="*/ 1 w 360"/>
                  <a:gd name="T13" fmla="*/ 9 h 324"/>
                  <a:gd name="T14" fmla="*/ 1 w 360"/>
                  <a:gd name="T15" fmla="*/ 9 h 324"/>
                  <a:gd name="T16" fmla="*/ 2 w 360"/>
                  <a:gd name="T17" fmla="*/ 9 h 324"/>
                  <a:gd name="T18" fmla="*/ 3 w 360"/>
                  <a:gd name="T19" fmla="*/ 7 h 324"/>
                  <a:gd name="T20" fmla="*/ 4 w 360"/>
                  <a:gd name="T21" fmla="*/ 8 h 324"/>
                  <a:gd name="T22" fmla="*/ 4 w 360"/>
                  <a:gd name="T23" fmla="*/ 8 h 324"/>
                  <a:gd name="T24" fmla="*/ 5 w 360"/>
                  <a:gd name="T25" fmla="*/ 8 h 324"/>
                  <a:gd name="T26" fmla="*/ 6 w 360"/>
                  <a:gd name="T27" fmla="*/ 8 h 324"/>
                  <a:gd name="T28" fmla="*/ 6 w 360"/>
                  <a:gd name="T29" fmla="*/ 8 h 324"/>
                  <a:gd name="T30" fmla="*/ 7 w 360"/>
                  <a:gd name="T31" fmla="*/ 8 h 324"/>
                  <a:gd name="T32" fmla="*/ 7 w 360"/>
                  <a:gd name="T33" fmla="*/ 8 h 324"/>
                  <a:gd name="T34" fmla="*/ 8 w 360"/>
                  <a:gd name="T35" fmla="*/ 8 h 324"/>
                  <a:gd name="T36" fmla="*/ 9 w 360"/>
                  <a:gd name="T37" fmla="*/ 9 h 324"/>
                  <a:gd name="T38" fmla="*/ 10 w 360"/>
                  <a:gd name="T39" fmla="*/ 10 h 324"/>
                  <a:gd name="T40" fmla="*/ 11 w 360"/>
                  <a:gd name="T41" fmla="*/ 11 h 324"/>
                  <a:gd name="T42" fmla="*/ 12 w 360"/>
                  <a:gd name="T43" fmla="*/ 12 h 324"/>
                  <a:gd name="T44" fmla="*/ 13 w 360"/>
                  <a:gd name="T45" fmla="*/ 13 h 324"/>
                  <a:gd name="T46" fmla="*/ 14 w 360"/>
                  <a:gd name="T47" fmla="*/ 12 h 324"/>
                  <a:gd name="T48" fmla="*/ 14 w 360"/>
                  <a:gd name="T49" fmla="*/ 12 h 324"/>
                  <a:gd name="T50" fmla="*/ 14 w 360"/>
                  <a:gd name="T51" fmla="*/ 11 h 324"/>
                  <a:gd name="T52" fmla="*/ 13 w 360"/>
                  <a:gd name="T53" fmla="*/ 11 h 324"/>
                  <a:gd name="T54" fmla="*/ 13 w 360"/>
                  <a:gd name="T55" fmla="*/ 10 h 324"/>
                  <a:gd name="T56" fmla="*/ 12 w 360"/>
                  <a:gd name="T57" fmla="*/ 10 h 324"/>
                  <a:gd name="T58" fmla="*/ 12 w 360"/>
                  <a:gd name="T59" fmla="*/ 10 h 324"/>
                  <a:gd name="T60" fmla="*/ 11 w 360"/>
                  <a:gd name="T61" fmla="*/ 10 h 324"/>
                  <a:gd name="T62" fmla="*/ 11 w 360"/>
                  <a:gd name="T63" fmla="*/ 8 h 324"/>
                  <a:gd name="T64" fmla="*/ 10 w 360"/>
                  <a:gd name="T65" fmla="*/ 8 h 324"/>
                  <a:gd name="T66" fmla="*/ 9 w 360"/>
                  <a:gd name="T67" fmla="*/ 7 h 324"/>
                  <a:gd name="T68" fmla="*/ 9 w 360"/>
                  <a:gd name="T69" fmla="*/ 7 h 324"/>
                  <a:gd name="T70" fmla="*/ 8 w 360"/>
                  <a:gd name="T71" fmla="*/ 7 h 324"/>
                  <a:gd name="T72" fmla="*/ 8 w 360"/>
                  <a:gd name="T73" fmla="*/ 7 h 324"/>
                  <a:gd name="T74" fmla="*/ 8 w 360"/>
                  <a:gd name="T75" fmla="*/ 6 h 324"/>
                  <a:gd name="T76" fmla="*/ 7 w 360"/>
                  <a:gd name="T77" fmla="*/ 6 h 324"/>
                  <a:gd name="T78" fmla="*/ 7 w 360"/>
                  <a:gd name="T79" fmla="*/ 7 h 324"/>
                  <a:gd name="T80" fmla="*/ 7 w 360"/>
                  <a:gd name="T81" fmla="*/ 7 h 324"/>
                  <a:gd name="T82" fmla="*/ 7 w 360"/>
                  <a:gd name="T83" fmla="*/ 6 h 324"/>
                  <a:gd name="T84" fmla="*/ 6 w 360"/>
                  <a:gd name="T85" fmla="*/ 6 h 324"/>
                  <a:gd name="T86" fmla="*/ 6 w 360"/>
                  <a:gd name="T87" fmla="*/ 5 h 324"/>
                  <a:gd name="T88" fmla="*/ 6 w 360"/>
                  <a:gd name="T89" fmla="*/ 4 h 324"/>
                  <a:gd name="T90" fmla="*/ 6 w 360"/>
                  <a:gd name="T91" fmla="*/ 3 h 324"/>
                  <a:gd name="T92" fmla="*/ 5 w 360"/>
                  <a:gd name="T93" fmla="*/ 2 h 324"/>
                  <a:gd name="T94" fmla="*/ 5 w 360"/>
                  <a:gd name="T95" fmla="*/ 1 h 324"/>
                  <a:gd name="T96" fmla="*/ 5 w 360"/>
                  <a:gd name="T97" fmla="*/ 0 h 324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360"/>
                  <a:gd name="T148" fmla="*/ 0 h 324"/>
                  <a:gd name="T149" fmla="*/ 360 w 360"/>
                  <a:gd name="T150" fmla="*/ 324 h 324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360" h="324">
                    <a:moveTo>
                      <a:pt x="109" y="0"/>
                    </a:moveTo>
                    <a:lnTo>
                      <a:pt x="107" y="9"/>
                    </a:lnTo>
                    <a:lnTo>
                      <a:pt x="100" y="24"/>
                    </a:lnTo>
                    <a:lnTo>
                      <a:pt x="87" y="30"/>
                    </a:lnTo>
                    <a:lnTo>
                      <a:pt x="79" y="33"/>
                    </a:lnTo>
                    <a:lnTo>
                      <a:pt x="58" y="43"/>
                    </a:lnTo>
                    <a:lnTo>
                      <a:pt x="53" y="50"/>
                    </a:lnTo>
                    <a:lnTo>
                      <a:pt x="44" y="55"/>
                    </a:lnTo>
                    <a:lnTo>
                      <a:pt x="31" y="56"/>
                    </a:lnTo>
                    <a:lnTo>
                      <a:pt x="27" y="65"/>
                    </a:lnTo>
                    <a:lnTo>
                      <a:pt x="23" y="86"/>
                    </a:lnTo>
                    <a:lnTo>
                      <a:pt x="23" y="94"/>
                    </a:lnTo>
                    <a:lnTo>
                      <a:pt x="20" y="115"/>
                    </a:lnTo>
                    <a:lnTo>
                      <a:pt x="11" y="149"/>
                    </a:lnTo>
                    <a:lnTo>
                      <a:pt x="4" y="163"/>
                    </a:lnTo>
                    <a:lnTo>
                      <a:pt x="0" y="180"/>
                    </a:lnTo>
                    <a:lnTo>
                      <a:pt x="0" y="200"/>
                    </a:lnTo>
                    <a:lnTo>
                      <a:pt x="3" y="216"/>
                    </a:lnTo>
                    <a:lnTo>
                      <a:pt x="5" y="217"/>
                    </a:lnTo>
                    <a:lnTo>
                      <a:pt x="20" y="217"/>
                    </a:lnTo>
                    <a:lnTo>
                      <a:pt x="23" y="219"/>
                    </a:lnTo>
                    <a:lnTo>
                      <a:pt x="27" y="219"/>
                    </a:lnTo>
                    <a:lnTo>
                      <a:pt x="30" y="216"/>
                    </a:lnTo>
                    <a:lnTo>
                      <a:pt x="31" y="213"/>
                    </a:lnTo>
                    <a:lnTo>
                      <a:pt x="34" y="210"/>
                    </a:lnTo>
                    <a:lnTo>
                      <a:pt x="42" y="210"/>
                    </a:lnTo>
                    <a:lnTo>
                      <a:pt x="47" y="215"/>
                    </a:lnTo>
                    <a:lnTo>
                      <a:pt x="47" y="218"/>
                    </a:lnTo>
                    <a:lnTo>
                      <a:pt x="55" y="228"/>
                    </a:lnTo>
                    <a:lnTo>
                      <a:pt x="75" y="184"/>
                    </a:lnTo>
                    <a:lnTo>
                      <a:pt x="79" y="189"/>
                    </a:lnTo>
                    <a:lnTo>
                      <a:pt x="85" y="195"/>
                    </a:lnTo>
                    <a:lnTo>
                      <a:pt x="92" y="195"/>
                    </a:lnTo>
                    <a:lnTo>
                      <a:pt x="95" y="196"/>
                    </a:lnTo>
                    <a:lnTo>
                      <a:pt x="95" y="199"/>
                    </a:lnTo>
                    <a:lnTo>
                      <a:pt x="103" y="210"/>
                    </a:lnTo>
                    <a:lnTo>
                      <a:pt x="112" y="210"/>
                    </a:lnTo>
                    <a:lnTo>
                      <a:pt x="116" y="208"/>
                    </a:lnTo>
                    <a:lnTo>
                      <a:pt x="129" y="206"/>
                    </a:lnTo>
                    <a:lnTo>
                      <a:pt x="135" y="201"/>
                    </a:lnTo>
                    <a:lnTo>
                      <a:pt x="135" y="197"/>
                    </a:lnTo>
                    <a:lnTo>
                      <a:pt x="140" y="197"/>
                    </a:lnTo>
                    <a:lnTo>
                      <a:pt x="145" y="202"/>
                    </a:lnTo>
                    <a:lnTo>
                      <a:pt x="148" y="208"/>
                    </a:lnTo>
                    <a:lnTo>
                      <a:pt x="150" y="208"/>
                    </a:lnTo>
                    <a:lnTo>
                      <a:pt x="151" y="207"/>
                    </a:lnTo>
                    <a:lnTo>
                      <a:pt x="159" y="206"/>
                    </a:lnTo>
                    <a:lnTo>
                      <a:pt x="163" y="202"/>
                    </a:lnTo>
                    <a:lnTo>
                      <a:pt x="167" y="202"/>
                    </a:lnTo>
                    <a:lnTo>
                      <a:pt x="172" y="206"/>
                    </a:lnTo>
                    <a:lnTo>
                      <a:pt x="182" y="206"/>
                    </a:lnTo>
                    <a:lnTo>
                      <a:pt x="184" y="210"/>
                    </a:lnTo>
                    <a:lnTo>
                      <a:pt x="187" y="210"/>
                    </a:lnTo>
                    <a:lnTo>
                      <a:pt x="189" y="208"/>
                    </a:lnTo>
                    <a:lnTo>
                      <a:pt x="202" y="207"/>
                    </a:lnTo>
                    <a:lnTo>
                      <a:pt x="214" y="218"/>
                    </a:lnTo>
                    <a:lnTo>
                      <a:pt x="224" y="223"/>
                    </a:lnTo>
                    <a:lnTo>
                      <a:pt x="231" y="224"/>
                    </a:lnTo>
                    <a:lnTo>
                      <a:pt x="243" y="235"/>
                    </a:lnTo>
                    <a:lnTo>
                      <a:pt x="251" y="246"/>
                    </a:lnTo>
                    <a:lnTo>
                      <a:pt x="256" y="255"/>
                    </a:lnTo>
                    <a:lnTo>
                      <a:pt x="273" y="267"/>
                    </a:lnTo>
                    <a:lnTo>
                      <a:pt x="285" y="277"/>
                    </a:lnTo>
                    <a:lnTo>
                      <a:pt x="291" y="283"/>
                    </a:lnTo>
                    <a:lnTo>
                      <a:pt x="294" y="292"/>
                    </a:lnTo>
                    <a:lnTo>
                      <a:pt x="297" y="299"/>
                    </a:lnTo>
                    <a:lnTo>
                      <a:pt x="306" y="303"/>
                    </a:lnTo>
                    <a:lnTo>
                      <a:pt x="313" y="309"/>
                    </a:lnTo>
                    <a:lnTo>
                      <a:pt x="317" y="316"/>
                    </a:lnTo>
                    <a:lnTo>
                      <a:pt x="323" y="324"/>
                    </a:lnTo>
                    <a:lnTo>
                      <a:pt x="328" y="318"/>
                    </a:lnTo>
                    <a:lnTo>
                      <a:pt x="343" y="310"/>
                    </a:lnTo>
                    <a:lnTo>
                      <a:pt x="360" y="299"/>
                    </a:lnTo>
                    <a:lnTo>
                      <a:pt x="356" y="293"/>
                    </a:lnTo>
                    <a:lnTo>
                      <a:pt x="350" y="296"/>
                    </a:lnTo>
                    <a:lnTo>
                      <a:pt x="344" y="292"/>
                    </a:lnTo>
                    <a:lnTo>
                      <a:pt x="342" y="289"/>
                    </a:lnTo>
                    <a:lnTo>
                      <a:pt x="340" y="282"/>
                    </a:lnTo>
                    <a:lnTo>
                      <a:pt x="339" y="281"/>
                    </a:lnTo>
                    <a:lnTo>
                      <a:pt x="331" y="280"/>
                    </a:lnTo>
                    <a:lnTo>
                      <a:pt x="326" y="277"/>
                    </a:lnTo>
                    <a:lnTo>
                      <a:pt x="324" y="274"/>
                    </a:lnTo>
                    <a:lnTo>
                      <a:pt x="322" y="264"/>
                    </a:lnTo>
                    <a:lnTo>
                      <a:pt x="318" y="261"/>
                    </a:lnTo>
                    <a:lnTo>
                      <a:pt x="317" y="256"/>
                    </a:lnTo>
                    <a:lnTo>
                      <a:pt x="311" y="255"/>
                    </a:lnTo>
                    <a:lnTo>
                      <a:pt x="307" y="253"/>
                    </a:lnTo>
                    <a:lnTo>
                      <a:pt x="302" y="243"/>
                    </a:lnTo>
                    <a:lnTo>
                      <a:pt x="301" y="240"/>
                    </a:lnTo>
                    <a:lnTo>
                      <a:pt x="296" y="242"/>
                    </a:lnTo>
                    <a:lnTo>
                      <a:pt x="291" y="239"/>
                    </a:lnTo>
                    <a:lnTo>
                      <a:pt x="289" y="239"/>
                    </a:lnTo>
                    <a:lnTo>
                      <a:pt x="286" y="237"/>
                    </a:lnTo>
                    <a:lnTo>
                      <a:pt x="286" y="232"/>
                    </a:lnTo>
                    <a:lnTo>
                      <a:pt x="279" y="223"/>
                    </a:lnTo>
                    <a:lnTo>
                      <a:pt x="264" y="201"/>
                    </a:lnTo>
                    <a:lnTo>
                      <a:pt x="256" y="196"/>
                    </a:lnTo>
                    <a:lnTo>
                      <a:pt x="246" y="196"/>
                    </a:lnTo>
                    <a:lnTo>
                      <a:pt x="240" y="192"/>
                    </a:lnTo>
                    <a:lnTo>
                      <a:pt x="236" y="192"/>
                    </a:lnTo>
                    <a:lnTo>
                      <a:pt x="232" y="189"/>
                    </a:lnTo>
                    <a:lnTo>
                      <a:pt x="229" y="181"/>
                    </a:lnTo>
                    <a:lnTo>
                      <a:pt x="226" y="179"/>
                    </a:lnTo>
                    <a:lnTo>
                      <a:pt x="221" y="176"/>
                    </a:lnTo>
                    <a:lnTo>
                      <a:pt x="215" y="176"/>
                    </a:lnTo>
                    <a:lnTo>
                      <a:pt x="213" y="180"/>
                    </a:lnTo>
                    <a:lnTo>
                      <a:pt x="209" y="181"/>
                    </a:lnTo>
                    <a:lnTo>
                      <a:pt x="205" y="179"/>
                    </a:lnTo>
                    <a:lnTo>
                      <a:pt x="199" y="170"/>
                    </a:lnTo>
                    <a:lnTo>
                      <a:pt x="195" y="165"/>
                    </a:lnTo>
                    <a:lnTo>
                      <a:pt x="194" y="162"/>
                    </a:lnTo>
                    <a:lnTo>
                      <a:pt x="197" y="157"/>
                    </a:lnTo>
                    <a:lnTo>
                      <a:pt x="195" y="154"/>
                    </a:lnTo>
                    <a:lnTo>
                      <a:pt x="192" y="153"/>
                    </a:lnTo>
                    <a:lnTo>
                      <a:pt x="188" y="149"/>
                    </a:lnTo>
                    <a:lnTo>
                      <a:pt x="184" y="151"/>
                    </a:lnTo>
                    <a:lnTo>
                      <a:pt x="182" y="153"/>
                    </a:lnTo>
                    <a:lnTo>
                      <a:pt x="182" y="158"/>
                    </a:lnTo>
                    <a:lnTo>
                      <a:pt x="186" y="162"/>
                    </a:lnTo>
                    <a:lnTo>
                      <a:pt x="184" y="168"/>
                    </a:lnTo>
                    <a:lnTo>
                      <a:pt x="182" y="168"/>
                    </a:lnTo>
                    <a:lnTo>
                      <a:pt x="177" y="165"/>
                    </a:lnTo>
                    <a:lnTo>
                      <a:pt x="176" y="163"/>
                    </a:lnTo>
                    <a:lnTo>
                      <a:pt x="176" y="158"/>
                    </a:lnTo>
                    <a:lnTo>
                      <a:pt x="173" y="156"/>
                    </a:lnTo>
                    <a:lnTo>
                      <a:pt x="171" y="145"/>
                    </a:lnTo>
                    <a:lnTo>
                      <a:pt x="170" y="143"/>
                    </a:lnTo>
                    <a:lnTo>
                      <a:pt x="165" y="142"/>
                    </a:lnTo>
                    <a:lnTo>
                      <a:pt x="162" y="141"/>
                    </a:lnTo>
                    <a:lnTo>
                      <a:pt x="162" y="137"/>
                    </a:lnTo>
                    <a:lnTo>
                      <a:pt x="160" y="136"/>
                    </a:lnTo>
                    <a:lnTo>
                      <a:pt x="160" y="129"/>
                    </a:lnTo>
                    <a:lnTo>
                      <a:pt x="154" y="125"/>
                    </a:lnTo>
                    <a:lnTo>
                      <a:pt x="150" y="120"/>
                    </a:lnTo>
                    <a:lnTo>
                      <a:pt x="145" y="104"/>
                    </a:lnTo>
                    <a:lnTo>
                      <a:pt x="144" y="94"/>
                    </a:lnTo>
                    <a:lnTo>
                      <a:pt x="141" y="84"/>
                    </a:lnTo>
                    <a:lnTo>
                      <a:pt x="139" y="68"/>
                    </a:lnTo>
                    <a:lnTo>
                      <a:pt x="138" y="63"/>
                    </a:lnTo>
                    <a:lnTo>
                      <a:pt x="134" y="49"/>
                    </a:lnTo>
                    <a:lnTo>
                      <a:pt x="132" y="38"/>
                    </a:lnTo>
                    <a:lnTo>
                      <a:pt x="130" y="30"/>
                    </a:lnTo>
                    <a:lnTo>
                      <a:pt x="125" y="20"/>
                    </a:lnTo>
                    <a:lnTo>
                      <a:pt x="120" y="16"/>
                    </a:lnTo>
                    <a:lnTo>
                      <a:pt x="118" y="8"/>
                    </a:lnTo>
                    <a:lnTo>
                      <a:pt x="114" y="1"/>
                    </a:lnTo>
                    <a:lnTo>
                      <a:pt x="113" y="0"/>
                    </a:lnTo>
                    <a:lnTo>
                      <a:pt x="109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49" name="Freeform 13">
                <a:extLst>
                  <a:ext uri="{FF2B5EF4-FFF2-40B4-BE49-F238E27FC236}">
                    <a16:creationId xmlns:a16="http://schemas.microsoft.com/office/drawing/2014/main" id="{291E3916-6456-FD4C-6395-58D0028CD13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83" y="2205"/>
                <a:ext cx="178" cy="170"/>
              </a:xfrm>
              <a:custGeom>
                <a:avLst/>
                <a:gdLst>
                  <a:gd name="T0" fmla="*/ 29 w 891"/>
                  <a:gd name="T1" fmla="*/ 10 h 851"/>
                  <a:gd name="T2" fmla="*/ 30 w 891"/>
                  <a:gd name="T3" fmla="*/ 10 h 851"/>
                  <a:gd name="T4" fmla="*/ 31 w 891"/>
                  <a:gd name="T5" fmla="*/ 11 h 851"/>
                  <a:gd name="T6" fmla="*/ 32 w 891"/>
                  <a:gd name="T7" fmla="*/ 12 h 851"/>
                  <a:gd name="T8" fmla="*/ 34 w 891"/>
                  <a:gd name="T9" fmla="*/ 12 h 851"/>
                  <a:gd name="T10" fmla="*/ 34 w 891"/>
                  <a:gd name="T11" fmla="*/ 13 h 851"/>
                  <a:gd name="T12" fmla="*/ 34 w 891"/>
                  <a:gd name="T13" fmla="*/ 13 h 851"/>
                  <a:gd name="T14" fmla="*/ 34 w 891"/>
                  <a:gd name="T15" fmla="*/ 14 h 851"/>
                  <a:gd name="T16" fmla="*/ 36 w 891"/>
                  <a:gd name="T17" fmla="*/ 14 h 851"/>
                  <a:gd name="T18" fmla="*/ 36 w 891"/>
                  <a:gd name="T19" fmla="*/ 21 h 851"/>
                  <a:gd name="T20" fmla="*/ 34 w 891"/>
                  <a:gd name="T21" fmla="*/ 22 h 851"/>
                  <a:gd name="T22" fmla="*/ 33 w 891"/>
                  <a:gd name="T23" fmla="*/ 22 h 851"/>
                  <a:gd name="T24" fmla="*/ 27 w 891"/>
                  <a:gd name="T25" fmla="*/ 23 h 851"/>
                  <a:gd name="T26" fmla="*/ 22 w 891"/>
                  <a:gd name="T27" fmla="*/ 25 h 851"/>
                  <a:gd name="T28" fmla="*/ 19 w 891"/>
                  <a:gd name="T29" fmla="*/ 27 h 851"/>
                  <a:gd name="T30" fmla="*/ 18 w 891"/>
                  <a:gd name="T31" fmla="*/ 29 h 851"/>
                  <a:gd name="T32" fmla="*/ 16 w 891"/>
                  <a:gd name="T33" fmla="*/ 31 h 851"/>
                  <a:gd name="T34" fmla="*/ 15 w 891"/>
                  <a:gd name="T35" fmla="*/ 33 h 851"/>
                  <a:gd name="T36" fmla="*/ 14 w 891"/>
                  <a:gd name="T37" fmla="*/ 33 h 851"/>
                  <a:gd name="T38" fmla="*/ 13 w 891"/>
                  <a:gd name="T39" fmla="*/ 34 h 851"/>
                  <a:gd name="T40" fmla="*/ 13 w 891"/>
                  <a:gd name="T41" fmla="*/ 33 h 851"/>
                  <a:gd name="T42" fmla="*/ 12 w 891"/>
                  <a:gd name="T43" fmla="*/ 33 h 851"/>
                  <a:gd name="T44" fmla="*/ 12 w 891"/>
                  <a:gd name="T45" fmla="*/ 33 h 851"/>
                  <a:gd name="T46" fmla="*/ 11 w 891"/>
                  <a:gd name="T47" fmla="*/ 34 h 851"/>
                  <a:gd name="T48" fmla="*/ 11 w 891"/>
                  <a:gd name="T49" fmla="*/ 34 h 851"/>
                  <a:gd name="T50" fmla="*/ 10 w 891"/>
                  <a:gd name="T51" fmla="*/ 33 h 851"/>
                  <a:gd name="T52" fmla="*/ 10 w 891"/>
                  <a:gd name="T53" fmla="*/ 34 h 851"/>
                  <a:gd name="T54" fmla="*/ 9 w 891"/>
                  <a:gd name="T55" fmla="*/ 34 h 851"/>
                  <a:gd name="T56" fmla="*/ 8 w 891"/>
                  <a:gd name="T57" fmla="*/ 32 h 851"/>
                  <a:gd name="T58" fmla="*/ 8 w 891"/>
                  <a:gd name="T59" fmla="*/ 32 h 851"/>
                  <a:gd name="T60" fmla="*/ 8 w 891"/>
                  <a:gd name="T61" fmla="*/ 32 h 851"/>
                  <a:gd name="T62" fmla="*/ 8 w 891"/>
                  <a:gd name="T63" fmla="*/ 31 h 851"/>
                  <a:gd name="T64" fmla="*/ 7 w 891"/>
                  <a:gd name="T65" fmla="*/ 31 h 851"/>
                  <a:gd name="T66" fmla="*/ 7 w 891"/>
                  <a:gd name="T67" fmla="*/ 29 h 851"/>
                  <a:gd name="T68" fmla="*/ 7 w 891"/>
                  <a:gd name="T69" fmla="*/ 29 h 851"/>
                  <a:gd name="T70" fmla="*/ 6 w 891"/>
                  <a:gd name="T71" fmla="*/ 29 h 851"/>
                  <a:gd name="T72" fmla="*/ 5 w 891"/>
                  <a:gd name="T73" fmla="*/ 30 h 851"/>
                  <a:gd name="T74" fmla="*/ 4 w 891"/>
                  <a:gd name="T75" fmla="*/ 29 h 851"/>
                  <a:gd name="T76" fmla="*/ 3 w 891"/>
                  <a:gd name="T77" fmla="*/ 30 h 851"/>
                  <a:gd name="T78" fmla="*/ 2 w 891"/>
                  <a:gd name="T79" fmla="*/ 30 h 851"/>
                  <a:gd name="T80" fmla="*/ 2 w 891"/>
                  <a:gd name="T81" fmla="*/ 29 h 851"/>
                  <a:gd name="T82" fmla="*/ 2 w 891"/>
                  <a:gd name="T83" fmla="*/ 29 h 851"/>
                  <a:gd name="T84" fmla="*/ 2 w 891"/>
                  <a:gd name="T85" fmla="*/ 28 h 851"/>
                  <a:gd name="T86" fmla="*/ 1 w 891"/>
                  <a:gd name="T87" fmla="*/ 27 h 851"/>
                  <a:gd name="T88" fmla="*/ 1 w 891"/>
                  <a:gd name="T89" fmla="*/ 27 h 851"/>
                  <a:gd name="T90" fmla="*/ 0 w 891"/>
                  <a:gd name="T91" fmla="*/ 26 h 851"/>
                  <a:gd name="T92" fmla="*/ 0 w 891"/>
                  <a:gd name="T93" fmla="*/ 25 h 851"/>
                  <a:gd name="T94" fmla="*/ 0 w 891"/>
                  <a:gd name="T95" fmla="*/ 24 h 851"/>
                  <a:gd name="T96" fmla="*/ 1 w 891"/>
                  <a:gd name="T97" fmla="*/ 22 h 851"/>
                  <a:gd name="T98" fmla="*/ 2 w 891"/>
                  <a:gd name="T99" fmla="*/ 21 h 851"/>
                  <a:gd name="T100" fmla="*/ 3 w 891"/>
                  <a:gd name="T101" fmla="*/ 23 h 851"/>
                  <a:gd name="T102" fmla="*/ 14 w 891"/>
                  <a:gd name="T103" fmla="*/ 22 h 851"/>
                  <a:gd name="T104" fmla="*/ 14 w 891"/>
                  <a:gd name="T105" fmla="*/ 16 h 851"/>
                  <a:gd name="T106" fmla="*/ 13 w 891"/>
                  <a:gd name="T107" fmla="*/ 5 h 851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891"/>
                  <a:gd name="T163" fmla="*/ 0 h 851"/>
                  <a:gd name="T164" fmla="*/ 891 w 891"/>
                  <a:gd name="T165" fmla="*/ 851 h 851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891" h="851">
                    <a:moveTo>
                      <a:pt x="462" y="44"/>
                    </a:moveTo>
                    <a:lnTo>
                      <a:pt x="724" y="226"/>
                    </a:lnTo>
                    <a:lnTo>
                      <a:pt x="724" y="231"/>
                    </a:lnTo>
                    <a:lnTo>
                      <a:pt x="728" y="234"/>
                    </a:lnTo>
                    <a:lnTo>
                      <a:pt x="727" y="243"/>
                    </a:lnTo>
                    <a:lnTo>
                      <a:pt x="728" y="247"/>
                    </a:lnTo>
                    <a:lnTo>
                      <a:pt x="734" y="250"/>
                    </a:lnTo>
                    <a:lnTo>
                      <a:pt x="742" y="252"/>
                    </a:lnTo>
                    <a:lnTo>
                      <a:pt x="753" y="258"/>
                    </a:lnTo>
                    <a:lnTo>
                      <a:pt x="755" y="259"/>
                    </a:lnTo>
                    <a:lnTo>
                      <a:pt x="756" y="265"/>
                    </a:lnTo>
                    <a:lnTo>
                      <a:pt x="758" y="270"/>
                    </a:lnTo>
                    <a:lnTo>
                      <a:pt x="765" y="276"/>
                    </a:lnTo>
                    <a:lnTo>
                      <a:pt x="770" y="279"/>
                    </a:lnTo>
                    <a:lnTo>
                      <a:pt x="780" y="281"/>
                    </a:lnTo>
                    <a:lnTo>
                      <a:pt x="788" y="280"/>
                    </a:lnTo>
                    <a:lnTo>
                      <a:pt x="791" y="281"/>
                    </a:lnTo>
                    <a:lnTo>
                      <a:pt x="794" y="288"/>
                    </a:lnTo>
                    <a:lnTo>
                      <a:pt x="798" y="291"/>
                    </a:lnTo>
                    <a:lnTo>
                      <a:pt x="809" y="291"/>
                    </a:lnTo>
                    <a:lnTo>
                      <a:pt x="813" y="293"/>
                    </a:lnTo>
                    <a:lnTo>
                      <a:pt x="818" y="293"/>
                    </a:lnTo>
                    <a:lnTo>
                      <a:pt x="826" y="298"/>
                    </a:lnTo>
                    <a:lnTo>
                      <a:pt x="835" y="301"/>
                    </a:lnTo>
                    <a:lnTo>
                      <a:pt x="839" y="303"/>
                    </a:lnTo>
                    <a:lnTo>
                      <a:pt x="840" y="307"/>
                    </a:lnTo>
                    <a:lnTo>
                      <a:pt x="841" y="307"/>
                    </a:lnTo>
                    <a:lnTo>
                      <a:pt x="842" y="313"/>
                    </a:lnTo>
                    <a:lnTo>
                      <a:pt x="841" y="315"/>
                    </a:lnTo>
                    <a:lnTo>
                      <a:pt x="841" y="319"/>
                    </a:lnTo>
                    <a:lnTo>
                      <a:pt x="844" y="324"/>
                    </a:lnTo>
                    <a:lnTo>
                      <a:pt x="844" y="325"/>
                    </a:lnTo>
                    <a:lnTo>
                      <a:pt x="840" y="328"/>
                    </a:lnTo>
                    <a:lnTo>
                      <a:pt x="839" y="330"/>
                    </a:lnTo>
                    <a:lnTo>
                      <a:pt x="840" y="336"/>
                    </a:lnTo>
                    <a:lnTo>
                      <a:pt x="837" y="341"/>
                    </a:lnTo>
                    <a:lnTo>
                      <a:pt x="837" y="346"/>
                    </a:lnTo>
                    <a:lnTo>
                      <a:pt x="845" y="355"/>
                    </a:lnTo>
                    <a:lnTo>
                      <a:pt x="851" y="356"/>
                    </a:lnTo>
                    <a:lnTo>
                      <a:pt x="858" y="356"/>
                    </a:lnTo>
                    <a:lnTo>
                      <a:pt x="867" y="351"/>
                    </a:lnTo>
                    <a:lnTo>
                      <a:pt x="875" y="351"/>
                    </a:lnTo>
                    <a:lnTo>
                      <a:pt x="885" y="346"/>
                    </a:lnTo>
                    <a:lnTo>
                      <a:pt x="890" y="344"/>
                    </a:lnTo>
                    <a:lnTo>
                      <a:pt x="890" y="346"/>
                    </a:lnTo>
                    <a:lnTo>
                      <a:pt x="891" y="347"/>
                    </a:lnTo>
                    <a:lnTo>
                      <a:pt x="891" y="358"/>
                    </a:lnTo>
                    <a:lnTo>
                      <a:pt x="891" y="414"/>
                    </a:lnTo>
                    <a:lnTo>
                      <a:pt x="891" y="468"/>
                    </a:lnTo>
                    <a:lnTo>
                      <a:pt x="891" y="522"/>
                    </a:lnTo>
                    <a:lnTo>
                      <a:pt x="888" y="523"/>
                    </a:lnTo>
                    <a:lnTo>
                      <a:pt x="878" y="529"/>
                    </a:lnTo>
                    <a:lnTo>
                      <a:pt x="874" y="535"/>
                    </a:lnTo>
                    <a:lnTo>
                      <a:pt x="873" y="543"/>
                    </a:lnTo>
                    <a:lnTo>
                      <a:pt x="861" y="550"/>
                    </a:lnTo>
                    <a:lnTo>
                      <a:pt x="857" y="553"/>
                    </a:lnTo>
                    <a:lnTo>
                      <a:pt x="855" y="556"/>
                    </a:lnTo>
                    <a:lnTo>
                      <a:pt x="855" y="561"/>
                    </a:lnTo>
                    <a:lnTo>
                      <a:pt x="842" y="560"/>
                    </a:lnTo>
                    <a:lnTo>
                      <a:pt x="829" y="559"/>
                    </a:lnTo>
                    <a:lnTo>
                      <a:pt x="829" y="562"/>
                    </a:lnTo>
                    <a:lnTo>
                      <a:pt x="824" y="561"/>
                    </a:lnTo>
                    <a:lnTo>
                      <a:pt x="735" y="562"/>
                    </a:lnTo>
                    <a:lnTo>
                      <a:pt x="711" y="582"/>
                    </a:lnTo>
                    <a:lnTo>
                      <a:pt x="674" y="582"/>
                    </a:lnTo>
                    <a:lnTo>
                      <a:pt x="641" y="583"/>
                    </a:lnTo>
                    <a:lnTo>
                      <a:pt x="621" y="591"/>
                    </a:lnTo>
                    <a:lnTo>
                      <a:pt x="613" y="594"/>
                    </a:lnTo>
                    <a:lnTo>
                      <a:pt x="598" y="607"/>
                    </a:lnTo>
                    <a:lnTo>
                      <a:pt x="561" y="631"/>
                    </a:lnTo>
                    <a:lnTo>
                      <a:pt x="549" y="647"/>
                    </a:lnTo>
                    <a:lnTo>
                      <a:pt x="530" y="661"/>
                    </a:lnTo>
                    <a:lnTo>
                      <a:pt x="492" y="673"/>
                    </a:lnTo>
                    <a:lnTo>
                      <a:pt x="480" y="675"/>
                    </a:lnTo>
                    <a:lnTo>
                      <a:pt x="468" y="677"/>
                    </a:lnTo>
                    <a:lnTo>
                      <a:pt x="462" y="678"/>
                    </a:lnTo>
                    <a:lnTo>
                      <a:pt x="453" y="684"/>
                    </a:lnTo>
                    <a:lnTo>
                      <a:pt x="448" y="690"/>
                    </a:lnTo>
                    <a:lnTo>
                      <a:pt x="443" y="701"/>
                    </a:lnTo>
                    <a:lnTo>
                      <a:pt x="439" y="716"/>
                    </a:lnTo>
                    <a:lnTo>
                      <a:pt x="432" y="734"/>
                    </a:lnTo>
                    <a:lnTo>
                      <a:pt x="425" y="744"/>
                    </a:lnTo>
                    <a:lnTo>
                      <a:pt x="409" y="756"/>
                    </a:lnTo>
                    <a:lnTo>
                      <a:pt x="399" y="765"/>
                    </a:lnTo>
                    <a:lnTo>
                      <a:pt x="395" y="770"/>
                    </a:lnTo>
                    <a:lnTo>
                      <a:pt x="390" y="779"/>
                    </a:lnTo>
                    <a:lnTo>
                      <a:pt x="389" y="788"/>
                    </a:lnTo>
                    <a:lnTo>
                      <a:pt x="380" y="806"/>
                    </a:lnTo>
                    <a:lnTo>
                      <a:pt x="379" y="817"/>
                    </a:lnTo>
                    <a:lnTo>
                      <a:pt x="379" y="830"/>
                    </a:lnTo>
                    <a:lnTo>
                      <a:pt x="380" y="841"/>
                    </a:lnTo>
                    <a:lnTo>
                      <a:pt x="369" y="844"/>
                    </a:lnTo>
                    <a:lnTo>
                      <a:pt x="367" y="842"/>
                    </a:lnTo>
                    <a:lnTo>
                      <a:pt x="363" y="836"/>
                    </a:lnTo>
                    <a:lnTo>
                      <a:pt x="361" y="835"/>
                    </a:lnTo>
                    <a:lnTo>
                      <a:pt x="350" y="835"/>
                    </a:lnTo>
                    <a:lnTo>
                      <a:pt x="346" y="836"/>
                    </a:lnTo>
                    <a:lnTo>
                      <a:pt x="344" y="842"/>
                    </a:lnTo>
                    <a:lnTo>
                      <a:pt x="340" y="842"/>
                    </a:lnTo>
                    <a:lnTo>
                      <a:pt x="336" y="846"/>
                    </a:lnTo>
                    <a:lnTo>
                      <a:pt x="326" y="846"/>
                    </a:lnTo>
                    <a:lnTo>
                      <a:pt x="328" y="844"/>
                    </a:lnTo>
                    <a:lnTo>
                      <a:pt x="326" y="833"/>
                    </a:lnTo>
                    <a:lnTo>
                      <a:pt x="325" y="829"/>
                    </a:lnTo>
                    <a:lnTo>
                      <a:pt x="325" y="828"/>
                    </a:lnTo>
                    <a:lnTo>
                      <a:pt x="325" y="823"/>
                    </a:lnTo>
                    <a:lnTo>
                      <a:pt x="323" y="819"/>
                    </a:lnTo>
                    <a:lnTo>
                      <a:pt x="320" y="820"/>
                    </a:lnTo>
                    <a:lnTo>
                      <a:pt x="314" y="820"/>
                    </a:lnTo>
                    <a:lnTo>
                      <a:pt x="312" y="828"/>
                    </a:lnTo>
                    <a:lnTo>
                      <a:pt x="310" y="828"/>
                    </a:lnTo>
                    <a:lnTo>
                      <a:pt x="304" y="824"/>
                    </a:lnTo>
                    <a:lnTo>
                      <a:pt x="302" y="824"/>
                    </a:lnTo>
                    <a:lnTo>
                      <a:pt x="299" y="828"/>
                    </a:lnTo>
                    <a:lnTo>
                      <a:pt x="299" y="831"/>
                    </a:lnTo>
                    <a:lnTo>
                      <a:pt x="301" y="837"/>
                    </a:lnTo>
                    <a:lnTo>
                      <a:pt x="299" y="840"/>
                    </a:lnTo>
                    <a:lnTo>
                      <a:pt x="288" y="840"/>
                    </a:lnTo>
                    <a:lnTo>
                      <a:pt x="282" y="842"/>
                    </a:lnTo>
                    <a:lnTo>
                      <a:pt x="282" y="846"/>
                    </a:lnTo>
                    <a:lnTo>
                      <a:pt x="280" y="851"/>
                    </a:lnTo>
                    <a:lnTo>
                      <a:pt x="276" y="851"/>
                    </a:lnTo>
                    <a:lnTo>
                      <a:pt x="272" y="849"/>
                    </a:lnTo>
                    <a:lnTo>
                      <a:pt x="269" y="844"/>
                    </a:lnTo>
                    <a:lnTo>
                      <a:pt x="266" y="844"/>
                    </a:lnTo>
                    <a:lnTo>
                      <a:pt x="264" y="845"/>
                    </a:lnTo>
                    <a:lnTo>
                      <a:pt x="262" y="846"/>
                    </a:lnTo>
                    <a:lnTo>
                      <a:pt x="261" y="846"/>
                    </a:lnTo>
                    <a:lnTo>
                      <a:pt x="260" y="840"/>
                    </a:lnTo>
                    <a:lnTo>
                      <a:pt x="256" y="835"/>
                    </a:lnTo>
                    <a:lnTo>
                      <a:pt x="253" y="834"/>
                    </a:lnTo>
                    <a:lnTo>
                      <a:pt x="249" y="837"/>
                    </a:lnTo>
                    <a:lnTo>
                      <a:pt x="244" y="836"/>
                    </a:lnTo>
                    <a:lnTo>
                      <a:pt x="242" y="837"/>
                    </a:lnTo>
                    <a:lnTo>
                      <a:pt x="239" y="840"/>
                    </a:lnTo>
                    <a:lnTo>
                      <a:pt x="238" y="844"/>
                    </a:lnTo>
                    <a:lnTo>
                      <a:pt x="235" y="847"/>
                    </a:lnTo>
                    <a:lnTo>
                      <a:pt x="229" y="849"/>
                    </a:lnTo>
                    <a:lnTo>
                      <a:pt x="229" y="846"/>
                    </a:lnTo>
                    <a:lnTo>
                      <a:pt x="227" y="842"/>
                    </a:lnTo>
                    <a:lnTo>
                      <a:pt x="222" y="840"/>
                    </a:lnTo>
                    <a:lnTo>
                      <a:pt x="220" y="835"/>
                    </a:lnTo>
                    <a:lnTo>
                      <a:pt x="215" y="835"/>
                    </a:lnTo>
                    <a:lnTo>
                      <a:pt x="211" y="829"/>
                    </a:lnTo>
                    <a:lnTo>
                      <a:pt x="210" y="806"/>
                    </a:lnTo>
                    <a:lnTo>
                      <a:pt x="210" y="802"/>
                    </a:lnTo>
                    <a:lnTo>
                      <a:pt x="205" y="801"/>
                    </a:lnTo>
                    <a:lnTo>
                      <a:pt x="200" y="801"/>
                    </a:lnTo>
                    <a:lnTo>
                      <a:pt x="194" y="808"/>
                    </a:lnTo>
                    <a:lnTo>
                      <a:pt x="191" y="808"/>
                    </a:lnTo>
                    <a:lnTo>
                      <a:pt x="191" y="801"/>
                    </a:lnTo>
                    <a:lnTo>
                      <a:pt x="192" y="798"/>
                    </a:lnTo>
                    <a:lnTo>
                      <a:pt x="197" y="797"/>
                    </a:lnTo>
                    <a:lnTo>
                      <a:pt x="197" y="792"/>
                    </a:lnTo>
                    <a:lnTo>
                      <a:pt x="201" y="792"/>
                    </a:lnTo>
                    <a:lnTo>
                      <a:pt x="204" y="788"/>
                    </a:lnTo>
                    <a:lnTo>
                      <a:pt x="207" y="788"/>
                    </a:lnTo>
                    <a:lnTo>
                      <a:pt x="207" y="782"/>
                    </a:lnTo>
                    <a:lnTo>
                      <a:pt x="206" y="782"/>
                    </a:lnTo>
                    <a:lnTo>
                      <a:pt x="201" y="782"/>
                    </a:lnTo>
                    <a:lnTo>
                      <a:pt x="197" y="779"/>
                    </a:lnTo>
                    <a:lnTo>
                      <a:pt x="194" y="776"/>
                    </a:lnTo>
                    <a:lnTo>
                      <a:pt x="189" y="766"/>
                    </a:lnTo>
                    <a:lnTo>
                      <a:pt x="184" y="769"/>
                    </a:lnTo>
                    <a:lnTo>
                      <a:pt x="183" y="767"/>
                    </a:lnTo>
                    <a:lnTo>
                      <a:pt x="183" y="750"/>
                    </a:lnTo>
                    <a:lnTo>
                      <a:pt x="181" y="745"/>
                    </a:lnTo>
                    <a:lnTo>
                      <a:pt x="179" y="745"/>
                    </a:lnTo>
                    <a:lnTo>
                      <a:pt x="179" y="739"/>
                    </a:lnTo>
                    <a:lnTo>
                      <a:pt x="178" y="737"/>
                    </a:lnTo>
                    <a:lnTo>
                      <a:pt x="174" y="737"/>
                    </a:lnTo>
                    <a:lnTo>
                      <a:pt x="173" y="737"/>
                    </a:lnTo>
                    <a:lnTo>
                      <a:pt x="174" y="724"/>
                    </a:lnTo>
                    <a:lnTo>
                      <a:pt x="174" y="723"/>
                    </a:lnTo>
                    <a:lnTo>
                      <a:pt x="170" y="721"/>
                    </a:lnTo>
                    <a:lnTo>
                      <a:pt x="168" y="721"/>
                    </a:lnTo>
                    <a:lnTo>
                      <a:pt x="164" y="724"/>
                    </a:lnTo>
                    <a:lnTo>
                      <a:pt x="163" y="724"/>
                    </a:lnTo>
                    <a:lnTo>
                      <a:pt x="156" y="720"/>
                    </a:lnTo>
                    <a:lnTo>
                      <a:pt x="153" y="720"/>
                    </a:lnTo>
                    <a:lnTo>
                      <a:pt x="152" y="721"/>
                    </a:lnTo>
                    <a:lnTo>
                      <a:pt x="152" y="729"/>
                    </a:lnTo>
                    <a:lnTo>
                      <a:pt x="149" y="733"/>
                    </a:lnTo>
                    <a:lnTo>
                      <a:pt x="136" y="737"/>
                    </a:lnTo>
                    <a:lnTo>
                      <a:pt x="136" y="743"/>
                    </a:lnTo>
                    <a:lnTo>
                      <a:pt x="134" y="747"/>
                    </a:lnTo>
                    <a:lnTo>
                      <a:pt x="120" y="743"/>
                    </a:lnTo>
                    <a:lnTo>
                      <a:pt x="110" y="737"/>
                    </a:lnTo>
                    <a:lnTo>
                      <a:pt x="102" y="736"/>
                    </a:lnTo>
                    <a:lnTo>
                      <a:pt x="99" y="736"/>
                    </a:lnTo>
                    <a:lnTo>
                      <a:pt x="95" y="742"/>
                    </a:lnTo>
                    <a:lnTo>
                      <a:pt x="89" y="743"/>
                    </a:lnTo>
                    <a:lnTo>
                      <a:pt x="87" y="749"/>
                    </a:lnTo>
                    <a:lnTo>
                      <a:pt x="83" y="753"/>
                    </a:lnTo>
                    <a:lnTo>
                      <a:pt x="78" y="750"/>
                    </a:lnTo>
                    <a:lnTo>
                      <a:pt x="70" y="739"/>
                    </a:lnTo>
                    <a:lnTo>
                      <a:pt x="67" y="737"/>
                    </a:lnTo>
                    <a:lnTo>
                      <a:pt x="62" y="737"/>
                    </a:lnTo>
                    <a:lnTo>
                      <a:pt x="56" y="743"/>
                    </a:lnTo>
                    <a:lnTo>
                      <a:pt x="52" y="747"/>
                    </a:lnTo>
                    <a:lnTo>
                      <a:pt x="48" y="748"/>
                    </a:lnTo>
                    <a:lnTo>
                      <a:pt x="43" y="744"/>
                    </a:lnTo>
                    <a:lnTo>
                      <a:pt x="38" y="740"/>
                    </a:lnTo>
                    <a:lnTo>
                      <a:pt x="39" y="737"/>
                    </a:lnTo>
                    <a:lnTo>
                      <a:pt x="43" y="732"/>
                    </a:lnTo>
                    <a:lnTo>
                      <a:pt x="43" y="728"/>
                    </a:lnTo>
                    <a:lnTo>
                      <a:pt x="46" y="724"/>
                    </a:lnTo>
                    <a:lnTo>
                      <a:pt x="48" y="723"/>
                    </a:lnTo>
                    <a:lnTo>
                      <a:pt x="48" y="721"/>
                    </a:lnTo>
                    <a:lnTo>
                      <a:pt x="44" y="717"/>
                    </a:lnTo>
                    <a:lnTo>
                      <a:pt x="44" y="710"/>
                    </a:lnTo>
                    <a:lnTo>
                      <a:pt x="46" y="706"/>
                    </a:lnTo>
                    <a:lnTo>
                      <a:pt x="46" y="702"/>
                    </a:lnTo>
                    <a:lnTo>
                      <a:pt x="45" y="699"/>
                    </a:lnTo>
                    <a:lnTo>
                      <a:pt x="45" y="697"/>
                    </a:lnTo>
                    <a:lnTo>
                      <a:pt x="46" y="697"/>
                    </a:lnTo>
                    <a:lnTo>
                      <a:pt x="45" y="694"/>
                    </a:lnTo>
                    <a:lnTo>
                      <a:pt x="41" y="689"/>
                    </a:lnTo>
                    <a:lnTo>
                      <a:pt x="39" y="684"/>
                    </a:lnTo>
                    <a:lnTo>
                      <a:pt x="36" y="682"/>
                    </a:lnTo>
                    <a:lnTo>
                      <a:pt x="35" y="678"/>
                    </a:lnTo>
                    <a:lnTo>
                      <a:pt x="32" y="674"/>
                    </a:lnTo>
                    <a:lnTo>
                      <a:pt x="32" y="670"/>
                    </a:lnTo>
                    <a:lnTo>
                      <a:pt x="27" y="670"/>
                    </a:lnTo>
                    <a:lnTo>
                      <a:pt x="24" y="673"/>
                    </a:lnTo>
                    <a:lnTo>
                      <a:pt x="20" y="673"/>
                    </a:lnTo>
                    <a:lnTo>
                      <a:pt x="19" y="672"/>
                    </a:lnTo>
                    <a:lnTo>
                      <a:pt x="17" y="666"/>
                    </a:lnTo>
                    <a:lnTo>
                      <a:pt x="9" y="654"/>
                    </a:lnTo>
                    <a:lnTo>
                      <a:pt x="9" y="652"/>
                    </a:lnTo>
                    <a:lnTo>
                      <a:pt x="14" y="646"/>
                    </a:lnTo>
                    <a:lnTo>
                      <a:pt x="13" y="641"/>
                    </a:lnTo>
                    <a:lnTo>
                      <a:pt x="11" y="635"/>
                    </a:lnTo>
                    <a:lnTo>
                      <a:pt x="11" y="629"/>
                    </a:lnTo>
                    <a:lnTo>
                      <a:pt x="9" y="621"/>
                    </a:lnTo>
                    <a:lnTo>
                      <a:pt x="6" y="618"/>
                    </a:lnTo>
                    <a:lnTo>
                      <a:pt x="5" y="618"/>
                    </a:lnTo>
                    <a:lnTo>
                      <a:pt x="3" y="614"/>
                    </a:lnTo>
                    <a:lnTo>
                      <a:pt x="1" y="614"/>
                    </a:lnTo>
                    <a:lnTo>
                      <a:pt x="1" y="608"/>
                    </a:lnTo>
                    <a:lnTo>
                      <a:pt x="3" y="600"/>
                    </a:lnTo>
                    <a:lnTo>
                      <a:pt x="2" y="597"/>
                    </a:lnTo>
                    <a:lnTo>
                      <a:pt x="0" y="594"/>
                    </a:lnTo>
                    <a:lnTo>
                      <a:pt x="23" y="572"/>
                    </a:lnTo>
                    <a:lnTo>
                      <a:pt x="30" y="554"/>
                    </a:lnTo>
                    <a:lnTo>
                      <a:pt x="34" y="543"/>
                    </a:lnTo>
                    <a:lnTo>
                      <a:pt x="39" y="532"/>
                    </a:lnTo>
                    <a:lnTo>
                      <a:pt x="41" y="530"/>
                    </a:lnTo>
                    <a:lnTo>
                      <a:pt x="45" y="532"/>
                    </a:lnTo>
                    <a:lnTo>
                      <a:pt x="45" y="533"/>
                    </a:lnTo>
                    <a:lnTo>
                      <a:pt x="51" y="534"/>
                    </a:lnTo>
                    <a:lnTo>
                      <a:pt x="55" y="537"/>
                    </a:lnTo>
                    <a:lnTo>
                      <a:pt x="60" y="550"/>
                    </a:lnTo>
                    <a:lnTo>
                      <a:pt x="70" y="568"/>
                    </a:lnTo>
                    <a:lnTo>
                      <a:pt x="84" y="572"/>
                    </a:lnTo>
                    <a:lnTo>
                      <a:pt x="87" y="572"/>
                    </a:lnTo>
                    <a:lnTo>
                      <a:pt x="113" y="550"/>
                    </a:lnTo>
                    <a:lnTo>
                      <a:pt x="200" y="553"/>
                    </a:lnTo>
                    <a:lnTo>
                      <a:pt x="271" y="554"/>
                    </a:lnTo>
                    <a:lnTo>
                      <a:pt x="344" y="555"/>
                    </a:lnTo>
                    <a:lnTo>
                      <a:pt x="362" y="555"/>
                    </a:lnTo>
                    <a:lnTo>
                      <a:pt x="374" y="508"/>
                    </a:lnTo>
                    <a:lnTo>
                      <a:pt x="352" y="501"/>
                    </a:lnTo>
                    <a:lnTo>
                      <a:pt x="346" y="444"/>
                    </a:lnTo>
                    <a:lnTo>
                      <a:pt x="341" y="389"/>
                    </a:lnTo>
                    <a:lnTo>
                      <a:pt x="335" y="335"/>
                    </a:lnTo>
                    <a:lnTo>
                      <a:pt x="329" y="281"/>
                    </a:lnTo>
                    <a:lnTo>
                      <a:pt x="324" y="226"/>
                    </a:lnTo>
                    <a:lnTo>
                      <a:pt x="318" y="169"/>
                    </a:lnTo>
                    <a:lnTo>
                      <a:pt x="313" y="114"/>
                    </a:lnTo>
                    <a:lnTo>
                      <a:pt x="307" y="58"/>
                    </a:lnTo>
                    <a:lnTo>
                      <a:pt x="301" y="0"/>
                    </a:lnTo>
                    <a:lnTo>
                      <a:pt x="398" y="0"/>
                    </a:lnTo>
                    <a:lnTo>
                      <a:pt x="462" y="4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50" name="Freeform 14">
                <a:extLst>
                  <a:ext uri="{FF2B5EF4-FFF2-40B4-BE49-F238E27FC236}">
                    <a16:creationId xmlns:a16="http://schemas.microsoft.com/office/drawing/2014/main" id="{E82C9A0E-4BC2-A1B1-B902-DC2E82854E4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96" y="2047"/>
                <a:ext cx="44" cy="93"/>
              </a:xfrm>
              <a:custGeom>
                <a:avLst/>
                <a:gdLst>
                  <a:gd name="T0" fmla="*/ 5 w 218"/>
                  <a:gd name="T1" fmla="*/ 19 h 462"/>
                  <a:gd name="T2" fmla="*/ 6 w 218"/>
                  <a:gd name="T3" fmla="*/ 18 h 462"/>
                  <a:gd name="T4" fmla="*/ 6 w 218"/>
                  <a:gd name="T5" fmla="*/ 17 h 462"/>
                  <a:gd name="T6" fmla="*/ 6 w 218"/>
                  <a:gd name="T7" fmla="*/ 16 h 462"/>
                  <a:gd name="T8" fmla="*/ 7 w 218"/>
                  <a:gd name="T9" fmla="*/ 15 h 462"/>
                  <a:gd name="T10" fmla="*/ 7 w 218"/>
                  <a:gd name="T11" fmla="*/ 14 h 462"/>
                  <a:gd name="T12" fmla="*/ 9 w 218"/>
                  <a:gd name="T13" fmla="*/ 13 h 462"/>
                  <a:gd name="T14" fmla="*/ 9 w 218"/>
                  <a:gd name="T15" fmla="*/ 11 h 462"/>
                  <a:gd name="T16" fmla="*/ 9 w 218"/>
                  <a:gd name="T17" fmla="*/ 11 h 462"/>
                  <a:gd name="T18" fmla="*/ 8 w 218"/>
                  <a:gd name="T19" fmla="*/ 11 h 462"/>
                  <a:gd name="T20" fmla="*/ 8 w 218"/>
                  <a:gd name="T21" fmla="*/ 11 h 462"/>
                  <a:gd name="T22" fmla="*/ 8 w 218"/>
                  <a:gd name="T23" fmla="*/ 10 h 462"/>
                  <a:gd name="T24" fmla="*/ 7 w 218"/>
                  <a:gd name="T25" fmla="*/ 10 h 462"/>
                  <a:gd name="T26" fmla="*/ 7 w 218"/>
                  <a:gd name="T27" fmla="*/ 10 h 462"/>
                  <a:gd name="T28" fmla="*/ 6 w 218"/>
                  <a:gd name="T29" fmla="*/ 10 h 462"/>
                  <a:gd name="T30" fmla="*/ 6 w 218"/>
                  <a:gd name="T31" fmla="*/ 9 h 462"/>
                  <a:gd name="T32" fmla="*/ 6 w 218"/>
                  <a:gd name="T33" fmla="*/ 9 h 462"/>
                  <a:gd name="T34" fmla="*/ 6 w 218"/>
                  <a:gd name="T35" fmla="*/ 8 h 462"/>
                  <a:gd name="T36" fmla="*/ 7 w 218"/>
                  <a:gd name="T37" fmla="*/ 8 h 462"/>
                  <a:gd name="T38" fmla="*/ 7 w 218"/>
                  <a:gd name="T39" fmla="*/ 7 h 462"/>
                  <a:gd name="T40" fmla="*/ 8 w 218"/>
                  <a:gd name="T41" fmla="*/ 7 h 462"/>
                  <a:gd name="T42" fmla="*/ 8 w 218"/>
                  <a:gd name="T43" fmla="*/ 5 h 462"/>
                  <a:gd name="T44" fmla="*/ 8 w 218"/>
                  <a:gd name="T45" fmla="*/ 4 h 462"/>
                  <a:gd name="T46" fmla="*/ 7 w 218"/>
                  <a:gd name="T47" fmla="*/ 4 h 462"/>
                  <a:gd name="T48" fmla="*/ 7 w 218"/>
                  <a:gd name="T49" fmla="*/ 3 h 462"/>
                  <a:gd name="T50" fmla="*/ 7 w 218"/>
                  <a:gd name="T51" fmla="*/ 2 h 462"/>
                  <a:gd name="T52" fmla="*/ 8 w 218"/>
                  <a:gd name="T53" fmla="*/ 1 h 462"/>
                  <a:gd name="T54" fmla="*/ 8 w 218"/>
                  <a:gd name="T55" fmla="*/ 1 h 462"/>
                  <a:gd name="T56" fmla="*/ 7 w 218"/>
                  <a:gd name="T57" fmla="*/ 1 h 462"/>
                  <a:gd name="T58" fmla="*/ 7 w 218"/>
                  <a:gd name="T59" fmla="*/ 2 h 462"/>
                  <a:gd name="T60" fmla="*/ 6 w 218"/>
                  <a:gd name="T61" fmla="*/ 1 h 462"/>
                  <a:gd name="T62" fmla="*/ 6 w 218"/>
                  <a:gd name="T63" fmla="*/ 0 h 462"/>
                  <a:gd name="T64" fmla="*/ 6 w 218"/>
                  <a:gd name="T65" fmla="*/ 0 h 462"/>
                  <a:gd name="T66" fmla="*/ 5 w 218"/>
                  <a:gd name="T67" fmla="*/ 0 h 462"/>
                  <a:gd name="T68" fmla="*/ 4 w 218"/>
                  <a:gd name="T69" fmla="*/ 1 h 462"/>
                  <a:gd name="T70" fmla="*/ 3 w 218"/>
                  <a:gd name="T71" fmla="*/ 1 h 462"/>
                  <a:gd name="T72" fmla="*/ 3 w 218"/>
                  <a:gd name="T73" fmla="*/ 1 h 462"/>
                  <a:gd name="T74" fmla="*/ 3 w 218"/>
                  <a:gd name="T75" fmla="*/ 2 h 462"/>
                  <a:gd name="T76" fmla="*/ 2 w 218"/>
                  <a:gd name="T77" fmla="*/ 2 h 462"/>
                  <a:gd name="T78" fmla="*/ 2 w 218"/>
                  <a:gd name="T79" fmla="*/ 2 h 462"/>
                  <a:gd name="T80" fmla="*/ 2 w 218"/>
                  <a:gd name="T81" fmla="*/ 4 h 462"/>
                  <a:gd name="T82" fmla="*/ 2 w 218"/>
                  <a:gd name="T83" fmla="*/ 5 h 462"/>
                  <a:gd name="T84" fmla="*/ 2 w 218"/>
                  <a:gd name="T85" fmla="*/ 6 h 462"/>
                  <a:gd name="T86" fmla="*/ 2 w 218"/>
                  <a:gd name="T87" fmla="*/ 7 h 462"/>
                  <a:gd name="T88" fmla="*/ 1 w 218"/>
                  <a:gd name="T89" fmla="*/ 8 h 462"/>
                  <a:gd name="T90" fmla="*/ 1 w 218"/>
                  <a:gd name="T91" fmla="*/ 9 h 462"/>
                  <a:gd name="T92" fmla="*/ 0 w 218"/>
                  <a:gd name="T93" fmla="*/ 9 h 462"/>
                  <a:gd name="T94" fmla="*/ 0 w 218"/>
                  <a:gd name="T95" fmla="*/ 9 h 462"/>
                  <a:gd name="T96" fmla="*/ 1 w 218"/>
                  <a:gd name="T97" fmla="*/ 11 h 462"/>
                  <a:gd name="T98" fmla="*/ 1 w 218"/>
                  <a:gd name="T99" fmla="*/ 11 h 462"/>
                  <a:gd name="T100" fmla="*/ 2 w 218"/>
                  <a:gd name="T101" fmla="*/ 13 h 462"/>
                  <a:gd name="T102" fmla="*/ 4 w 218"/>
                  <a:gd name="T103" fmla="*/ 14 h 462"/>
                  <a:gd name="T104" fmla="*/ 4 w 218"/>
                  <a:gd name="T105" fmla="*/ 14 h 462"/>
                  <a:gd name="T106" fmla="*/ 4 w 218"/>
                  <a:gd name="T107" fmla="*/ 19 h 462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218"/>
                  <a:gd name="T163" fmla="*/ 0 h 462"/>
                  <a:gd name="T164" fmla="*/ 218 w 218"/>
                  <a:gd name="T165" fmla="*/ 462 h 462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218" h="462">
                    <a:moveTo>
                      <a:pt x="111" y="462"/>
                    </a:moveTo>
                    <a:lnTo>
                      <a:pt x="123" y="461"/>
                    </a:lnTo>
                    <a:lnTo>
                      <a:pt x="135" y="452"/>
                    </a:lnTo>
                    <a:lnTo>
                      <a:pt x="145" y="444"/>
                    </a:lnTo>
                    <a:lnTo>
                      <a:pt x="151" y="434"/>
                    </a:lnTo>
                    <a:lnTo>
                      <a:pt x="151" y="424"/>
                    </a:lnTo>
                    <a:lnTo>
                      <a:pt x="145" y="396"/>
                    </a:lnTo>
                    <a:lnTo>
                      <a:pt x="147" y="387"/>
                    </a:lnTo>
                    <a:lnTo>
                      <a:pt x="151" y="379"/>
                    </a:lnTo>
                    <a:lnTo>
                      <a:pt x="164" y="373"/>
                    </a:lnTo>
                    <a:lnTo>
                      <a:pt x="174" y="365"/>
                    </a:lnTo>
                    <a:lnTo>
                      <a:pt x="178" y="355"/>
                    </a:lnTo>
                    <a:lnTo>
                      <a:pt x="207" y="336"/>
                    </a:lnTo>
                    <a:lnTo>
                      <a:pt x="213" y="331"/>
                    </a:lnTo>
                    <a:lnTo>
                      <a:pt x="218" y="320"/>
                    </a:lnTo>
                    <a:lnTo>
                      <a:pt x="217" y="284"/>
                    </a:lnTo>
                    <a:lnTo>
                      <a:pt x="218" y="281"/>
                    </a:lnTo>
                    <a:lnTo>
                      <a:pt x="212" y="277"/>
                    </a:lnTo>
                    <a:lnTo>
                      <a:pt x="208" y="278"/>
                    </a:lnTo>
                    <a:lnTo>
                      <a:pt x="202" y="278"/>
                    </a:lnTo>
                    <a:lnTo>
                      <a:pt x="198" y="273"/>
                    </a:lnTo>
                    <a:lnTo>
                      <a:pt x="198" y="269"/>
                    </a:lnTo>
                    <a:lnTo>
                      <a:pt x="191" y="251"/>
                    </a:lnTo>
                    <a:lnTo>
                      <a:pt x="186" y="251"/>
                    </a:lnTo>
                    <a:lnTo>
                      <a:pt x="177" y="257"/>
                    </a:lnTo>
                    <a:lnTo>
                      <a:pt x="172" y="252"/>
                    </a:lnTo>
                    <a:lnTo>
                      <a:pt x="170" y="246"/>
                    </a:lnTo>
                    <a:lnTo>
                      <a:pt x="164" y="249"/>
                    </a:lnTo>
                    <a:lnTo>
                      <a:pt x="159" y="249"/>
                    </a:lnTo>
                    <a:lnTo>
                      <a:pt x="153" y="246"/>
                    </a:lnTo>
                    <a:lnTo>
                      <a:pt x="142" y="239"/>
                    </a:lnTo>
                    <a:lnTo>
                      <a:pt x="138" y="226"/>
                    </a:lnTo>
                    <a:lnTo>
                      <a:pt x="138" y="215"/>
                    </a:lnTo>
                    <a:lnTo>
                      <a:pt x="150" y="219"/>
                    </a:lnTo>
                    <a:lnTo>
                      <a:pt x="150" y="210"/>
                    </a:lnTo>
                    <a:lnTo>
                      <a:pt x="153" y="203"/>
                    </a:lnTo>
                    <a:lnTo>
                      <a:pt x="160" y="201"/>
                    </a:lnTo>
                    <a:lnTo>
                      <a:pt x="166" y="195"/>
                    </a:lnTo>
                    <a:lnTo>
                      <a:pt x="172" y="192"/>
                    </a:lnTo>
                    <a:lnTo>
                      <a:pt x="185" y="181"/>
                    </a:lnTo>
                    <a:lnTo>
                      <a:pt x="192" y="174"/>
                    </a:lnTo>
                    <a:lnTo>
                      <a:pt x="198" y="163"/>
                    </a:lnTo>
                    <a:lnTo>
                      <a:pt x="207" y="140"/>
                    </a:lnTo>
                    <a:lnTo>
                      <a:pt x="204" y="132"/>
                    </a:lnTo>
                    <a:lnTo>
                      <a:pt x="202" y="116"/>
                    </a:lnTo>
                    <a:lnTo>
                      <a:pt x="194" y="111"/>
                    </a:lnTo>
                    <a:lnTo>
                      <a:pt x="191" y="104"/>
                    </a:lnTo>
                    <a:lnTo>
                      <a:pt x="181" y="101"/>
                    </a:lnTo>
                    <a:lnTo>
                      <a:pt x="176" y="95"/>
                    </a:lnTo>
                    <a:lnTo>
                      <a:pt x="172" y="79"/>
                    </a:lnTo>
                    <a:lnTo>
                      <a:pt x="175" y="66"/>
                    </a:lnTo>
                    <a:lnTo>
                      <a:pt x="183" y="59"/>
                    </a:lnTo>
                    <a:lnTo>
                      <a:pt x="194" y="55"/>
                    </a:lnTo>
                    <a:lnTo>
                      <a:pt x="207" y="31"/>
                    </a:lnTo>
                    <a:lnTo>
                      <a:pt x="201" y="19"/>
                    </a:lnTo>
                    <a:lnTo>
                      <a:pt x="194" y="19"/>
                    </a:lnTo>
                    <a:lnTo>
                      <a:pt x="188" y="27"/>
                    </a:lnTo>
                    <a:lnTo>
                      <a:pt x="182" y="32"/>
                    </a:lnTo>
                    <a:lnTo>
                      <a:pt x="175" y="35"/>
                    </a:lnTo>
                    <a:lnTo>
                      <a:pt x="171" y="39"/>
                    </a:lnTo>
                    <a:lnTo>
                      <a:pt x="160" y="35"/>
                    </a:lnTo>
                    <a:lnTo>
                      <a:pt x="161" y="24"/>
                    </a:lnTo>
                    <a:lnTo>
                      <a:pt x="156" y="15"/>
                    </a:lnTo>
                    <a:lnTo>
                      <a:pt x="155" y="9"/>
                    </a:lnTo>
                    <a:lnTo>
                      <a:pt x="156" y="7"/>
                    </a:lnTo>
                    <a:lnTo>
                      <a:pt x="138" y="0"/>
                    </a:lnTo>
                    <a:lnTo>
                      <a:pt x="128" y="0"/>
                    </a:lnTo>
                    <a:lnTo>
                      <a:pt x="115" y="2"/>
                    </a:lnTo>
                    <a:lnTo>
                      <a:pt x="104" y="7"/>
                    </a:lnTo>
                    <a:lnTo>
                      <a:pt x="91" y="13"/>
                    </a:lnTo>
                    <a:lnTo>
                      <a:pt x="83" y="19"/>
                    </a:lnTo>
                    <a:lnTo>
                      <a:pt x="79" y="24"/>
                    </a:lnTo>
                    <a:lnTo>
                      <a:pt x="75" y="25"/>
                    </a:lnTo>
                    <a:lnTo>
                      <a:pt x="73" y="31"/>
                    </a:lnTo>
                    <a:lnTo>
                      <a:pt x="68" y="35"/>
                    </a:lnTo>
                    <a:lnTo>
                      <a:pt x="62" y="41"/>
                    </a:lnTo>
                    <a:lnTo>
                      <a:pt x="53" y="50"/>
                    </a:lnTo>
                    <a:lnTo>
                      <a:pt x="51" y="55"/>
                    </a:lnTo>
                    <a:lnTo>
                      <a:pt x="57" y="57"/>
                    </a:lnTo>
                    <a:lnTo>
                      <a:pt x="58" y="61"/>
                    </a:lnTo>
                    <a:lnTo>
                      <a:pt x="53" y="93"/>
                    </a:lnTo>
                    <a:lnTo>
                      <a:pt x="52" y="101"/>
                    </a:lnTo>
                    <a:lnTo>
                      <a:pt x="54" y="111"/>
                    </a:lnTo>
                    <a:lnTo>
                      <a:pt x="56" y="134"/>
                    </a:lnTo>
                    <a:lnTo>
                      <a:pt x="59" y="140"/>
                    </a:lnTo>
                    <a:lnTo>
                      <a:pt x="59" y="147"/>
                    </a:lnTo>
                    <a:lnTo>
                      <a:pt x="53" y="171"/>
                    </a:lnTo>
                    <a:lnTo>
                      <a:pt x="49" y="185"/>
                    </a:lnTo>
                    <a:lnTo>
                      <a:pt x="30" y="197"/>
                    </a:lnTo>
                    <a:lnTo>
                      <a:pt x="27" y="208"/>
                    </a:lnTo>
                    <a:lnTo>
                      <a:pt x="19" y="212"/>
                    </a:lnTo>
                    <a:lnTo>
                      <a:pt x="14" y="217"/>
                    </a:lnTo>
                    <a:lnTo>
                      <a:pt x="13" y="220"/>
                    </a:lnTo>
                    <a:lnTo>
                      <a:pt x="3" y="226"/>
                    </a:lnTo>
                    <a:lnTo>
                      <a:pt x="0" y="226"/>
                    </a:lnTo>
                    <a:lnTo>
                      <a:pt x="3" y="234"/>
                    </a:lnTo>
                    <a:lnTo>
                      <a:pt x="8" y="246"/>
                    </a:lnTo>
                    <a:lnTo>
                      <a:pt x="14" y="272"/>
                    </a:lnTo>
                    <a:lnTo>
                      <a:pt x="32" y="279"/>
                    </a:lnTo>
                    <a:lnTo>
                      <a:pt x="37" y="285"/>
                    </a:lnTo>
                    <a:lnTo>
                      <a:pt x="46" y="305"/>
                    </a:lnTo>
                    <a:lnTo>
                      <a:pt x="46" y="323"/>
                    </a:lnTo>
                    <a:lnTo>
                      <a:pt x="64" y="336"/>
                    </a:lnTo>
                    <a:lnTo>
                      <a:pt x="89" y="348"/>
                    </a:lnTo>
                    <a:lnTo>
                      <a:pt x="91" y="348"/>
                    </a:lnTo>
                    <a:lnTo>
                      <a:pt x="91" y="349"/>
                    </a:lnTo>
                    <a:lnTo>
                      <a:pt x="105" y="422"/>
                    </a:lnTo>
                    <a:lnTo>
                      <a:pt x="110" y="459"/>
                    </a:lnTo>
                    <a:lnTo>
                      <a:pt x="111" y="46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51" name="Freeform 15">
                <a:extLst>
                  <a:ext uri="{FF2B5EF4-FFF2-40B4-BE49-F238E27FC236}">
                    <a16:creationId xmlns:a16="http://schemas.microsoft.com/office/drawing/2014/main" id="{8E350B81-2680-1B73-80C8-D9B9C4A7910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785" y="2123"/>
                <a:ext cx="123" cy="121"/>
              </a:xfrm>
              <a:custGeom>
                <a:avLst/>
                <a:gdLst>
                  <a:gd name="T0" fmla="*/ 1 w 612"/>
                  <a:gd name="T1" fmla="*/ 18 h 605"/>
                  <a:gd name="T2" fmla="*/ 1 w 612"/>
                  <a:gd name="T3" fmla="*/ 11 h 605"/>
                  <a:gd name="T4" fmla="*/ 0 w 612"/>
                  <a:gd name="T5" fmla="*/ 6 h 605"/>
                  <a:gd name="T6" fmla="*/ 0 w 612"/>
                  <a:gd name="T7" fmla="*/ 5 h 605"/>
                  <a:gd name="T8" fmla="*/ 0 w 612"/>
                  <a:gd name="T9" fmla="*/ 4 h 605"/>
                  <a:gd name="T10" fmla="*/ 1 w 612"/>
                  <a:gd name="T11" fmla="*/ 3 h 605"/>
                  <a:gd name="T12" fmla="*/ 0 w 612"/>
                  <a:gd name="T13" fmla="*/ 1 h 605"/>
                  <a:gd name="T14" fmla="*/ 1 w 612"/>
                  <a:gd name="T15" fmla="*/ 0 h 605"/>
                  <a:gd name="T16" fmla="*/ 1 w 612"/>
                  <a:gd name="T17" fmla="*/ 0 h 605"/>
                  <a:gd name="T18" fmla="*/ 4 w 612"/>
                  <a:gd name="T19" fmla="*/ 0 h 605"/>
                  <a:gd name="T20" fmla="*/ 6 w 612"/>
                  <a:gd name="T21" fmla="*/ 1 h 605"/>
                  <a:gd name="T22" fmla="*/ 7 w 612"/>
                  <a:gd name="T23" fmla="*/ 2 h 605"/>
                  <a:gd name="T24" fmla="*/ 9 w 612"/>
                  <a:gd name="T25" fmla="*/ 2 h 605"/>
                  <a:gd name="T26" fmla="*/ 11 w 612"/>
                  <a:gd name="T27" fmla="*/ 2 h 605"/>
                  <a:gd name="T28" fmla="*/ 13 w 612"/>
                  <a:gd name="T29" fmla="*/ 1 h 605"/>
                  <a:gd name="T30" fmla="*/ 14 w 612"/>
                  <a:gd name="T31" fmla="*/ 0 h 605"/>
                  <a:gd name="T32" fmla="*/ 13 w 612"/>
                  <a:gd name="T33" fmla="*/ 1 h 605"/>
                  <a:gd name="T34" fmla="*/ 14 w 612"/>
                  <a:gd name="T35" fmla="*/ 1 h 605"/>
                  <a:gd name="T36" fmla="*/ 15 w 612"/>
                  <a:gd name="T37" fmla="*/ 0 h 605"/>
                  <a:gd name="T38" fmla="*/ 16 w 612"/>
                  <a:gd name="T39" fmla="*/ 0 h 605"/>
                  <a:gd name="T40" fmla="*/ 16 w 612"/>
                  <a:gd name="T41" fmla="*/ 1 h 605"/>
                  <a:gd name="T42" fmla="*/ 17 w 612"/>
                  <a:gd name="T43" fmla="*/ 1 h 605"/>
                  <a:gd name="T44" fmla="*/ 18 w 612"/>
                  <a:gd name="T45" fmla="*/ 2 h 605"/>
                  <a:gd name="T46" fmla="*/ 19 w 612"/>
                  <a:gd name="T47" fmla="*/ 1 h 605"/>
                  <a:gd name="T48" fmla="*/ 21 w 612"/>
                  <a:gd name="T49" fmla="*/ 1 h 605"/>
                  <a:gd name="T50" fmla="*/ 21 w 612"/>
                  <a:gd name="T51" fmla="*/ 1 h 605"/>
                  <a:gd name="T52" fmla="*/ 23 w 612"/>
                  <a:gd name="T53" fmla="*/ 6 h 605"/>
                  <a:gd name="T54" fmla="*/ 22 w 612"/>
                  <a:gd name="T55" fmla="*/ 8 h 605"/>
                  <a:gd name="T56" fmla="*/ 22 w 612"/>
                  <a:gd name="T57" fmla="*/ 9 h 605"/>
                  <a:gd name="T58" fmla="*/ 21 w 612"/>
                  <a:gd name="T59" fmla="*/ 10 h 605"/>
                  <a:gd name="T60" fmla="*/ 20 w 612"/>
                  <a:gd name="T61" fmla="*/ 8 h 605"/>
                  <a:gd name="T62" fmla="*/ 19 w 612"/>
                  <a:gd name="T63" fmla="*/ 7 h 605"/>
                  <a:gd name="T64" fmla="*/ 18 w 612"/>
                  <a:gd name="T65" fmla="*/ 6 h 605"/>
                  <a:gd name="T66" fmla="*/ 18 w 612"/>
                  <a:gd name="T67" fmla="*/ 4 h 605"/>
                  <a:gd name="T68" fmla="*/ 18 w 612"/>
                  <a:gd name="T69" fmla="*/ 4 h 605"/>
                  <a:gd name="T70" fmla="*/ 17 w 612"/>
                  <a:gd name="T71" fmla="*/ 5 h 605"/>
                  <a:gd name="T72" fmla="*/ 18 w 612"/>
                  <a:gd name="T73" fmla="*/ 6 h 605"/>
                  <a:gd name="T74" fmla="*/ 18 w 612"/>
                  <a:gd name="T75" fmla="*/ 7 h 605"/>
                  <a:gd name="T76" fmla="*/ 19 w 612"/>
                  <a:gd name="T77" fmla="*/ 9 h 605"/>
                  <a:gd name="T78" fmla="*/ 20 w 612"/>
                  <a:gd name="T79" fmla="*/ 10 h 605"/>
                  <a:gd name="T80" fmla="*/ 21 w 612"/>
                  <a:gd name="T81" fmla="*/ 12 h 605"/>
                  <a:gd name="T82" fmla="*/ 22 w 612"/>
                  <a:gd name="T83" fmla="*/ 14 h 605"/>
                  <a:gd name="T84" fmla="*/ 23 w 612"/>
                  <a:gd name="T85" fmla="*/ 16 h 605"/>
                  <a:gd name="T86" fmla="*/ 23 w 612"/>
                  <a:gd name="T87" fmla="*/ 18 h 605"/>
                  <a:gd name="T88" fmla="*/ 25 w 612"/>
                  <a:gd name="T89" fmla="*/ 19 h 605"/>
                  <a:gd name="T90" fmla="*/ 24 w 612"/>
                  <a:gd name="T91" fmla="*/ 19 h 605"/>
                  <a:gd name="T92" fmla="*/ 24 w 612"/>
                  <a:gd name="T93" fmla="*/ 20 h 605"/>
                  <a:gd name="T94" fmla="*/ 24 w 612"/>
                  <a:gd name="T95" fmla="*/ 22 h 605"/>
                  <a:gd name="T96" fmla="*/ 21 w 612"/>
                  <a:gd name="T97" fmla="*/ 23 h 605"/>
                  <a:gd name="T98" fmla="*/ 19 w 612"/>
                  <a:gd name="T99" fmla="*/ 24 h 605"/>
                  <a:gd name="T100" fmla="*/ 15 w 612"/>
                  <a:gd name="T101" fmla="*/ 23 h 605"/>
                  <a:gd name="T102" fmla="*/ 15 w 612"/>
                  <a:gd name="T103" fmla="*/ 24 h 605"/>
                  <a:gd name="T104" fmla="*/ 9 w 612"/>
                  <a:gd name="T105" fmla="*/ 24 h 605"/>
                  <a:gd name="T106" fmla="*/ 3 w 612"/>
                  <a:gd name="T107" fmla="*/ 24 h 605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612"/>
                  <a:gd name="T163" fmla="*/ 0 h 605"/>
                  <a:gd name="T164" fmla="*/ 612 w 612"/>
                  <a:gd name="T165" fmla="*/ 605 h 605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612" h="605">
                    <a:moveTo>
                      <a:pt x="24" y="552"/>
                    </a:moveTo>
                    <a:lnTo>
                      <a:pt x="24" y="496"/>
                    </a:lnTo>
                    <a:lnTo>
                      <a:pt x="24" y="438"/>
                    </a:lnTo>
                    <a:lnTo>
                      <a:pt x="24" y="382"/>
                    </a:lnTo>
                    <a:lnTo>
                      <a:pt x="24" y="324"/>
                    </a:lnTo>
                    <a:lnTo>
                      <a:pt x="24" y="265"/>
                    </a:lnTo>
                    <a:lnTo>
                      <a:pt x="24" y="207"/>
                    </a:lnTo>
                    <a:lnTo>
                      <a:pt x="24" y="164"/>
                    </a:lnTo>
                    <a:lnTo>
                      <a:pt x="7" y="146"/>
                    </a:lnTo>
                    <a:lnTo>
                      <a:pt x="10" y="133"/>
                    </a:lnTo>
                    <a:lnTo>
                      <a:pt x="8" y="130"/>
                    </a:lnTo>
                    <a:lnTo>
                      <a:pt x="1" y="120"/>
                    </a:lnTo>
                    <a:lnTo>
                      <a:pt x="0" y="99"/>
                    </a:lnTo>
                    <a:lnTo>
                      <a:pt x="0" y="95"/>
                    </a:lnTo>
                    <a:lnTo>
                      <a:pt x="3" y="90"/>
                    </a:lnTo>
                    <a:lnTo>
                      <a:pt x="13" y="86"/>
                    </a:lnTo>
                    <a:lnTo>
                      <a:pt x="13" y="83"/>
                    </a:lnTo>
                    <a:lnTo>
                      <a:pt x="15" y="74"/>
                    </a:lnTo>
                    <a:lnTo>
                      <a:pt x="12" y="57"/>
                    </a:lnTo>
                    <a:lnTo>
                      <a:pt x="11" y="30"/>
                    </a:lnTo>
                    <a:lnTo>
                      <a:pt x="7" y="22"/>
                    </a:lnTo>
                    <a:lnTo>
                      <a:pt x="7" y="19"/>
                    </a:lnTo>
                    <a:lnTo>
                      <a:pt x="15" y="11"/>
                    </a:lnTo>
                    <a:lnTo>
                      <a:pt x="18" y="2"/>
                    </a:lnTo>
                    <a:lnTo>
                      <a:pt x="26" y="0"/>
                    </a:lnTo>
                    <a:lnTo>
                      <a:pt x="28" y="6"/>
                    </a:lnTo>
                    <a:lnTo>
                      <a:pt x="35" y="8"/>
                    </a:lnTo>
                    <a:lnTo>
                      <a:pt x="54" y="3"/>
                    </a:lnTo>
                    <a:lnTo>
                      <a:pt x="67" y="3"/>
                    </a:lnTo>
                    <a:lnTo>
                      <a:pt x="91" y="7"/>
                    </a:lnTo>
                    <a:lnTo>
                      <a:pt x="123" y="12"/>
                    </a:lnTo>
                    <a:lnTo>
                      <a:pt x="142" y="19"/>
                    </a:lnTo>
                    <a:lnTo>
                      <a:pt x="153" y="27"/>
                    </a:lnTo>
                    <a:lnTo>
                      <a:pt x="169" y="29"/>
                    </a:lnTo>
                    <a:lnTo>
                      <a:pt x="177" y="31"/>
                    </a:lnTo>
                    <a:lnTo>
                      <a:pt x="185" y="38"/>
                    </a:lnTo>
                    <a:lnTo>
                      <a:pt x="201" y="38"/>
                    </a:lnTo>
                    <a:lnTo>
                      <a:pt x="214" y="39"/>
                    </a:lnTo>
                    <a:lnTo>
                      <a:pt x="228" y="45"/>
                    </a:lnTo>
                    <a:lnTo>
                      <a:pt x="239" y="52"/>
                    </a:lnTo>
                    <a:lnTo>
                      <a:pt x="255" y="47"/>
                    </a:lnTo>
                    <a:lnTo>
                      <a:pt x="269" y="40"/>
                    </a:lnTo>
                    <a:lnTo>
                      <a:pt x="285" y="28"/>
                    </a:lnTo>
                    <a:lnTo>
                      <a:pt x="301" y="20"/>
                    </a:lnTo>
                    <a:lnTo>
                      <a:pt x="311" y="13"/>
                    </a:lnTo>
                    <a:lnTo>
                      <a:pt x="324" y="12"/>
                    </a:lnTo>
                    <a:lnTo>
                      <a:pt x="334" y="8"/>
                    </a:lnTo>
                    <a:lnTo>
                      <a:pt x="336" y="8"/>
                    </a:lnTo>
                    <a:lnTo>
                      <a:pt x="336" y="11"/>
                    </a:lnTo>
                    <a:lnTo>
                      <a:pt x="324" y="16"/>
                    </a:lnTo>
                    <a:lnTo>
                      <a:pt x="322" y="20"/>
                    </a:lnTo>
                    <a:lnTo>
                      <a:pt x="324" y="20"/>
                    </a:lnTo>
                    <a:lnTo>
                      <a:pt x="344" y="17"/>
                    </a:lnTo>
                    <a:lnTo>
                      <a:pt x="349" y="13"/>
                    </a:lnTo>
                    <a:lnTo>
                      <a:pt x="354" y="7"/>
                    </a:lnTo>
                    <a:lnTo>
                      <a:pt x="361" y="11"/>
                    </a:lnTo>
                    <a:lnTo>
                      <a:pt x="365" y="11"/>
                    </a:lnTo>
                    <a:lnTo>
                      <a:pt x="388" y="11"/>
                    </a:lnTo>
                    <a:lnTo>
                      <a:pt x="390" y="11"/>
                    </a:lnTo>
                    <a:lnTo>
                      <a:pt x="400" y="6"/>
                    </a:lnTo>
                    <a:lnTo>
                      <a:pt x="401" y="8"/>
                    </a:lnTo>
                    <a:lnTo>
                      <a:pt x="405" y="14"/>
                    </a:lnTo>
                    <a:lnTo>
                      <a:pt x="408" y="16"/>
                    </a:lnTo>
                    <a:lnTo>
                      <a:pt x="411" y="20"/>
                    </a:lnTo>
                    <a:lnTo>
                      <a:pt x="416" y="24"/>
                    </a:lnTo>
                    <a:lnTo>
                      <a:pt x="426" y="28"/>
                    </a:lnTo>
                    <a:lnTo>
                      <a:pt x="431" y="35"/>
                    </a:lnTo>
                    <a:lnTo>
                      <a:pt x="435" y="40"/>
                    </a:lnTo>
                    <a:lnTo>
                      <a:pt x="447" y="40"/>
                    </a:lnTo>
                    <a:lnTo>
                      <a:pt x="456" y="39"/>
                    </a:lnTo>
                    <a:lnTo>
                      <a:pt x="459" y="35"/>
                    </a:lnTo>
                    <a:lnTo>
                      <a:pt x="463" y="34"/>
                    </a:lnTo>
                    <a:lnTo>
                      <a:pt x="468" y="40"/>
                    </a:lnTo>
                    <a:lnTo>
                      <a:pt x="491" y="38"/>
                    </a:lnTo>
                    <a:lnTo>
                      <a:pt x="510" y="29"/>
                    </a:lnTo>
                    <a:lnTo>
                      <a:pt x="521" y="20"/>
                    </a:lnTo>
                    <a:lnTo>
                      <a:pt x="523" y="30"/>
                    </a:lnTo>
                    <a:lnTo>
                      <a:pt x="523" y="35"/>
                    </a:lnTo>
                    <a:lnTo>
                      <a:pt x="527" y="41"/>
                    </a:lnTo>
                    <a:lnTo>
                      <a:pt x="545" y="99"/>
                    </a:lnTo>
                    <a:lnTo>
                      <a:pt x="561" y="144"/>
                    </a:lnTo>
                    <a:lnTo>
                      <a:pt x="554" y="164"/>
                    </a:lnTo>
                    <a:lnTo>
                      <a:pt x="549" y="187"/>
                    </a:lnTo>
                    <a:lnTo>
                      <a:pt x="539" y="211"/>
                    </a:lnTo>
                    <a:lnTo>
                      <a:pt x="539" y="221"/>
                    </a:lnTo>
                    <a:lnTo>
                      <a:pt x="539" y="228"/>
                    </a:lnTo>
                    <a:lnTo>
                      <a:pt x="538" y="234"/>
                    </a:lnTo>
                    <a:lnTo>
                      <a:pt x="534" y="238"/>
                    </a:lnTo>
                    <a:lnTo>
                      <a:pt x="527" y="242"/>
                    </a:lnTo>
                    <a:lnTo>
                      <a:pt x="518" y="242"/>
                    </a:lnTo>
                    <a:lnTo>
                      <a:pt x="510" y="235"/>
                    </a:lnTo>
                    <a:lnTo>
                      <a:pt x="499" y="219"/>
                    </a:lnTo>
                    <a:lnTo>
                      <a:pt x="486" y="207"/>
                    </a:lnTo>
                    <a:lnTo>
                      <a:pt x="476" y="192"/>
                    </a:lnTo>
                    <a:lnTo>
                      <a:pt x="474" y="189"/>
                    </a:lnTo>
                    <a:lnTo>
                      <a:pt x="473" y="175"/>
                    </a:lnTo>
                    <a:lnTo>
                      <a:pt x="469" y="165"/>
                    </a:lnTo>
                    <a:lnTo>
                      <a:pt x="458" y="154"/>
                    </a:lnTo>
                    <a:lnTo>
                      <a:pt x="454" y="144"/>
                    </a:lnTo>
                    <a:lnTo>
                      <a:pt x="447" y="135"/>
                    </a:lnTo>
                    <a:lnTo>
                      <a:pt x="442" y="115"/>
                    </a:lnTo>
                    <a:lnTo>
                      <a:pt x="440" y="109"/>
                    </a:lnTo>
                    <a:lnTo>
                      <a:pt x="438" y="105"/>
                    </a:lnTo>
                    <a:lnTo>
                      <a:pt x="436" y="104"/>
                    </a:lnTo>
                    <a:lnTo>
                      <a:pt x="432" y="108"/>
                    </a:lnTo>
                    <a:lnTo>
                      <a:pt x="433" y="113"/>
                    </a:lnTo>
                    <a:lnTo>
                      <a:pt x="429" y="119"/>
                    </a:lnTo>
                    <a:lnTo>
                      <a:pt x="427" y="131"/>
                    </a:lnTo>
                    <a:lnTo>
                      <a:pt x="429" y="135"/>
                    </a:lnTo>
                    <a:lnTo>
                      <a:pt x="437" y="143"/>
                    </a:lnTo>
                    <a:lnTo>
                      <a:pt x="440" y="148"/>
                    </a:lnTo>
                    <a:lnTo>
                      <a:pt x="442" y="154"/>
                    </a:lnTo>
                    <a:lnTo>
                      <a:pt x="441" y="167"/>
                    </a:lnTo>
                    <a:lnTo>
                      <a:pt x="443" y="174"/>
                    </a:lnTo>
                    <a:lnTo>
                      <a:pt x="458" y="203"/>
                    </a:lnTo>
                    <a:lnTo>
                      <a:pt x="475" y="223"/>
                    </a:lnTo>
                    <a:lnTo>
                      <a:pt x="483" y="230"/>
                    </a:lnTo>
                    <a:lnTo>
                      <a:pt x="487" y="232"/>
                    </a:lnTo>
                    <a:lnTo>
                      <a:pt x="490" y="256"/>
                    </a:lnTo>
                    <a:lnTo>
                      <a:pt x="495" y="265"/>
                    </a:lnTo>
                    <a:lnTo>
                      <a:pt x="506" y="278"/>
                    </a:lnTo>
                    <a:lnTo>
                      <a:pt x="512" y="304"/>
                    </a:lnTo>
                    <a:lnTo>
                      <a:pt x="515" y="314"/>
                    </a:lnTo>
                    <a:lnTo>
                      <a:pt x="517" y="323"/>
                    </a:lnTo>
                    <a:lnTo>
                      <a:pt x="530" y="346"/>
                    </a:lnTo>
                    <a:lnTo>
                      <a:pt x="535" y="362"/>
                    </a:lnTo>
                    <a:lnTo>
                      <a:pt x="545" y="374"/>
                    </a:lnTo>
                    <a:lnTo>
                      <a:pt x="558" y="401"/>
                    </a:lnTo>
                    <a:lnTo>
                      <a:pt x="562" y="412"/>
                    </a:lnTo>
                    <a:lnTo>
                      <a:pt x="567" y="418"/>
                    </a:lnTo>
                    <a:lnTo>
                      <a:pt x="578" y="444"/>
                    </a:lnTo>
                    <a:lnTo>
                      <a:pt x="588" y="455"/>
                    </a:lnTo>
                    <a:lnTo>
                      <a:pt x="604" y="469"/>
                    </a:lnTo>
                    <a:lnTo>
                      <a:pt x="608" y="471"/>
                    </a:lnTo>
                    <a:lnTo>
                      <a:pt x="612" y="476"/>
                    </a:lnTo>
                    <a:lnTo>
                      <a:pt x="612" y="479"/>
                    </a:lnTo>
                    <a:lnTo>
                      <a:pt x="598" y="476"/>
                    </a:lnTo>
                    <a:lnTo>
                      <a:pt x="596" y="476"/>
                    </a:lnTo>
                    <a:lnTo>
                      <a:pt x="594" y="479"/>
                    </a:lnTo>
                    <a:lnTo>
                      <a:pt x="598" y="488"/>
                    </a:lnTo>
                    <a:lnTo>
                      <a:pt x="599" y="513"/>
                    </a:lnTo>
                    <a:lnTo>
                      <a:pt x="603" y="525"/>
                    </a:lnTo>
                    <a:lnTo>
                      <a:pt x="581" y="545"/>
                    </a:lnTo>
                    <a:lnTo>
                      <a:pt x="567" y="540"/>
                    </a:lnTo>
                    <a:lnTo>
                      <a:pt x="555" y="571"/>
                    </a:lnTo>
                    <a:lnTo>
                      <a:pt x="526" y="578"/>
                    </a:lnTo>
                    <a:lnTo>
                      <a:pt x="518" y="603"/>
                    </a:lnTo>
                    <a:lnTo>
                      <a:pt x="491" y="605"/>
                    </a:lnTo>
                    <a:lnTo>
                      <a:pt x="473" y="592"/>
                    </a:lnTo>
                    <a:lnTo>
                      <a:pt x="376" y="590"/>
                    </a:lnTo>
                    <a:lnTo>
                      <a:pt x="381" y="579"/>
                    </a:lnTo>
                    <a:lnTo>
                      <a:pt x="378" y="579"/>
                    </a:lnTo>
                    <a:lnTo>
                      <a:pt x="376" y="578"/>
                    </a:lnTo>
                    <a:lnTo>
                      <a:pt x="373" y="578"/>
                    </a:lnTo>
                    <a:lnTo>
                      <a:pt x="366" y="590"/>
                    </a:lnTo>
                    <a:lnTo>
                      <a:pt x="338" y="590"/>
                    </a:lnTo>
                    <a:lnTo>
                      <a:pt x="285" y="590"/>
                    </a:lnTo>
                    <a:lnTo>
                      <a:pt x="233" y="590"/>
                    </a:lnTo>
                    <a:lnTo>
                      <a:pt x="180" y="590"/>
                    </a:lnTo>
                    <a:lnTo>
                      <a:pt x="129" y="590"/>
                    </a:lnTo>
                    <a:lnTo>
                      <a:pt x="77" y="590"/>
                    </a:lnTo>
                    <a:lnTo>
                      <a:pt x="24" y="590"/>
                    </a:lnTo>
                    <a:lnTo>
                      <a:pt x="24" y="55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52" name="Freeform 16">
                <a:extLst>
                  <a:ext uri="{FF2B5EF4-FFF2-40B4-BE49-F238E27FC236}">
                    <a16:creationId xmlns:a16="http://schemas.microsoft.com/office/drawing/2014/main" id="{00B385F5-4D83-0D64-D435-A213204F3CA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22" y="2050"/>
                <a:ext cx="222" cy="226"/>
              </a:xfrm>
              <a:custGeom>
                <a:avLst/>
                <a:gdLst>
                  <a:gd name="T0" fmla="*/ 0 w 1112"/>
                  <a:gd name="T1" fmla="*/ 24 h 1129"/>
                  <a:gd name="T2" fmla="*/ 3 w 1112"/>
                  <a:gd name="T3" fmla="*/ 20 h 1129"/>
                  <a:gd name="T4" fmla="*/ 4 w 1112"/>
                  <a:gd name="T5" fmla="*/ 19 h 1129"/>
                  <a:gd name="T6" fmla="*/ 5 w 1112"/>
                  <a:gd name="T7" fmla="*/ 19 h 1129"/>
                  <a:gd name="T8" fmla="*/ 7 w 1112"/>
                  <a:gd name="T9" fmla="*/ 19 h 1129"/>
                  <a:gd name="T10" fmla="*/ 8 w 1112"/>
                  <a:gd name="T11" fmla="*/ 17 h 1129"/>
                  <a:gd name="T12" fmla="*/ 11 w 1112"/>
                  <a:gd name="T13" fmla="*/ 16 h 1129"/>
                  <a:gd name="T14" fmla="*/ 11 w 1112"/>
                  <a:gd name="T15" fmla="*/ 16 h 1129"/>
                  <a:gd name="T16" fmla="*/ 11 w 1112"/>
                  <a:gd name="T17" fmla="*/ 15 h 1129"/>
                  <a:gd name="T18" fmla="*/ 11 w 1112"/>
                  <a:gd name="T19" fmla="*/ 14 h 1129"/>
                  <a:gd name="T20" fmla="*/ 12 w 1112"/>
                  <a:gd name="T21" fmla="*/ 14 h 1129"/>
                  <a:gd name="T22" fmla="*/ 13 w 1112"/>
                  <a:gd name="T23" fmla="*/ 13 h 1129"/>
                  <a:gd name="T24" fmla="*/ 15 w 1112"/>
                  <a:gd name="T25" fmla="*/ 13 h 1129"/>
                  <a:gd name="T26" fmla="*/ 16 w 1112"/>
                  <a:gd name="T27" fmla="*/ 13 h 1129"/>
                  <a:gd name="T28" fmla="*/ 17 w 1112"/>
                  <a:gd name="T29" fmla="*/ 12 h 1129"/>
                  <a:gd name="T30" fmla="*/ 16 w 1112"/>
                  <a:gd name="T31" fmla="*/ 11 h 1129"/>
                  <a:gd name="T32" fmla="*/ 16 w 1112"/>
                  <a:gd name="T33" fmla="*/ 10 h 1129"/>
                  <a:gd name="T34" fmla="*/ 15 w 1112"/>
                  <a:gd name="T35" fmla="*/ 8 h 1129"/>
                  <a:gd name="T36" fmla="*/ 15 w 1112"/>
                  <a:gd name="T37" fmla="*/ 7 h 1129"/>
                  <a:gd name="T38" fmla="*/ 15 w 1112"/>
                  <a:gd name="T39" fmla="*/ 6 h 1129"/>
                  <a:gd name="T40" fmla="*/ 15 w 1112"/>
                  <a:gd name="T41" fmla="*/ 5 h 1129"/>
                  <a:gd name="T42" fmla="*/ 17 w 1112"/>
                  <a:gd name="T43" fmla="*/ 4 h 1129"/>
                  <a:gd name="T44" fmla="*/ 19 w 1112"/>
                  <a:gd name="T45" fmla="*/ 3 h 1129"/>
                  <a:gd name="T46" fmla="*/ 22 w 1112"/>
                  <a:gd name="T47" fmla="*/ 2 h 1129"/>
                  <a:gd name="T48" fmla="*/ 26 w 1112"/>
                  <a:gd name="T49" fmla="*/ 1 h 1129"/>
                  <a:gd name="T50" fmla="*/ 28 w 1112"/>
                  <a:gd name="T51" fmla="*/ 1 h 1129"/>
                  <a:gd name="T52" fmla="*/ 31 w 1112"/>
                  <a:gd name="T53" fmla="*/ 1 h 1129"/>
                  <a:gd name="T54" fmla="*/ 33 w 1112"/>
                  <a:gd name="T55" fmla="*/ 0 h 1129"/>
                  <a:gd name="T56" fmla="*/ 35 w 1112"/>
                  <a:gd name="T57" fmla="*/ 0 h 1129"/>
                  <a:gd name="T58" fmla="*/ 37 w 1112"/>
                  <a:gd name="T59" fmla="*/ 0 h 1129"/>
                  <a:gd name="T60" fmla="*/ 37 w 1112"/>
                  <a:gd name="T61" fmla="*/ 1 h 1129"/>
                  <a:gd name="T62" fmla="*/ 37 w 1112"/>
                  <a:gd name="T63" fmla="*/ 3 h 1129"/>
                  <a:gd name="T64" fmla="*/ 37 w 1112"/>
                  <a:gd name="T65" fmla="*/ 5 h 1129"/>
                  <a:gd name="T66" fmla="*/ 36 w 1112"/>
                  <a:gd name="T67" fmla="*/ 8 h 1129"/>
                  <a:gd name="T68" fmla="*/ 35 w 1112"/>
                  <a:gd name="T69" fmla="*/ 9 h 1129"/>
                  <a:gd name="T70" fmla="*/ 37 w 1112"/>
                  <a:gd name="T71" fmla="*/ 12 h 1129"/>
                  <a:gd name="T72" fmla="*/ 38 w 1112"/>
                  <a:gd name="T73" fmla="*/ 13 h 1129"/>
                  <a:gd name="T74" fmla="*/ 39 w 1112"/>
                  <a:gd name="T75" fmla="*/ 18 h 1129"/>
                  <a:gd name="T76" fmla="*/ 40 w 1112"/>
                  <a:gd name="T77" fmla="*/ 22 h 1129"/>
                  <a:gd name="T78" fmla="*/ 40 w 1112"/>
                  <a:gd name="T79" fmla="*/ 27 h 1129"/>
                  <a:gd name="T80" fmla="*/ 40 w 1112"/>
                  <a:gd name="T81" fmla="*/ 30 h 1129"/>
                  <a:gd name="T82" fmla="*/ 42 w 1112"/>
                  <a:gd name="T83" fmla="*/ 32 h 1129"/>
                  <a:gd name="T84" fmla="*/ 44 w 1112"/>
                  <a:gd name="T85" fmla="*/ 35 h 1129"/>
                  <a:gd name="T86" fmla="*/ 36 w 1112"/>
                  <a:gd name="T87" fmla="*/ 40 h 1129"/>
                  <a:gd name="T88" fmla="*/ 28 w 1112"/>
                  <a:gd name="T89" fmla="*/ 45 h 1129"/>
                  <a:gd name="T90" fmla="*/ 26 w 1112"/>
                  <a:gd name="T91" fmla="*/ 45 h 1129"/>
                  <a:gd name="T92" fmla="*/ 26 w 1112"/>
                  <a:gd name="T93" fmla="*/ 44 h 1129"/>
                  <a:gd name="T94" fmla="*/ 26 w 1112"/>
                  <a:gd name="T95" fmla="*/ 44 h 1129"/>
                  <a:gd name="T96" fmla="*/ 26 w 1112"/>
                  <a:gd name="T97" fmla="*/ 43 h 1129"/>
                  <a:gd name="T98" fmla="*/ 25 w 1112"/>
                  <a:gd name="T99" fmla="*/ 43 h 1129"/>
                  <a:gd name="T100" fmla="*/ 23 w 1112"/>
                  <a:gd name="T101" fmla="*/ 42 h 1129"/>
                  <a:gd name="T102" fmla="*/ 22 w 1112"/>
                  <a:gd name="T103" fmla="*/ 41 h 1129"/>
                  <a:gd name="T104" fmla="*/ 21 w 1112"/>
                  <a:gd name="T105" fmla="*/ 41 h 1129"/>
                  <a:gd name="T106" fmla="*/ 8 w 1112"/>
                  <a:gd name="T107" fmla="*/ 31 h 1129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1112"/>
                  <a:gd name="T163" fmla="*/ 0 h 1129"/>
                  <a:gd name="T164" fmla="*/ 1112 w 1112"/>
                  <a:gd name="T165" fmla="*/ 1129 h 1129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1112" h="1129">
                    <a:moveTo>
                      <a:pt x="203" y="773"/>
                    </a:moveTo>
                    <a:lnTo>
                      <a:pt x="126" y="722"/>
                    </a:lnTo>
                    <a:lnTo>
                      <a:pt x="67" y="684"/>
                    </a:lnTo>
                    <a:lnTo>
                      <a:pt x="0" y="640"/>
                    </a:lnTo>
                    <a:lnTo>
                      <a:pt x="0" y="608"/>
                    </a:lnTo>
                    <a:lnTo>
                      <a:pt x="0" y="539"/>
                    </a:lnTo>
                    <a:lnTo>
                      <a:pt x="26" y="519"/>
                    </a:lnTo>
                    <a:lnTo>
                      <a:pt x="47" y="505"/>
                    </a:lnTo>
                    <a:lnTo>
                      <a:pt x="59" y="505"/>
                    </a:lnTo>
                    <a:lnTo>
                      <a:pt x="66" y="499"/>
                    </a:lnTo>
                    <a:lnTo>
                      <a:pt x="72" y="495"/>
                    </a:lnTo>
                    <a:lnTo>
                      <a:pt x="79" y="489"/>
                    </a:lnTo>
                    <a:lnTo>
                      <a:pt x="83" y="485"/>
                    </a:lnTo>
                    <a:lnTo>
                      <a:pt x="90" y="487"/>
                    </a:lnTo>
                    <a:lnTo>
                      <a:pt x="97" y="485"/>
                    </a:lnTo>
                    <a:lnTo>
                      <a:pt x="102" y="488"/>
                    </a:lnTo>
                    <a:lnTo>
                      <a:pt x="110" y="488"/>
                    </a:lnTo>
                    <a:lnTo>
                      <a:pt x="113" y="487"/>
                    </a:lnTo>
                    <a:lnTo>
                      <a:pt x="113" y="478"/>
                    </a:lnTo>
                    <a:lnTo>
                      <a:pt x="114" y="474"/>
                    </a:lnTo>
                    <a:lnTo>
                      <a:pt x="131" y="476"/>
                    </a:lnTo>
                    <a:lnTo>
                      <a:pt x="136" y="473"/>
                    </a:lnTo>
                    <a:lnTo>
                      <a:pt x="145" y="473"/>
                    </a:lnTo>
                    <a:lnTo>
                      <a:pt x="161" y="471"/>
                    </a:lnTo>
                    <a:lnTo>
                      <a:pt x="178" y="463"/>
                    </a:lnTo>
                    <a:lnTo>
                      <a:pt x="184" y="458"/>
                    </a:lnTo>
                    <a:lnTo>
                      <a:pt x="190" y="453"/>
                    </a:lnTo>
                    <a:lnTo>
                      <a:pt x="193" y="447"/>
                    </a:lnTo>
                    <a:lnTo>
                      <a:pt x="193" y="445"/>
                    </a:lnTo>
                    <a:lnTo>
                      <a:pt x="196" y="437"/>
                    </a:lnTo>
                    <a:lnTo>
                      <a:pt x="206" y="430"/>
                    </a:lnTo>
                    <a:lnTo>
                      <a:pt x="221" y="424"/>
                    </a:lnTo>
                    <a:lnTo>
                      <a:pt x="227" y="424"/>
                    </a:lnTo>
                    <a:lnTo>
                      <a:pt x="253" y="407"/>
                    </a:lnTo>
                    <a:lnTo>
                      <a:pt x="274" y="403"/>
                    </a:lnTo>
                    <a:lnTo>
                      <a:pt x="276" y="399"/>
                    </a:lnTo>
                    <a:lnTo>
                      <a:pt x="275" y="396"/>
                    </a:lnTo>
                    <a:lnTo>
                      <a:pt x="270" y="392"/>
                    </a:lnTo>
                    <a:lnTo>
                      <a:pt x="269" y="390"/>
                    </a:lnTo>
                    <a:lnTo>
                      <a:pt x="267" y="390"/>
                    </a:lnTo>
                    <a:lnTo>
                      <a:pt x="264" y="391"/>
                    </a:lnTo>
                    <a:lnTo>
                      <a:pt x="263" y="391"/>
                    </a:lnTo>
                    <a:lnTo>
                      <a:pt x="264" y="380"/>
                    </a:lnTo>
                    <a:lnTo>
                      <a:pt x="269" y="375"/>
                    </a:lnTo>
                    <a:lnTo>
                      <a:pt x="268" y="372"/>
                    </a:lnTo>
                    <a:lnTo>
                      <a:pt x="263" y="372"/>
                    </a:lnTo>
                    <a:lnTo>
                      <a:pt x="262" y="370"/>
                    </a:lnTo>
                    <a:lnTo>
                      <a:pt x="262" y="364"/>
                    </a:lnTo>
                    <a:lnTo>
                      <a:pt x="263" y="359"/>
                    </a:lnTo>
                    <a:lnTo>
                      <a:pt x="268" y="355"/>
                    </a:lnTo>
                    <a:lnTo>
                      <a:pt x="273" y="355"/>
                    </a:lnTo>
                    <a:lnTo>
                      <a:pt x="280" y="356"/>
                    </a:lnTo>
                    <a:lnTo>
                      <a:pt x="287" y="355"/>
                    </a:lnTo>
                    <a:lnTo>
                      <a:pt x="295" y="354"/>
                    </a:lnTo>
                    <a:lnTo>
                      <a:pt x="308" y="348"/>
                    </a:lnTo>
                    <a:lnTo>
                      <a:pt x="311" y="345"/>
                    </a:lnTo>
                    <a:lnTo>
                      <a:pt x="312" y="339"/>
                    </a:lnTo>
                    <a:lnTo>
                      <a:pt x="311" y="334"/>
                    </a:lnTo>
                    <a:lnTo>
                      <a:pt x="313" y="329"/>
                    </a:lnTo>
                    <a:lnTo>
                      <a:pt x="316" y="328"/>
                    </a:lnTo>
                    <a:lnTo>
                      <a:pt x="323" y="331"/>
                    </a:lnTo>
                    <a:lnTo>
                      <a:pt x="327" y="329"/>
                    </a:lnTo>
                    <a:lnTo>
                      <a:pt x="330" y="327"/>
                    </a:lnTo>
                    <a:lnTo>
                      <a:pt x="340" y="324"/>
                    </a:lnTo>
                    <a:lnTo>
                      <a:pt x="371" y="324"/>
                    </a:lnTo>
                    <a:lnTo>
                      <a:pt x="376" y="323"/>
                    </a:lnTo>
                    <a:lnTo>
                      <a:pt x="387" y="324"/>
                    </a:lnTo>
                    <a:lnTo>
                      <a:pt x="399" y="324"/>
                    </a:lnTo>
                    <a:lnTo>
                      <a:pt x="407" y="328"/>
                    </a:lnTo>
                    <a:lnTo>
                      <a:pt x="409" y="327"/>
                    </a:lnTo>
                    <a:lnTo>
                      <a:pt x="409" y="324"/>
                    </a:lnTo>
                    <a:lnTo>
                      <a:pt x="407" y="320"/>
                    </a:lnTo>
                    <a:lnTo>
                      <a:pt x="408" y="313"/>
                    </a:lnTo>
                    <a:lnTo>
                      <a:pt x="411" y="306"/>
                    </a:lnTo>
                    <a:lnTo>
                      <a:pt x="416" y="304"/>
                    </a:lnTo>
                    <a:lnTo>
                      <a:pt x="416" y="302"/>
                    </a:lnTo>
                    <a:lnTo>
                      <a:pt x="409" y="297"/>
                    </a:lnTo>
                    <a:lnTo>
                      <a:pt x="400" y="289"/>
                    </a:lnTo>
                    <a:lnTo>
                      <a:pt x="393" y="274"/>
                    </a:lnTo>
                    <a:lnTo>
                      <a:pt x="393" y="268"/>
                    </a:lnTo>
                    <a:lnTo>
                      <a:pt x="391" y="261"/>
                    </a:lnTo>
                    <a:lnTo>
                      <a:pt x="388" y="253"/>
                    </a:lnTo>
                    <a:lnTo>
                      <a:pt x="389" y="248"/>
                    </a:lnTo>
                    <a:lnTo>
                      <a:pt x="391" y="242"/>
                    </a:lnTo>
                    <a:lnTo>
                      <a:pt x="391" y="238"/>
                    </a:lnTo>
                    <a:lnTo>
                      <a:pt x="391" y="234"/>
                    </a:lnTo>
                    <a:lnTo>
                      <a:pt x="383" y="226"/>
                    </a:lnTo>
                    <a:lnTo>
                      <a:pt x="386" y="223"/>
                    </a:lnTo>
                    <a:lnTo>
                      <a:pt x="386" y="213"/>
                    </a:lnTo>
                    <a:lnTo>
                      <a:pt x="387" y="204"/>
                    </a:lnTo>
                    <a:lnTo>
                      <a:pt x="384" y="193"/>
                    </a:lnTo>
                    <a:lnTo>
                      <a:pt x="382" y="186"/>
                    </a:lnTo>
                    <a:lnTo>
                      <a:pt x="386" y="178"/>
                    </a:lnTo>
                    <a:lnTo>
                      <a:pt x="380" y="170"/>
                    </a:lnTo>
                    <a:lnTo>
                      <a:pt x="381" y="167"/>
                    </a:lnTo>
                    <a:lnTo>
                      <a:pt x="382" y="167"/>
                    </a:lnTo>
                    <a:lnTo>
                      <a:pt x="383" y="165"/>
                    </a:lnTo>
                    <a:lnTo>
                      <a:pt x="381" y="161"/>
                    </a:lnTo>
                    <a:lnTo>
                      <a:pt x="377" y="160"/>
                    </a:lnTo>
                    <a:lnTo>
                      <a:pt x="373" y="155"/>
                    </a:lnTo>
                    <a:lnTo>
                      <a:pt x="372" y="153"/>
                    </a:lnTo>
                    <a:lnTo>
                      <a:pt x="366" y="148"/>
                    </a:lnTo>
                    <a:lnTo>
                      <a:pt x="364" y="143"/>
                    </a:lnTo>
                    <a:lnTo>
                      <a:pt x="364" y="138"/>
                    </a:lnTo>
                    <a:lnTo>
                      <a:pt x="371" y="137"/>
                    </a:lnTo>
                    <a:lnTo>
                      <a:pt x="384" y="132"/>
                    </a:lnTo>
                    <a:lnTo>
                      <a:pt x="399" y="123"/>
                    </a:lnTo>
                    <a:lnTo>
                      <a:pt x="418" y="100"/>
                    </a:lnTo>
                    <a:lnTo>
                      <a:pt x="429" y="92"/>
                    </a:lnTo>
                    <a:lnTo>
                      <a:pt x="438" y="91"/>
                    </a:lnTo>
                    <a:lnTo>
                      <a:pt x="445" y="92"/>
                    </a:lnTo>
                    <a:lnTo>
                      <a:pt x="456" y="82"/>
                    </a:lnTo>
                    <a:lnTo>
                      <a:pt x="467" y="87"/>
                    </a:lnTo>
                    <a:lnTo>
                      <a:pt x="478" y="82"/>
                    </a:lnTo>
                    <a:lnTo>
                      <a:pt x="484" y="73"/>
                    </a:lnTo>
                    <a:lnTo>
                      <a:pt x="491" y="65"/>
                    </a:lnTo>
                    <a:lnTo>
                      <a:pt x="497" y="62"/>
                    </a:lnTo>
                    <a:lnTo>
                      <a:pt x="505" y="59"/>
                    </a:lnTo>
                    <a:lnTo>
                      <a:pt x="516" y="51"/>
                    </a:lnTo>
                    <a:lnTo>
                      <a:pt x="543" y="41"/>
                    </a:lnTo>
                    <a:lnTo>
                      <a:pt x="555" y="37"/>
                    </a:lnTo>
                    <a:lnTo>
                      <a:pt x="608" y="33"/>
                    </a:lnTo>
                    <a:lnTo>
                      <a:pt x="620" y="33"/>
                    </a:lnTo>
                    <a:lnTo>
                      <a:pt x="630" y="28"/>
                    </a:lnTo>
                    <a:lnTo>
                      <a:pt x="640" y="20"/>
                    </a:lnTo>
                    <a:lnTo>
                      <a:pt x="646" y="22"/>
                    </a:lnTo>
                    <a:lnTo>
                      <a:pt x="658" y="21"/>
                    </a:lnTo>
                    <a:lnTo>
                      <a:pt x="663" y="24"/>
                    </a:lnTo>
                    <a:lnTo>
                      <a:pt x="673" y="21"/>
                    </a:lnTo>
                    <a:lnTo>
                      <a:pt x="689" y="14"/>
                    </a:lnTo>
                    <a:lnTo>
                      <a:pt x="705" y="14"/>
                    </a:lnTo>
                    <a:lnTo>
                      <a:pt x="720" y="12"/>
                    </a:lnTo>
                    <a:lnTo>
                      <a:pt x="744" y="15"/>
                    </a:lnTo>
                    <a:lnTo>
                      <a:pt x="753" y="24"/>
                    </a:lnTo>
                    <a:lnTo>
                      <a:pt x="764" y="27"/>
                    </a:lnTo>
                    <a:lnTo>
                      <a:pt x="775" y="25"/>
                    </a:lnTo>
                    <a:lnTo>
                      <a:pt x="784" y="20"/>
                    </a:lnTo>
                    <a:lnTo>
                      <a:pt x="801" y="16"/>
                    </a:lnTo>
                    <a:lnTo>
                      <a:pt x="812" y="12"/>
                    </a:lnTo>
                    <a:lnTo>
                      <a:pt x="819" y="0"/>
                    </a:lnTo>
                    <a:lnTo>
                      <a:pt x="832" y="4"/>
                    </a:lnTo>
                    <a:lnTo>
                      <a:pt x="840" y="10"/>
                    </a:lnTo>
                    <a:lnTo>
                      <a:pt x="846" y="10"/>
                    </a:lnTo>
                    <a:lnTo>
                      <a:pt x="855" y="14"/>
                    </a:lnTo>
                    <a:lnTo>
                      <a:pt x="866" y="9"/>
                    </a:lnTo>
                    <a:lnTo>
                      <a:pt x="872" y="1"/>
                    </a:lnTo>
                    <a:lnTo>
                      <a:pt x="892" y="9"/>
                    </a:lnTo>
                    <a:lnTo>
                      <a:pt x="900" y="15"/>
                    </a:lnTo>
                    <a:lnTo>
                      <a:pt x="913" y="14"/>
                    </a:lnTo>
                    <a:lnTo>
                      <a:pt x="921" y="10"/>
                    </a:lnTo>
                    <a:lnTo>
                      <a:pt x="935" y="12"/>
                    </a:lnTo>
                    <a:lnTo>
                      <a:pt x="948" y="10"/>
                    </a:lnTo>
                    <a:lnTo>
                      <a:pt x="946" y="16"/>
                    </a:lnTo>
                    <a:lnTo>
                      <a:pt x="941" y="20"/>
                    </a:lnTo>
                    <a:lnTo>
                      <a:pt x="935" y="26"/>
                    </a:lnTo>
                    <a:lnTo>
                      <a:pt x="926" y="35"/>
                    </a:lnTo>
                    <a:lnTo>
                      <a:pt x="924" y="40"/>
                    </a:lnTo>
                    <a:lnTo>
                      <a:pt x="930" y="42"/>
                    </a:lnTo>
                    <a:lnTo>
                      <a:pt x="931" y="46"/>
                    </a:lnTo>
                    <a:lnTo>
                      <a:pt x="926" y="78"/>
                    </a:lnTo>
                    <a:lnTo>
                      <a:pt x="925" y="86"/>
                    </a:lnTo>
                    <a:lnTo>
                      <a:pt x="927" y="96"/>
                    </a:lnTo>
                    <a:lnTo>
                      <a:pt x="929" y="119"/>
                    </a:lnTo>
                    <a:lnTo>
                      <a:pt x="932" y="125"/>
                    </a:lnTo>
                    <a:lnTo>
                      <a:pt x="932" y="132"/>
                    </a:lnTo>
                    <a:lnTo>
                      <a:pt x="926" y="156"/>
                    </a:lnTo>
                    <a:lnTo>
                      <a:pt x="922" y="170"/>
                    </a:lnTo>
                    <a:lnTo>
                      <a:pt x="903" y="182"/>
                    </a:lnTo>
                    <a:lnTo>
                      <a:pt x="900" y="193"/>
                    </a:lnTo>
                    <a:lnTo>
                      <a:pt x="892" y="197"/>
                    </a:lnTo>
                    <a:lnTo>
                      <a:pt x="887" y="202"/>
                    </a:lnTo>
                    <a:lnTo>
                      <a:pt x="886" y="205"/>
                    </a:lnTo>
                    <a:lnTo>
                      <a:pt x="876" y="211"/>
                    </a:lnTo>
                    <a:lnTo>
                      <a:pt x="873" y="211"/>
                    </a:lnTo>
                    <a:lnTo>
                      <a:pt x="876" y="219"/>
                    </a:lnTo>
                    <a:lnTo>
                      <a:pt x="881" y="231"/>
                    </a:lnTo>
                    <a:lnTo>
                      <a:pt x="887" y="257"/>
                    </a:lnTo>
                    <a:lnTo>
                      <a:pt x="905" y="264"/>
                    </a:lnTo>
                    <a:lnTo>
                      <a:pt x="910" y="270"/>
                    </a:lnTo>
                    <a:lnTo>
                      <a:pt x="919" y="290"/>
                    </a:lnTo>
                    <a:lnTo>
                      <a:pt x="919" y="308"/>
                    </a:lnTo>
                    <a:lnTo>
                      <a:pt x="937" y="321"/>
                    </a:lnTo>
                    <a:lnTo>
                      <a:pt x="962" y="333"/>
                    </a:lnTo>
                    <a:lnTo>
                      <a:pt x="964" y="333"/>
                    </a:lnTo>
                    <a:lnTo>
                      <a:pt x="964" y="334"/>
                    </a:lnTo>
                    <a:lnTo>
                      <a:pt x="978" y="407"/>
                    </a:lnTo>
                    <a:lnTo>
                      <a:pt x="983" y="444"/>
                    </a:lnTo>
                    <a:lnTo>
                      <a:pt x="984" y="447"/>
                    </a:lnTo>
                    <a:lnTo>
                      <a:pt x="983" y="450"/>
                    </a:lnTo>
                    <a:lnTo>
                      <a:pt x="973" y="457"/>
                    </a:lnTo>
                    <a:lnTo>
                      <a:pt x="972" y="473"/>
                    </a:lnTo>
                    <a:lnTo>
                      <a:pt x="983" y="487"/>
                    </a:lnTo>
                    <a:lnTo>
                      <a:pt x="995" y="509"/>
                    </a:lnTo>
                    <a:lnTo>
                      <a:pt x="1000" y="532"/>
                    </a:lnTo>
                    <a:lnTo>
                      <a:pt x="1001" y="554"/>
                    </a:lnTo>
                    <a:lnTo>
                      <a:pt x="1001" y="585"/>
                    </a:lnTo>
                    <a:lnTo>
                      <a:pt x="1004" y="593"/>
                    </a:lnTo>
                    <a:lnTo>
                      <a:pt x="1004" y="606"/>
                    </a:lnTo>
                    <a:lnTo>
                      <a:pt x="1000" y="628"/>
                    </a:lnTo>
                    <a:lnTo>
                      <a:pt x="999" y="684"/>
                    </a:lnTo>
                    <a:lnTo>
                      <a:pt x="990" y="691"/>
                    </a:lnTo>
                    <a:lnTo>
                      <a:pt x="979" y="693"/>
                    </a:lnTo>
                    <a:lnTo>
                      <a:pt x="978" y="702"/>
                    </a:lnTo>
                    <a:lnTo>
                      <a:pt x="983" y="715"/>
                    </a:lnTo>
                    <a:lnTo>
                      <a:pt x="1001" y="737"/>
                    </a:lnTo>
                    <a:lnTo>
                      <a:pt x="1011" y="753"/>
                    </a:lnTo>
                    <a:lnTo>
                      <a:pt x="1012" y="773"/>
                    </a:lnTo>
                    <a:lnTo>
                      <a:pt x="1015" y="785"/>
                    </a:lnTo>
                    <a:lnTo>
                      <a:pt x="1029" y="800"/>
                    </a:lnTo>
                    <a:lnTo>
                      <a:pt x="1048" y="801"/>
                    </a:lnTo>
                    <a:lnTo>
                      <a:pt x="1059" y="801"/>
                    </a:lnTo>
                    <a:lnTo>
                      <a:pt x="1088" y="815"/>
                    </a:lnTo>
                    <a:lnTo>
                      <a:pt x="1106" y="844"/>
                    </a:lnTo>
                    <a:lnTo>
                      <a:pt x="1110" y="858"/>
                    </a:lnTo>
                    <a:lnTo>
                      <a:pt x="1112" y="864"/>
                    </a:lnTo>
                    <a:lnTo>
                      <a:pt x="1086" y="882"/>
                    </a:lnTo>
                    <a:lnTo>
                      <a:pt x="1042" y="913"/>
                    </a:lnTo>
                    <a:lnTo>
                      <a:pt x="999" y="944"/>
                    </a:lnTo>
                    <a:lnTo>
                      <a:pt x="956" y="974"/>
                    </a:lnTo>
                    <a:lnTo>
                      <a:pt x="911" y="1005"/>
                    </a:lnTo>
                    <a:lnTo>
                      <a:pt x="867" y="1036"/>
                    </a:lnTo>
                    <a:lnTo>
                      <a:pt x="824" y="1066"/>
                    </a:lnTo>
                    <a:lnTo>
                      <a:pt x="781" y="1096"/>
                    </a:lnTo>
                    <a:lnTo>
                      <a:pt x="766" y="1101"/>
                    </a:lnTo>
                    <a:lnTo>
                      <a:pt x="704" y="1115"/>
                    </a:lnTo>
                    <a:lnTo>
                      <a:pt x="695" y="1117"/>
                    </a:lnTo>
                    <a:lnTo>
                      <a:pt x="690" y="1119"/>
                    </a:lnTo>
                    <a:lnTo>
                      <a:pt x="680" y="1124"/>
                    </a:lnTo>
                    <a:lnTo>
                      <a:pt x="672" y="1124"/>
                    </a:lnTo>
                    <a:lnTo>
                      <a:pt x="663" y="1129"/>
                    </a:lnTo>
                    <a:lnTo>
                      <a:pt x="656" y="1129"/>
                    </a:lnTo>
                    <a:lnTo>
                      <a:pt x="650" y="1128"/>
                    </a:lnTo>
                    <a:lnTo>
                      <a:pt x="642" y="1119"/>
                    </a:lnTo>
                    <a:lnTo>
                      <a:pt x="642" y="1114"/>
                    </a:lnTo>
                    <a:lnTo>
                      <a:pt x="645" y="1109"/>
                    </a:lnTo>
                    <a:lnTo>
                      <a:pt x="644" y="1103"/>
                    </a:lnTo>
                    <a:lnTo>
                      <a:pt x="645" y="1101"/>
                    </a:lnTo>
                    <a:lnTo>
                      <a:pt x="649" y="1098"/>
                    </a:lnTo>
                    <a:lnTo>
                      <a:pt x="649" y="1096"/>
                    </a:lnTo>
                    <a:lnTo>
                      <a:pt x="646" y="1092"/>
                    </a:lnTo>
                    <a:lnTo>
                      <a:pt x="646" y="1088"/>
                    </a:lnTo>
                    <a:lnTo>
                      <a:pt x="647" y="1086"/>
                    </a:lnTo>
                    <a:lnTo>
                      <a:pt x="646" y="1080"/>
                    </a:lnTo>
                    <a:lnTo>
                      <a:pt x="645" y="1080"/>
                    </a:lnTo>
                    <a:lnTo>
                      <a:pt x="644" y="1076"/>
                    </a:lnTo>
                    <a:lnTo>
                      <a:pt x="640" y="1074"/>
                    </a:lnTo>
                    <a:lnTo>
                      <a:pt x="631" y="1071"/>
                    </a:lnTo>
                    <a:lnTo>
                      <a:pt x="623" y="1066"/>
                    </a:lnTo>
                    <a:lnTo>
                      <a:pt x="618" y="1066"/>
                    </a:lnTo>
                    <a:lnTo>
                      <a:pt x="614" y="1064"/>
                    </a:lnTo>
                    <a:lnTo>
                      <a:pt x="603" y="1064"/>
                    </a:lnTo>
                    <a:lnTo>
                      <a:pt x="599" y="1061"/>
                    </a:lnTo>
                    <a:lnTo>
                      <a:pt x="596" y="1054"/>
                    </a:lnTo>
                    <a:lnTo>
                      <a:pt x="593" y="1053"/>
                    </a:lnTo>
                    <a:lnTo>
                      <a:pt x="585" y="1054"/>
                    </a:lnTo>
                    <a:lnTo>
                      <a:pt x="575" y="1052"/>
                    </a:lnTo>
                    <a:lnTo>
                      <a:pt x="570" y="1049"/>
                    </a:lnTo>
                    <a:lnTo>
                      <a:pt x="563" y="1043"/>
                    </a:lnTo>
                    <a:lnTo>
                      <a:pt x="561" y="1038"/>
                    </a:lnTo>
                    <a:lnTo>
                      <a:pt x="560" y="1032"/>
                    </a:lnTo>
                    <a:lnTo>
                      <a:pt x="558" y="1031"/>
                    </a:lnTo>
                    <a:lnTo>
                      <a:pt x="547" y="1025"/>
                    </a:lnTo>
                    <a:lnTo>
                      <a:pt x="539" y="1023"/>
                    </a:lnTo>
                    <a:lnTo>
                      <a:pt x="533" y="1020"/>
                    </a:lnTo>
                    <a:lnTo>
                      <a:pt x="532" y="1016"/>
                    </a:lnTo>
                    <a:lnTo>
                      <a:pt x="533" y="1007"/>
                    </a:lnTo>
                    <a:lnTo>
                      <a:pt x="529" y="1004"/>
                    </a:lnTo>
                    <a:lnTo>
                      <a:pt x="529" y="999"/>
                    </a:lnTo>
                    <a:lnTo>
                      <a:pt x="267" y="817"/>
                    </a:lnTo>
                    <a:lnTo>
                      <a:pt x="203" y="77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53" name="Freeform 17">
                <a:extLst>
                  <a:ext uri="{FF2B5EF4-FFF2-40B4-BE49-F238E27FC236}">
                    <a16:creationId xmlns:a16="http://schemas.microsoft.com/office/drawing/2014/main" id="{B673A80F-FE0A-0EEC-10E6-1E29C659A5D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30" y="2178"/>
                <a:ext cx="132" cy="146"/>
              </a:xfrm>
              <a:custGeom>
                <a:avLst/>
                <a:gdLst>
                  <a:gd name="T0" fmla="*/ 4 w 661"/>
                  <a:gd name="T1" fmla="*/ 14 h 727"/>
                  <a:gd name="T2" fmla="*/ 1 w 661"/>
                  <a:gd name="T3" fmla="*/ 14 h 727"/>
                  <a:gd name="T4" fmla="*/ 0 w 661"/>
                  <a:gd name="T5" fmla="*/ 15 h 727"/>
                  <a:gd name="T6" fmla="*/ 0 w 661"/>
                  <a:gd name="T7" fmla="*/ 15 h 727"/>
                  <a:gd name="T8" fmla="*/ 1 w 661"/>
                  <a:gd name="T9" fmla="*/ 16 h 727"/>
                  <a:gd name="T10" fmla="*/ 2 w 661"/>
                  <a:gd name="T11" fmla="*/ 16 h 727"/>
                  <a:gd name="T12" fmla="*/ 2 w 661"/>
                  <a:gd name="T13" fmla="*/ 18 h 727"/>
                  <a:gd name="T14" fmla="*/ 1 w 661"/>
                  <a:gd name="T15" fmla="*/ 18 h 727"/>
                  <a:gd name="T16" fmla="*/ 2 w 661"/>
                  <a:gd name="T17" fmla="*/ 20 h 727"/>
                  <a:gd name="T18" fmla="*/ 2 w 661"/>
                  <a:gd name="T19" fmla="*/ 23 h 727"/>
                  <a:gd name="T20" fmla="*/ 1 w 661"/>
                  <a:gd name="T21" fmla="*/ 25 h 727"/>
                  <a:gd name="T22" fmla="*/ 1 w 661"/>
                  <a:gd name="T23" fmla="*/ 26 h 727"/>
                  <a:gd name="T24" fmla="*/ 1 w 661"/>
                  <a:gd name="T25" fmla="*/ 25 h 727"/>
                  <a:gd name="T26" fmla="*/ 2 w 661"/>
                  <a:gd name="T27" fmla="*/ 25 h 727"/>
                  <a:gd name="T28" fmla="*/ 3 w 661"/>
                  <a:gd name="T29" fmla="*/ 25 h 727"/>
                  <a:gd name="T30" fmla="*/ 4 w 661"/>
                  <a:gd name="T31" fmla="*/ 25 h 727"/>
                  <a:gd name="T32" fmla="*/ 4 w 661"/>
                  <a:gd name="T33" fmla="*/ 25 h 727"/>
                  <a:gd name="T34" fmla="*/ 5 w 661"/>
                  <a:gd name="T35" fmla="*/ 25 h 727"/>
                  <a:gd name="T36" fmla="*/ 6 w 661"/>
                  <a:gd name="T37" fmla="*/ 25 h 727"/>
                  <a:gd name="T38" fmla="*/ 6 w 661"/>
                  <a:gd name="T39" fmla="*/ 26 h 727"/>
                  <a:gd name="T40" fmla="*/ 7 w 661"/>
                  <a:gd name="T41" fmla="*/ 26 h 727"/>
                  <a:gd name="T42" fmla="*/ 7 w 661"/>
                  <a:gd name="T43" fmla="*/ 26 h 727"/>
                  <a:gd name="T44" fmla="*/ 8 w 661"/>
                  <a:gd name="T45" fmla="*/ 27 h 727"/>
                  <a:gd name="T46" fmla="*/ 8 w 661"/>
                  <a:gd name="T47" fmla="*/ 27 h 727"/>
                  <a:gd name="T48" fmla="*/ 9 w 661"/>
                  <a:gd name="T49" fmla="*/ 28 h 727"/>
                  <a:gd name="T50" fmla="*/ 9 w 661"/>
                  <a:gd name="T51" fmla="*/ 28 h 727"/>
                  <a:gd name="T52" fmla="*/ 9 w 661"/>
                  <a:gd name="T53" fmla="*/ 28 h 727"/>
                  <a:gd name="T54" fmla="*/ 9 w 661"/>
                  <a:gd name="T55" fmla="*/ 28 h 727"/>
                  <a:gd name="T56" fmla="*/ 10 w 661"/>
                  <a:gd name="T57" fmla="*/ 29 h 727"/>
                  <a:gd name="T58" fmla="*/ 10 w 661"/>
                  <a:gd name="T59" fmla="*/ 29 h 727"/>
                  <a:gd name="T60" fmla="*/ 11 w 661"/>
                  <a:gd name="T61" fmla="*/ 29 h 727"/>
                  <a:gd name="T62" fmla="*/ 12 w 661"/>
                  <a:gd name="T63" fmla="*/ 27 h 727"/>
                  <a:gd name="T64" fmla="*/ 12 w 661"/>
                  <a:gd name="T65" fmla="*/ 27 h 727"/>
                  <a:gd name="T66" fmla="*/ 13 w 661"/>
                  <a:gd name="T67" fmla="*/ 28 h 727"/>
                  <a:gd name="T68" fmla="*/ 14 w 661"/>
                  <a:gd name="T69" fmla="*/ 29 h 727"/>
                  <a:gd name="T70" fmla="*/ 21 w 661"/>
                  <a:gd name="T71" fmla="*/ 28 h 727"/>
                  <a:gd name="T72" fmla="*/ 25 w 661"/>
                  <a:gd name="T73" fmla="*/ 26 h 727"/>
                  <a:gd name="T74" fmla="*/ 24 w 661"/>
                  <a:gd name="T75" fmla="*/ 21 h 727"/>
                  <a:gd name="T76" fmla="*/ 23 w 661"/>
                  <a:gd name="T77" fmla="*/ 14 h 727"/>
                  <a:gd name="T78" fmla="*/ 23 w 661"/>
                  <a:gd name="T79" fmla="*/ 8 h 727"/>
                  <a:gd name="T80" fmla="*/ 23 w 661"/>
                  <a:gd name="T81" fmla="*/ 3 h 727"/>
                  <a:gd name="T82" fmla="*/ 18 w 661"/>
                  <a:gd name="T83" fmla="*/ 3 h 727"/>
                  <a:gd name="T84" fmla="*/ 12 w 661"/>
                  <a:gd name="T85" fmla="*/ 3 h 727"/>
                  <a:gd name="T86" fmla="*/ 11 w 661"/>
                  <a:gd name="T87" fmla="*/ 8 h 727"/>
                  <a:gd name="T88" fmla="*/ 10 w 661"/>
                  <a:gd name="T89" fmla="*/ 9 h 727"/>
                  <a:gd name="T90" fmla="*/ 9 w 661"/>
                  <a:gd name="T91" fmla="*/ 10 h 727"/>
                  <a:gd name="T92" fmla="*/ 9 w 661"/>
                  <a:gd name="T93" fmla="*/ 12 h 727"/>
                  <a:gd name="T94" fmla="*/ 9 w 661"/>
                  <a:gd name="T95" fmla="*/ 14 h 727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661"/>
                  <a:gd name="T145" fmla="*/ 0 h 727"/>
                  <a:gd name="T146" fmla="*/ 661 w 661"/>
                  <a:gd name="T147" fmla="*/ 727 h 727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661" h="727">
                    <a:moveTo>
                      <a:pt x="196" y="347"/>
                    </a:moveTo>
                    <a:lnTo>
                      <a:pt x="148" y="347"/>
                    </a:lnTo>
                    <a:lnTo>
                      <a:pt x="96" y="347"/>
                    </a:lnTo>
                    <a:lnTo>
                      <a:pt x="45" y="347"/>
                    </a:lnTo>
                    <a:lnTo>
                      <a:pt x="16" y="347"/>
                    </a:lnTo>
                    <a:lnTo>
                      <a:pt x="14" y="353"/>
                    </a:lnTo>
                    <a:lnTo>
                      <a:pt x="6" y="360"/>
                    </a:lnTo>
                    <a:lnTo>
                      <a:pt x="2" y="365"/>
                    </a:lnTo>
                    <a:lnTo>
                      <a:pt x="5" y="364"/>
                    </a:lnTo>
                    <a:lnTo>
                      <a:pt x="0" y="369"/>
                    </a:lnTo>
                    <a:lnTo>
                      <a:pt x="0" y="371"/>
                    </a:lnTo>
                    <a:lnTo>
                      <a:pt x="0" y="369"/>
                    </a:lnTo>
                    <a:lnTo>
                      <a:pt x="10" y="365"/>
                    </a:lnTo>
                    <a:lnTo>
                      <a:pt x="12" y="369"/>
                    </a:lnTo>
                    <a:lnTo>
                      <a:pt x="22" y="391"/>
                    </a:lnTo>
                    <a:lnTo>
                      <a:pt x="23" y="393"/>
                    </a:lnTo>
                    <a:lnTo>
                      <a:pt x="30" y="391"/>
                    </a:lnTo>
                    <a:lnTo>
                      <a:pt x="40" y="409"/>
                    </a:lnTo>
                    <a:lnTo>
                      <a:pt x="41" y="414"/>
                    </a:lnTo>
                    <a:lnTo>
                      <a:pt x="41" y="429"/>
                    </a:lnTo>
                    <a:lnTo>
                      <a:pt x="41" y="437"/>
                    </a:lnTo>
                    <a:lnTo>
                      <a:pt x="35" y="455"/>
                    </a:lnTo>
                    <a:lnTo>
                      <a:pt x="33" y="458"/>
                    </a:lnTo>
                    <a:lnTo>
                      <a:pt x="28" y="460"/>
                    </a:lnTo>
                    <a:lnTo>
                      <a:pt x="27" y="463"/>
                    </a:lnTo>
                    <a:lnTo>
                      <a:pt x="45" y="488"/>
                    </a:lnTo>
                    <a:lnTo>
                      <a:pt x="49" y="501"/>
                    </a:lnTo>
                    <a:lnTo>
                      <a:pt x="50" y="515"/>
                    </a:lnTo>
                    <a:lnTo>
                      <a:pt x="51" y="527"/>
                    </a:lnTo>
                    <a:lnTo>
                      <a:pt x="50" y="563"/>
                    </a:lnTo>
                    <a:lnTo>
                      <a:pt x="46" y="577"/>
                    </a:lnTo>
                    <a:lnTo>
                      <a:pt x="32" y="614"/>
                    </a:lnTo>
                    <a:lnTo>
                      <a:pt x="30" y="623"/>
                    </a:lnTo>
                    <a:lnTo>
                      <a:pt x="24" y="639"/>
                    </a:lnTo>
                    <a:lnTo>
                      <a:pt x="23" y="651"/>
                    </a:lnTo>
                    <a:lnTo>
                      <a:pt x="24" y="650"/>
                    </a:lnTo>
                    <a:lnTo>
                      <a:pt x="28" y="647"/>
                    </a:lnTo>
                    <a:lnTo>
                      <a:pt x="32" y="640"/>
                    </a:lnTo>
                    <a:lnTo>
                      <a:pt x="37" y="627"/>
                    </a:lnTo>
                    <a:lnTo>
                      <a:pt x="40" y="627"/>
                    </a:lnTo>
                    <a:lnTo>
                      <a:pt x="43" y="625"/>
                    </a:lnTo>
                    <a:lnTo>
                      <a:pt x="50" y="627"/>
                    </a:lnTo>
                    <a:lnTo>
                      <a:pt x="59" y="627"/>
                    </a:lnTo>
                    <a:lnTo>
                      <a:pt x="69" y="629"/>
                    </a:lnTo>
                    <a:lnTo>
                      <a:pt x="76" y="628"/>
                    </a:lnTo>
                    <a:lnTo>
                      <a:pt x="78" y="625"/>
                    </a:lnTo>
                    <a:lnTo>
                      <a:pt x="89" y="623"/>
                    </a:lnTo>
                    <a:lnTo>
                      <a:pt x="98" y="624"/>
                    </a:lnTo>
                    <a:lnTo>
                      <a:pt x="100" y="623"/>
                    </a:lnTo>
                    <a:lnTo>
                      <a:pt x="100" y="619"/>
                    </a:lnTo>
                    <a:lnTo>
                      <a:pt x="102" y="619"/>
                    </a:lnTo>
                    <a:lnTo>
                      <a:pt x="108" y="619"/>
                    </a:lnTo>
                    <a:lnTo>
                      <a:pt x="113" y="618"/>
                    </a:lnTo>
                    <a:lnTo>
                      <a:pt x="119" y="620"/>
                    </a:lnTo>
                    <a:lnTo>
                      <a:pt x="135" y="620"/>
                    </a:lnTo>
                    <a:lnTo>
                      <a:pt x="136" y="622"/>
                    </a:lnTo>
                    <a:lnTo>
                      <a:pt x="141" y="620"/>
                    </a:lnTo>
                    <a:lnTo>
                      <a:pt x="143" y="625"/>
                    </a:lnTo>
                    <a:lnTo>
                      <a:pt x="150" y="627"/>
                    </a:lnTo>
                    <a:lnTo>
                      <a:pt x="161" y="635"/>
                    </a:lnTo>
                    <a:lnTo>
                      <a:pt x="162" y="641"/>
                    </a:lnTo>
                    <a:lnTo>
                      <a:pt x="169" y="649"/>
                    </a:lnTo>
                    <a:lnTo>
                      <a:pt x="173" y="647"/>
                    </a:lnTo>
                    <a:lnTo>
                      <a:pt x="179" y="646"/>
                    </a:lnTo>
                    <a:lnTo>
                      <a:pt x="179" y="650"/>
                    </a:lnTo>
                    <a:lnTo>
                      <a:pt x="183" y="651"/>
                    </a:lnTo>
                    <a:lnTo>
                      <a:pt x="188" y="647"/>
                    </a:lnTo>
                    <a:lnTo>
                      <a:pt x="190" y="647"/>
                    </a:lnTo>
                    <a:lnTo>
                      <a:pt x="200" y="662"/>
                    </a:lnTo>
                    <a:lnTo>
                      <a:pt x="205" y="672"/>
                    </a:lnTo>
                    <a:lnTo>
                      <a:pt x="205" y="676"/>
                    </a:lnTo>
                    <a:lnTo>
                      <a:pt x="209" y="677"/>
                    </a:lnTo>
                    <a:lnTo>
                      <a:pt x="212" y="682"/>
                    </a:lnTo>
                    <a:lnTo>
                      <a:pt x="212" y="684"/>
                    </a:lnTo>
                    <a:lnTo>
                      <a:pt x="215" y="686"/>
                    </a:lnTo>
                    <a:lnTo>
                      <a:pt x="218" y="684"/>
                    </a:lnTo>
                    <a:lnTo>
                      <a:pt x="220" y="684"/>
                    </a:lnTo>
                    <a:lnTo>
                      <a:pt x="222" y="692"/>
                    </a:lnTo>
                    <a:lnTo>
                      <a:pt x="225" y="693"/>
                    </a:lnTo>
                    <a:lnTo>
                      <a:pt x="227" y="697"/>
                    </a:lnTo>
                    <a:lnTo>
                      <a:pt x="223" y="698"/>
                    </a:lnTo>
                    <a:lnTo>
                      <a:pt x="223" y="699"/>
                    </a:lnTo>
                    <a:lnTo>
                      <a:pt x="228" y="700"/>
                    </a:lnTo>
                    <a:lnTo>
                      <a:pt x="231" y="704"/>
                    </a:lnTo>
                    <a:lnTo>
                      <a:pt x="234" y="706"/>
                    </a:lnTo>
                    <a:lnTo>
                      <a:pt x="238" y="706"/>
                    </a:lnTo>
                    <a:lnTo>
                      <a:pt x="244" y="709"/>
                    </a:lnTo>
                    <a:lnTo>
                      <a:pt x="247" y="713"/>
                    </a:lnTo>
                    <a:lnTo>
                      <a:pt x="248" y="717"/>
                    </a:lnTo>
                    <a:lnTo>
                      <a:pt x="250" y="719"/>
                    </a:lnTo>
                    <a:lnTo>
                      <a:pt x="256" y="721"/>
                    </a:lnTo>
                    <a:lnTo>
                      <a:pt x="263" y="727"/>
                    </a:lnTo>
                    <a:lnTo>
                      <a:pt x="286" y="705"/>
                    </a:lnTo>
                    <a:lnTo>
                      <a:pt x="293" y="687"/>
                    </a:lnTo>
                    <a:lnTo>
                      <a:pt x="297" y="676"/>
                    </a:lnTo>
                    <a:lnTo>
                      <a:pt x="302" y="665"/>
                    </a:lnTo>
                    <a:lnTo>
                      <a:pt x="304" y="663"/>
                    </a:lnTo>
                    <a:lnTo>
                      <a:pt x="307" y="665"/>
                    </a:lnTo>
                    <a:lnTo>
                      <a:pt x="308" y="666"/>
                    </a:lnTo>
                    <a:lnTo>
                      <a:pt x="314" y="667"/>
                    </a:lnTo>
                    <a:lnTo>
                      <a:pt x="318" y="670"/>
                    </a:lnTo>
                    <a:lnTo>
                      <a:pt x="323" y="683"/>
                    </a:lnTo>
                    <a:lnTo>
                      <a:pt x="333" y="701"/>
                    </a:lnTo>
                    <a:lnTo>
                      <a:pt x="347" y="705"/>
                    </a:lnTo>
                    <a:lnTo>
                      <a:pt x="350" y="705"/>
                    </a:lnTo>
                    <a:lnTo>
                      <a:pt x="376" y="683"/>
                    </a:lnTo>
                    <a:lnTo>
                      <a:pt x="463" y="686"/>
                    </a:lnTo>
                    <a:lnTo>
                      <a:pt x="534" y="687"/>
                    </a:lnTo>
                    <a:lnTo>
                      <a:pt x="607" y="688"/>
                    </a:lnTo>
                    <a:lnTo>
                      <a:pt x="625" y="688"/>
                    </a:lnTo>
                    <a:lnTo>
                      <a:pt x="637" y="641"/>
                    </a:lnTo>
                    <a:lnTo>
                      <a:pt x="615" y="634"/>
                    </a:lnTo>
                    <a:lnTo>
                      <a:pt x="609" y="577"/>
                    </a:lnTo>
                    <a:lnTo>
                      <a:pt x="604" y="522"/>
                    </a:lnTo>
                    <a:lnTo>
                      <a:pt x="598" y="468"/>
                    </a:lnTo>
                    <a:lnTo>
                      <a:pt x="592" y="414"/>
                    </a:lnTo>
                    <a:lnTo>
                      <a:pt x="587" y="359"/>
                    </a:lnTo>
                    <a:lnTo>
                      <a:pt x="581" y="302"/>
                    </a:lnTo>
                    <a:lnTo>
                      <a:pt x="576" y="247"/>
                    </a:lnTo>
                    <a:lnTo>
                      <a:pt x="570" y="191"/>
                    </a:lnTo>
                    <a:lnTo>
                      <a:pt x="564" y="133"/>
                    </a:lnTo>
                    <a:lnTo>
                      <a:pt x="661" y="133"/>
                    </a:lnTo>
                    <a:lnTo>
                      <a:pt x="584" y="82"/>
                    </a:lnTo>
                    <a:lnTo>
                      <a:pt x="525" y="44"/>
                    </a:lnTo>
                    <a:lnTo>
                      <a:pt x="458" y="0"/>
                    </a:lnTo>
                    <a:lnTo>
                      <a:pt x="458" y="70"/>
                    </a:lnTo>
                    <a:lnTo>
                      <a:pt x="405" y="70"/>
                    </a:lnTo>
                    <a:lnTo>
                      <a:pt x="352" y="70"/>
                    </a:lnTo>
                    <a:lnTo>
                      <a:pt x="299" y="70"/>
                    </a:lnTo>
                    <a:lnTo>
                      <a:pt x="281" y="70"/>
                    </a:lnTo>
                    <a:lnTo>
                      <a:pt x="281" y="128"/>
                    </a:lnTo>
                    <a:lnTo>
                      <a:pt x="281" y="187"/>
                    </a:lnTo>
                    <a:lnTo>
                      <a:pt x="281" y="222"/>
                    </a:lnTo>
                    <a:lnTo>
                      <a:pt x="261" y="229"/>
                    </a:lnTo>
                    <a:lnTo>
                      <a:pt x="244" y="231"/>
                    </a:lnTo>
                    <a:lnTo>
                      <a:pt x="228" y="236"/>
                    </a:lnTo>
                    <a:lnTo>
                      <a:pt x="223" y="240"/>
                    </a:lnTo>
                    <a:lnTo>
                      <a:pt x="220" y="245"/>
                    </a:lnTo>
                    <a:lnTo>
                      <a:pt x="215" y="256"/>
                    </a:lnTo>
                    <a:lnTo>
                      <a:pt x="213" y="264"/>
                    </a:lnTo>
                    <a:lnTo>
                      <a:pt x="215" y="290"/>
                    </a:lnTo>
                    <a:lnTo>
                      <a:pt x="218" y="310"/>
                    </a:lnTo>
                    <a:lnTo>
                      <a:pt x="218" y="331"/>
                    </a:lnTo>
                    <a:lnTo>
                      <a:pt x="222" y="347"/>
                    </a:lnTo>
                    <a:lnTo>
                      <a:pt x="196" y="34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54" name="Freeform 18">
                <a:extLst>
                  <a:ext uri="{FF2B5EF4-FFF2-40B4-BE49-F238E27FC236}">
                    <a16:creationId xmlns:a16="http://schemas.microsoft.com/office/drawing/2014/main" id="{3F752B50-3A7D-0B33-3A12-5B34DB75FF6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74" y="2067"/>
                <a:ext cx="131" cy="105"/>
              </a:xfrm>
              <a:custGeom>
                <a:avLst/>
                <a:gdLst>
                  <a:gd name="T0" fmla="*/ 8 w 656"/>
                  <a:gd name="T1" fmla="*/ 21 h 526"/>
                  <a:gd name="T2" fmla="*/ 3 w 656"/>
                  <a:gd name="T3" fmla="*/ 21 h 526"/>
                  <a:gd name="T4" fmla="*/ 0 w 656"/>
                  <a:gd name="T5" fmla="*/ 21 h 526"/>
                  <a:gd name="T6" fmla="*/ 1 w 656"/>
                  <a:gd name="T7" fmla="*/ 20 h 526"/>
                  <a:gd name="T8" fmla="*/ 3 w 656"/>
                  <a:gd name="T9" fmla="*/ 19 h 526"/>
                  <a:gd name="T10" fmla="*/ 4 w 656"/>
                  <a:gd name="T11" fmla="*/ 19 h 526"/>
                  <a:gd name="T12" fmla="*/ 6 w 656"/>
                  <a:gd name="T13" fmla="*/ 18 h 526"/>
                  <a:gd name="T14" fmla="*/ 7 w 656"/>
                  <a:gd name="T15" fmla="*/ 16 h 526"/>
                  <a:gd name="T16" fmla="*/ 7 w 656"/>
                  <a:gd name="T17" fmla="*/ 14 h 526"/>
                  <a:gd name="T18" fmla="*/ 7 w 656"/>
                  <a:gd name="T19" fmla="*/ 12 h 526"/>
                  <a:gd name="T20" fmla="*/ 8 w 656"/>
                  <a:gd name="T21" fmla="*/ 11 h 526"/>
                  <a:gd name="T22" fmla="*/ 9 w 656"/>
                  <a:gd name="T23" fmla="*/ 9 h 526"/>
                  <a:gd name="T24" fmla="*/ 10 w 656"/>
                  <a:gd name="T25" fmla="*/ 7 h 526"/>
                  <a:gd name="T26" fmla="*/ 12 w 656"/>
                  <a:gd name="T27" fmla="*/ 6 h 526"/>
                  <a:gd name="T28" fmla="*/ 14 w 656"/>
                  <a:gd name="T29" fmla="*/ 5 h 526"/>
                  <a:gd name="T30" fmla="*/ 15 w 656"/>
                  <a:gd name="T31" fmla="*/ 2 h 526"/>
                  <a:gd name="T32" fmla="*/ 17 w 656"/>
                  <a:gd name="T33" fmla="*/ 0 h 526"/>
                  <a:gd name="T34" fmla="*/ 19 w 656"/>
                  <a:gd name="T35" fmla="*/ 2 h 526"/>
                  <a:gd name="T36" fmla="*/ 20 w 656"/>
                  <a:gd name="T37" fmla="*/ 2 h 526"/>
                  <a:gd name="T38" fmla="*/ 22 w 656"/>
                  <a:gd name="T39" fmla="*/ 2 h 526"/>
                  <a:gd name="T40" fmla="*/ 23 w 656"/>
                  <a:gd name="T41" fmla="*/ 2 h 526"/>
                  <a:gd name="T42" fmla="*/ 24 w 656"/>
                  <a:gd name="T43" fmla="*/ 2 h 526"/>
                  <a:gd name="T44" fmla="*/ 24 w 656"/>
                  <a:gd name="T45" fmla="*/ 3 h 526"/>
                  <a:gd name="T46" fmla="*/ 25 w 656"/>
                  <a:gd name="T47" fmla="*/ 3 h 526"/>
                  <a:gd name="T48" fmla="*/ 25 w 656"/>
                  <a:gd name="T49" fmla="*/ 3 h 526"/>
                  <a:gd name="T50" fmla="*/ 25 w 656"/>
                  <a:gd name="T51" fmla="*/ 4 h 526"/>
                  <a:gd name="T52" fmla="*/ 25 w 656"/>
                  <a:gd name="T53" fmla="*/ 5 h 526"/>
                  <a:gd name="T54" fmla="*/ 25 w 656"/>
                  <a:gd name="T55" fmla="*/ 6 h 526"/>
                  <a:gd name="T56" fmla="*/ 25 w 656"/>
                  <a:gd name="T57" fmla="*/ 7 h 526"/>
                  <a:gd name="T58" fmla="*/ 25 w 656"/>
                  <a:gd name="T59" fmla="*/ 7 h 526"/>
                  <a:gd name="T60" fmla="*/ 26 w 656"/>
                  <a:gd name="T61" fmla="*/ 9 h 526"/>
                  <a:gd name="T62" fmla="*/ 26 w 656"/>
                  <a:gd name="T63" fmla="*/ 9 h 526"/>
                  <a:gd name="T64" fmla="*/ 26 w 656"/>
                  <a:gd name="T65" fmla="*/ 10 h 526"/>
                  <a:gd name="T66" fmla="*/ 26 w 656"/>
                  <a:gd name="T67" fmla="*/ 10 h 526"/>
                  <a:gd name="T68" fmla="*/ 24 w 656"/>
                  <a:gd name="T69" fmla="*/ 10 h 526"/>
                  <a:gd name="T70" fmla="*/ 23 w 656"/>
                  <a:gd name="T71" fmla="*/ 10 h 526"/>
                  <a:gd name="T72" fmla="*/ 22 w 656"/>
                  <a:gd name="T73" fmla="*/ 10 h 526"/>
                  <a:gd name="T74" fmla="*/ 22 w 656"/>
                  <a:gd name="T75" fmla="*/ 11 h 526"/>
                  <a:gd name="T76" fmla="*/ 21 w 656"/>
                  <a:gd name="T77" fmla="*/ 11 h 526"/>
                  <a:gd name="T78" fmla="*/ 20 w 656"/>
                  <a:gd name="T79" fmla="*/ 11 h 526"/>
                  <a:gd name="T80" fmla="*/ 20 w 656"/>
                  <a:gd name="T81" fmla="*/ 11 h 526"/>
                  <a:gd name="T82" fmla="*/ 20 w 656"/>
                  <a:gd name="T83" fmla="*/ 12 h 526"/>
                  <a:gd name="T84" fmla="*/ 20 w 656"/>
                  <a:gd name="T85" fmla="*/ 12 h 526"/>
                  <a:gd name="T86" fmla="*/ 20 w 656"/>
                  <a:gd name="T87" fmla="*/ 12 h 526"/>
                  <a:gd name="T88" fmla="*/ 21 w 656"/>
                  <a:gd name="T89" fmla="*/ 13 h 526"/>
                  <a:gd name="T90" fmla="*/ 18 w 656"/>
                  <a:gd name="T91" fmla="*/ 14 h 526"/>
                  <a:gd name="T92" fmla="*/ 17 w 656"/>
                  <a:gd name="T93" fmla="*/ 14 h 526"/>
                  <a:gd name="T94" fmla="*/ 17 w 656"/>
                  <a:gd name="T95" fmla="*/ 15 h 526"/>
                  <a:gd name="T96" fmla="*/ 15 w 656"/>
                  <a:gd name="T97" fmla="*/ 16 h 526"/>
                  <a:gd name="T98" fmla="*/ 14 w 656"/>
                  <a:gd name="T99" fmla="*/ 16 h 526"/>
                  <a:gd name="T100" fmla="*/ 14 w 656"/>
                  <a:gd name="T101" fmla="*/ 16 h 526"/>
                  <a:gd name="T102" fmla="*/ 13 w 656"/>
                  <a:gd name="T103" fmla="*/ 16 h 526"/>
                  <a:gd name="T104" fmla="*/ 12 w 656"/>
                  <a:gd name="T105" fmla="*/ 16 h 526"/>
                  <a:gd name="T106" fmla="*/ 11 w 656"/>
                  <a:gd name="T107" fmla="*/ 17 h 52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656"/>
                  <a:gd name="T163" fmla="*/ 0 h 526"/>
                  <a:gd name="T164" fmla="*/ 656 w 656"/>
                  <a:gd name="T165" fmla="*/ 526 h 52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656" h="526">
                    <a:moveTo>
                      <a:pt x="240" y="457"/>
                    </a:moveTo>
                    <a:lnTo>
                      <a:pt x="240" y="526"/>
                    </a:lnTo>
                    <a:lnTo>
                      <a:pt x="204" y="526"/>
                    </a:lnTo>
                    <a:lnTo>
                      <a:pt x="161" y="526"/>
                    </a:lnTo>
                    <a:lnTo>
                      <a:pt x="120" y="526"/>
                    </a:lnTo>
                    <a:lnTo>
                      <a:pt x="79" y="526"/>
                    </a:lnTo>
                    <a:lnTo>
                      <a:pt x="43" y="526"/>
                    </a:lnTo>
                    <a:lnTo>
                      <a:pt x="9" y="526"/>
                    </a:lnTo>
                    <a:lnTo>
                      <a:pt x="0" y="526"/>
                    </a:lnTo>
                    <a:lnTo>
                      <a:pt x="5" y="515"/>
                    </a:lnTo>
                    <a:lnTo>
                      <a:pt x="14" y="511"/>
                    </a:lnTo>
                    <a:lnTo>
                      <a:pt x="27" y="511"/>
                    </a:lnTo>
                    <a:lnTo>
                      <a:pt x="46" y="507"/>
                    </a:lnTo>
                    <a:lnTo>
                      <a:pt x="77" y="495"/>
                    </a:lnTo>
                    <a:lnTo>
                      <a:pt x="86" y="487"/>
                    </a:lnTo>
                    <a:lnTo>
                      <a:pt x="97" y="475"/>
                    </a:lnTo>
                    <a:lnTo>
                      <a:pt x="101" y="472"/>
                    </a:lnTo>
                    <a:lnTo>
                      <a:pt x="112" y="464"/>
                    </a:lnTo>
                    <a:lnTo>
                      <a:pt x="129" y="456"/>
                    </a:lnTo>
                    <a:lnTo>
                      <a:pt x="140" y="445"/>
                    </a:lnTo>
                    <a:lnTo>
                      <a:pt x="144" y="439"/>
                    </a:lnTo>
                    <a:lnTo>
                      <a:pt x="149" y="437"/>
                    </a:lnTo>
                    <a:lnTo>
                      <a:pt x="154" y="433"/>
                    </a:lnTo>
                    <a:lnTo>
                      <a:pt x="166" y="411"/>
                    </a:lnTo>
                    <a:lnTo>
                      <a:pt x="182" y="384"/>
                    </a:lnTo>
                    <a:lnTo>
                      <a:pt x="183" y="379"/>
                    </a:lnTo>
                    <a:lnTo>
                      <a:pt x="182" y="362"/>
                    </a:lnTo>
                    <a:lnTo>
                      <a:pt x="172" y="343"/>
                    </a:lnTo>
                    <a:lnTo>
                      <a:pt x="175" y="332"/>
                    </a:lnTo>
                    <a:lnTo>
                      <a:pt x="175" y="305"/>
                    </a:lnTo>
                    <a:lnTo>
                      <a:pt x="177" y="297"/>
                    </a:lnTo>
                    <a:lnTo>
                      <a:pt x="194" y="267"/>
                    </a:lnTo>
                    <a:lnTo>
                      <a:pt x="194" y="263"/>
                    </a:lnTo>
                    <a:lnTo>
                      <a:pt x="207" y="256"/>
                    </a:lnTo>
                    <a:lnTo>
                      <a:pt x="204" y="258"/>
                    </a:lnTo>
                    <a:lnTo>
                      <a:pt x="214" y="235"/>
                    </a:lnTo>
                    <a:lnTo>
                      <a:pt x="213" y="224"/>
                    </a:lnTo>
                    <a:lnTo>
                      <a:pt x="235" y="198"/>
                    </a:lnTo>
                    <a:lnTo>
                      <a:pt x="244" y="184"/>
                    </a:lnTo>
                    <a:lnTo>
                      <a:pt x="253" y="175"/>
                    </a:lnTo>
                    <a:lnTo>
                      <a:pt x="271" y="166"/>
                    </a:lnTo>
                    <a:lnTo>
                      <a:pt x="299" y="155"/>
                    </a:lnTo>
                    <a:lnTo>
                      <a:pt x="314" y="148"/>
                    </a:lnTo>
                    <a:lnTo>
                      <a:pt x="337" y="132"/>
                    </a:lnTo>
                    <a:lnTo>
                      <a:pt x="348" y="120"/>
                    </a:lnTo>
                    <a:lnTo>
                      <a:pt x="354" y="102"/>
                    </a:lnTo>
                    <a:lnTo>
                      <a:pt x="365" y="89"/>
                    </a:lnTo>
                    <a:lnTo>
                      <a:pt x="376" y="56"/>
                    </a:lnTo>
                    <a:lnTo>
                      <a:pt x="392" y="12"/>
                    </a:lnTo>
                    <a:lnTo>
                      <a:pt x="398" y="7"/>
                    </a:lnTo>
                    <a:lnTo>
                      <a:pt x="419" y="0"/>
                    </a:lnTo>
                    <a:lnTo>
                      <a:pt x="429" y="18"/>
                    </a:lnTo>
                    <a:lnTo>
                      <a:pt x="443" y="32"/>
                    </a:lnTo>
                    <a:lnTo>
                      <a:pt x="465" y="48"/>
                    </a:lnTo>
                    <a:lnTo>
                      <a:pt x="475" y="51"/>
                    </a:lnTo>
                    <a:lnTo>
                      <a:pt x="499" y="42"/>
                    </a:lnTo>
                    <a:lnTo>
                      <a:pt x="507" y="45"/>
                    </a:lnTo>
                    <a:lnTo>
                      <a:pt x="525" y="45"/>
                    </a:lnTo>
                    <a:lnTo>
                      <a:pt x="541" y="43"/>
                    </a:lnTo>
                    <a:lnTo>
                      <a:pt x="548" y="40"/>
                    </a:lnTo>
                    <a:lnTo>
                      <a:pt x="557" y="45"/>
                    </a:lnTo>
                    <a:lnTo>
                      <a:pt x="564" y="51"/>
                    </a:lnTo>
                    <a:lnTo>
                      <a:pt x="574" y="53"/>
                    </a:lnTo>
                    <a:lnTo>
                      <a:pt x="580" y="53"/>
                    </a:lnTo>
                    <a:lnTo>
                      <a:pt x="585" y="52"/>
                    </a:lnTo>
                    <a:lnTo>
                      <a:pt x="604" y="56"/>
                    </a:lnTo>
                    <a:lnTo>
                      <a:pt x="604" y="61"/>
                    </a:lnTo>
                    <a:lnTo>
                      <a:pt x="606" y="66"/>
                    </a:lnTo>
                    <a:lnTo>
                      <a:pt x="612" y="71"/>
                    </a:lnTo>
                    <a:lnTo>
                      <a:pt x="613" y="73"/>
                    </a:lnTo>
                    <a:lnTo>
                      <a:pt x="617" y="78"/>
                    </a:lnTo>
                    <a:lnTo>
                      <a:pt x="621" y="79"/>
                    </a:lnTo>
                    <a:lnTo>
                      <a:pt x="623" y="83"/>
                    </a:lnTo>
                    <a:lnTo>
                      <a:pt x="622" y="85"/>
                    </a:lnTo>
                    <a:lnTo>
                      <a:pt x="621" y="85"/>
                    </a:lnTo>
                    <a:lnTo>
                      <a:pt x="620" y="88"/>
                    </a:lnTo>
                    <a:lnTo>
                      <a:pt x="626" y="96"/>
                    </a:lnTo>
                    <a:lnTo>
                      <a:pt x="622" y="104"/>
                    </a:lnTo>
                    <a:lnTo>
                      <a:pt x="624" y="111"/>
                    </a:lnTo>
                    <a:lnTo>
                      <a:pt x="627" y="122"/>
                    </a:lnTo>
                    <a:lnTo>
                      <a:pt x="626" y="131"/>
                    </a:lnTo>
                    <a:lnTo>
                      <a:pt x="626" y="141"/>
                    </a:lnTo>
                    <a:lnTo>
                      <a:pt x="623" y="144"/>
                    </a:lnTo>
                    <a:lnTo>
                      <a:pt x="631" y="152"/>
                    </a:lnTo>
                    <a:lnTo>
                      <a:pt x="631" y="156"/>
                    </a:lnTo>
                    <a:lnTo>
                      <a:pt x="631" y="160"/>
                    </a:lnTo>
                    <a:lnTo>
                      <a:pt x="629" y="166"/>
                    </a:lnTo>
                    <a:lnTo>
                      <a:pt x="628" y="171"/>
                    </a:lnTo>
                    <a:lnTo>
                      <a:pt x="631" y="179"/>
                    </a:lnTo>
                    <a:lnTo>
                      <a:pt x="633" y="186"/>
                    </a:lnTo>
                    <a:lnTo>
                      <a:pt x="633" y="192"/>
                    </a:lnTo>
                    <a:lnTo>
                      <a:pt x="640" y="207"/>
                    </a:lnTo>
                    <a:lnTo>
                      <a:pt x="649" y="215"/>
                    </a:lnTo>
                    <a:lnTo>
                      <a:pt x="656" y="220"/>
                    </a:lnTo>
                    <a:lnTo>
                      <a:pt x="656" y="222"/>
                    </a:lnTo>
                    <a:lnTo>
                      <a:pt x="651" y="224"/>
                    </a:lnTo>
                    <a:lnTo>
                      <a:pt x="648" y="231"/>
                    </a:lnTo>
                    <a:lnTo>
                      <a:pt x="647" y="238"/>
                    </a:lnTo>
                    <a:lnTo>
                      <a:pt x="649" y="242"/>
                    </a:lnTo>
                    <a:lnTo>
                      <a:pt x="649" y="245"/>
                    </a:lnTo>
                    <a:lnTo>
                      <a:pt x="647" y="246"/>
                    </a:lnTo>
                    <a:lnTo>
                      <a:pt x="639" y="242"/>
                    </a:lnTo>
                    <a:lnTo>
                      <a:pt x="627" y="242"/>
                    </a:lnTo>
                    <a:lnTo>
                      <a:pt x="616" y="241"/>
                    </a:lnTo>
                    <a:lnTo>
                      <a:pt x="611" y="242"/>
                    </a:lnTo>
                    <a:lnTo>
                      <a:pt x="580" y="242"/>
                    </a:lnTo>
                    <a:lnTo>
                      <a:pt x="570" y="245"/>
                    </a:lnTo>
                    <a:lnTo>
                      <a:pt x="567" y="247"/>
                    </a:lnTo>
                    <a:lnTo>
                      <a:pt x="563" y="249"/>
                    </a:lnTo>
                    <a:lnTo>
                      <a:pt x="556" y="246"/>
                    </a:lnTo>
                    <a:lnTo>
                      <a:pt x="553" y="247"/>
                    </a:lnTo>
                    <a:lnTo>
                      <a:pt x="551" y="252"/>
                    </a:lnTo>
                    <a:lnTo>
                      <a:pt x="552" y="257"/>
                    </a:lnTo>
                    <a:lnTo>
                      <a:pt x="551" y="263"/>
                    </a:lnTo>
                    <a:lnTo>
                      <a:pt x="548" y="266"/>
                    </a:lnTo>
                    <a:lnTo>
                      <a:pt x="535" y="272"/>
                    </a:lnTo>
                    <a:lnTo>
                      <a:pt x="527" y="273"/>
                    </a:lnTo>
                    <a:lnTo>
                      <a:pt x="520" y="274"/>
                    </a:lnTo>
                    <a:lnTo>
                      <a:pt x="513" y="273"/>
                    </a:lnTo>
                    <a:lnTo>
                      <a:pt x="508" y="273"/>
                    </a:lnTo>
                    <a:lnTo>
                      <a:pt x="503" y="277"/>
                    </a:lnTo>
                    <a:lnTo>
                      <a:pt x="502" y="282"/>
                    </a:lnTo>
                    <a:lnTo>
                      <a:pt x="502" y="288"/>
                    </a:lnTo>
                    <a:lnTo>
                      <a:pt x="503" y="290"/>
                    </a:lnTo>
                    <a:lnTo>
                      <a:pt x="508" y="290"/>
                    </a:lnTo>
                    <a:lnTo>
                      <a:pt x="509" y="293"/>
                    </a:lnTo>
                    <a:lnTo>
                      <a:pt x="504" y="298"/>
                    </a:lnTo>
                    <a:lnTo>
                      <a:pt x="503" y="309"/>
                    </a:lnTo>
                    <a:lnTo>
                      <a:pt x="504" y="309"/>
                    </a:lnTo>
                    <a:lnTo>
                      <a:pt x="507" y="308"/>
                    </a:lnTo>
                    <a:lnTo>
                      <a:pt x="509" y="308"/>
                    </a:lnTo>
                    <a:lnTo>
                      <a:pt x="510" y="310"/>
                    </a:lnTo>
                    <a:lnTo>
                      <a:pt x="515" y="314"/>
                    </a:lnTo>
                    <a:lnTo>
                      <a:pt x="516" y="317"/>
                    </a:lnTo>
                    <a:lnTo>
                      <a:pt x="514" y="321"/>
                    </a:lnTo>
                    <a:lnTo>
                      <a:pt x="493" y="325"/>
                    </a:lnTo>
                    <a:lnTo>
                      <a:pt x="467" y="342"/>
                    </a:lnTo>
                    <a:lnTo>
                      <a:pt x="461" y="342"/>
                    </a:lnTo>
                    <a:lnTo>
                      <a:pt x="446" y="348"/>
                    </a:lnTo>
                    <a:lnTo>
                      <a:pt x="436" y="355"/>
                    </a:lnTo>
                    <a:lnTo>
                      <a:pt x="433" y="363"/>
                    </a:lnTo>
                    <a:lnTo>
                      <a:pt x="433" y="365"/>
                    </a:lnTo>
                    <a:lnTo>
                      <a:pt x="430" y="371"/>
                    </a:lnTo>
                    <a:lnTo>
                      <a:pt x="424" y="376"/>
                    </a:lnTo>
                    <a:lnTo>
                      <a:pt x="418" y="381"/>
                    </a:lnTo>
                    <a:lnTo>
                      <a:pt x="401" y="389"/>
                    </a:lnTo>
                    <a:lnTo>
                      <a:pt x="385" y="391"/>
                    </a:lnTo>
                    <a:lnTo>
                      <a:pt x="376" y="391"/>
                    </a:lnTo>
                    <a:lnTo>
                      <a:pt x="371" y="394"/>
                    </a:lnTo>
                    <a:lnTo>
                      <a:pt x="354" y="392"/>
                    </a:lnTo>
                    <a:lnTo>
                      <a:pt x="353" y="396"/>
                    </a:lnTo>
                    <a:lnTo>
                      <a:pt x="353" y="405"/>
                    </a:lnTo>
                    <a:lnTo>
                      <a:pt x="350" y="406"/>
                    </a:lnTo>
                    <a:lnTo>
                      <a:pt x="342" y="406"/>
                    </a:lnTo>
                    <a:lnTo>
                      <a:pt x="337" y="403"/>
                    </a:lnTo>
                    <a:lnTo>
                      <a:pt x="330" y="405"/>
                    </a:lnTo>
                    <a:lnTo>
                      <a:pt x="323" y="403"/>
                    </a:lnTo>
                    <a:lnTo>
                      <a:pt x="319" y="407"/>
                    </a:lnTo>
                    <a:lnTo>
                      <a:pt x="312" y="413"/>
                    </a:lnTo>
                    <a:lnTo>
                      <a:pt x="306" y="417"/>
                    </a:lnTo>
                    <a:lnTo>
                      <a:pt x="299" y="423"/>
                    </a:lnTo>
                    <a:lnTo>
                      <a:pt x="287" y="423"/>
                    </a:lnTo>
                    <a:lnTo>
                      <a:pt x="266" y="437"/>
                    </a:lnTo>
                    <a:lnTo>
                      <a:pt x="240" y="45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55" name="Freeform 19">
                <a:extLst>
                  <a:ext uri="{FF2B5EF4-FFF2-40B4-BE49-F238E27FC236}">
                    <a16:creationId xmlns:a16="http://schemas.microsoft.com/office/drawing/2014/main" id="{152B26E0-F8C6-2B4A-9E22-C0376857948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966" y="2356"/>
                <a:ext cx="112" cy="148"/>
              </a:xfrm>
              <a:custGeom>
                <a:avLst/>
                <a:gdLst>
                  <a:gd name="T0" fmla="*/ 0 w 561"/>
                  <a:gd name="T1" fmla="*/ 28 h 740"/>
                  <a:gd name="T2" fmla="*/ 0 w 561"/>
                  <a:gd name="T3" fmla="*/ 24 h 740"/>
                  <a:gd name="T4" fmla="*/ 0 w 561"/>
                  <a:gd name="T5" fmla="*/ 20 h 740"/>
                  <a:gd name="T6" fmla="*/ 2 w 561"/>
                  <a:gd name="T7" fmla="*/ 17 h 740"/>
                  <a:gd name="T8" fmla="*/ 4 w 561"/>
                  <a:gd name="T9" fmla="*/ 17 h 740"/>
                  <a:gd name="T10" fmla="*/ 6 w 561"/>
                  <a:gd name="T11" fmla="*/ 15 h 740"/>
                  <a:gd name="T12" fmla="*/ 12 w 561"/>
                  <a:gd name="T13" fmla="*/ 12 h 740"/>
                  <a:gd name="T14" fmla="*/ 15 w 561"/>
                  <a:gd name="T15" fmla="*/ 8 h 740"/>
                  <a:gd name="T16" fmla="*/ 7 w 561"/>
                  <a:gd name="T17" fmla="*/ 6 h 740"/>
                  <a:gd name="T18" fmla="*/ 5 w 561"/>
                  <a:gd name="T19" fmla="*/ 5 h 740"/>
                  <a:gd name="T20" fmla="*/ 5 w 561"/>
                  <a:gd name="T21" fmla="*/ 4 h 740"/>
                  <a:gd name="T22" fmla="*/ 4 w 561"/>
                  <a:gd name="T23" fmla="*/ 4 h 740"/>
                  <a:gd name="T24" fmla="*/ 4 w 561"/>
                  <a:gd name="T25" fmla="*/ 2 h 740"/>
                  <a:gd name="T26" fmla="*/ 5 w 561"/>
                  <a:gd name="T27" fmla="*/ 1 h 740"/>
                  <a:gd name="T28" fmla="*/ 5 w 561"/>
                  <a:gd name="T29" fmla="*/ 1 h 740"/>
                  <a:gd name="T30" fmla="*/ 6 w 561"/>
                  <a:gd name="T31" fmla="*/ 2 h 740"/>
                  <a:gd name="T32" fmla="*/ 7 w 561"/>
                  <a:gd name="T33" fmla="*/ 3 h 740"/>
                  <a:gd name="T34" fmla="*/ 9 w 561"/>
                  <a:gd name="T35" fmla="*/ 3 h 740"/>
                  <a:gd name="T36" fmla="*/ 10 w 561"/>
                  <a:gd name="T37" fmla="*/ 3 h 740"/>
                  <a:gd name="T38" fmla="*/ 10 w 561"/>
                  <a:gd name="T39" fmla="*/ 2 h 740"/>
                  <a:gd name="T40" fmla="*/ 11 w 561"/>
                  <a:gd name="T41" fmla="*/ 2 h 740"/>
                  <a:gd name="T42" fmla="*/ 12 w 561"/>
                  <a:gd name="T43" fmla="*/ 3 h 740"/>
                  <a:gd name="T44" fmla="*/ 13 w 561"/>
                  <a:gd name="T45" fmla="*/ 2 h 740"/>
                  <a:gd name="T46" fmla="*/ 13 w 561"/>
                  <a:gd name="T47" fmla="*/ 2 h 740"/>
                  <a:gd name="T48" fmla="*/ 15 w 561"/>
                  <a:gd name="T49" fmla="*/ 2 h 740"/>
                  <a:gd name="T50" fmla="*/ 16 w 561"/>
                  <a:gd name="T51" fmla="*/ 2 h 740"/>
                  <a:gd name="T52" fmla="*/ 17 w 561"/>
                  <a:gd name="T53" fmla="*/ 1 h 740"/>
                  <a:gd name="T54" fmla="*/ 18 w 561"/>
                  <a:gd name="T55" fmla="*/ 1 h 740"/>
                  <a:gd name="T56" fmla="*/ 19 w 561"/>
                  <a:gd name="T57" fmla="*/ 1 h 740"/>
                  <a:gd name="T58" fmla="*/ 20 w 561"/>
                  <a:gd name="T59" fmla="*/ 1 h 740"/>
                  <a:gd name="T60" fmla="*/ 21 w 561"/>
                  <a:gd name="T61" fmla="*/ 0 h 740"/>
                  <a:gd name="T62" fmla="*/ 22 w 561"/>
                  <a:gd name="T63" fmla="*/ 0 h 740"/>
                  <a:gd name="T64" fmla="*/ 22 w 561"/>
                  <a:gd name="T65" fmla="*/ 1 h 740"/>
                  <a:gd name="T66" fmla="*/ 22 w 561"/>
                  <a:gd name="T67" fmla="*/ 2 h 740"/>
                  <a:gd name="T68" fmla="*/ 22 w 561"/>
                  <a:gd name="T69" fmla="*/ 2 h 740"/>
                  <a:gd name="T70" fmla="*/ 22 w 561"/>
                  <a:gd name="T71" fmla="*/ 3 h 740"/>
                  <a:gd name="T72" fmla="*/ 22 w 561"/>
                  <a:gd name="T73" fmla="*/ 3 h 740"/>
                  <a:gd name="T74" fmla="*/ 22 w 561"/>
                  <a:gd name="T75" fmla="*/ 3 h 740"/>
                  <a:gd name="T76" fmla="*/ 22 w 561"/>
                  <a:gd name="T77" fmla="*/ 4 h 740"/>
                  <a:gd name="T78" fmla="*/ 22 w 561"/>
                  <a:gd name="T79" fmla="*/ 4 h 740"/>
                  <a:gd name="T80" fmla="*/ 22 w 561"/>
                  <a:gd name="T81" fmla="*/ 4 h 740"/>
                  <a:gd name="T82" fmla="*/ 21 w 561"/>
                  <a:gd name="T83" fmla="*/ 6 h 740"/>
                  <a:gd name="T84" fmla="*/ 21 w 561"/>
                  <a:gd name="T85" fmla="*/ 7 h 740"/>
                  <a:gd name="T86" fmla="*/ 20 w 561"/>
                  <a:gd name="T87" fmla="*/ 8 h 740"/>
                  <a:gd name="T88" fmla="*/ 19 w 561"/>
                  <a:gd name="T89" fmla="*/ 9 h 740"/>
                  <a:gd name="T90" fmla="*/ 19 w 561"/>
                  <a:gd name="T91" fmla="*/ 9 h 740"/>
                  <a:gd name="T92" fmla="*/ 18 w 561"/>
                  <a:gd name="T93" fmla="*/ 12 h 740"/>
                  <a:gd name="T94" fmla="*/ 17 w 561"/>
                  <a:gd name="T95" fmla="*/ 14 h 740"/>
                  <a:gd name="T96" fmla="*/ 17 w 561"/>
                  <a:gd name="T97" fmla="*/ 14 h 740"/>
                  <a:gd name="T98" fmla="*/ 16 w 561"/>
                  <a:gd name="T99" fmla="*/ 16 h 740"/>
                  <a:gd name="T100" fmla="*/ 15 w 561"/>
                  <a:gd name="T101" fmla="*/ 16 h 740"/>
                  <a:gd name="T102" fmla="*/ 14 w 561"/>
                  <a:gd name="T103" fmla="*/ 17 h 740"/>
                  <a:gd name="T104" fmla="*/ 13 w 561"/>
                  <a:gd name="T105" fmla="*/ 18 h 740"/>
                  <a:gd name="T106" fmla="*/ 12 w 561"/>
                  <a:gd name="T107" fmla="*/ 20 h 740"/>
                  <a:gd name="T108" fmla="*/ 11 w 561"/>
                  <a:gd name="T109" fmla="*/ 21 h 740"/>
                  <a:gd name="T110" fmla="*/ 10 w 561"/>
                  <a:gd name="T111" fmla="*/ 22 h 740"/>
                  <a:gd name="T112" fmla="*/ 9 w 561"/>
                  <a:gd name="T113" fmla="*/ 22 h 740"/>
                  <a:gd name="T114" fmla="*/ 5 w 561"/>
                  <a:gd name="T115" fmla="*/ 26 h 740"/>
                  <a:gd name="T116" fmla="*/ 4 w 561"/>
                  <a:gd name="T117" fmla="*/ 27 h 740"/>
                  <a:gd name="T118" fmla="*/ 3 w 561"/>
                  <a:gd name="T119" fmla="*/ 27 h 740"/>
                  <a:gd name="T120" fmla="*/ 3 w 561"/>
                  <a:gd name="T121" fmla="*/ 27 h 740"/>
                  <a:gd name="T122" fmla="*/ 2 w 561"/>
                  <a:gd name="T123" fmla="*/ 28 h 740"/>
                  <a:gd name="T124" fmla="*/ 1 w 561"/>
                  <a:gd name="T125" fmla="*/ 30 h 740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561"/>
                  <a:gd name="T190" fmla="*/ 0 h 740"/>
                  <a:gd name="T191" fmla="*/ 561 w 561"/>
                  <a:gd name="T192" fmla="*/ 740 h 740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561" h="740">
                    <a:moveTo>
                      <a:pt x="30" y="740"/>
                    </a:moveTo>
                    <a:lnTo>
                      <a:pt x="29" y="737"/>
                    </a:lnTo>
                    <a:lnTo>
                      <a:pt x="6" y="708"/>
                    </a:lnTo>
                    <a:lnTo>
                      <a:pt x="0" y="700"/>
                    </a:lnTo>
                    <a:lnTo>
                      <a:pt x="0" y="657"/>
                    </a:lnTo>
                    <a:lnTo>
                      <a:pt x="0" y="604"/>
                    </a:lnTo>
                    <a:lnTo>
                      <a:pt x="0" y="551"/>
                    </a:lnTo>
                    <a:lnTo>
                      <a:pt x="0" y="498"/>
                    </a:lnTo>
                    <a:lnTo>
                      <a:pt x="3" y="496"/>
                    </a:lnTo>
                    <a:lnTo>
                      <a:pt x="25" y="474"/>
                    </a:lnTo>
                    <a:lnTo>
                      <a:pt x="46" y="442"/>
                    </a:lnTo>
                    <a:lnTo>
                      <a:pt x="48" y="437"/>
                    </a:lnTo>
                    <a:lnTo>
                      <a:pt x="51" y="433"/>
                    </a:lnTo>
                    <a:lnTo>
                      <a:pt x="66" y="426"/>
                    </a:lnTo>
                    <a:lnTo>
                      <a:pt x="102" y="414"/>
                    </a:lnTo>
                    <a:lnTo>
                      <a:pt x="114" y="401"/>
                    </a:lnTo>
                    <a:lnTo>
                      <a:pt x="127" y="393"/>
                    </a:lnTo>
                    <a:lnTo>
                      <a:pt x="148" y="384"/>
                    </a:lnTo>
                    <a:lnTo>
                      <a:pt x="157" y="379"/>
                    </a:lnTo>
                    <a:lnTo>
                      <a:pt x="221" y="379"/>
                    </a:lnTo>
                    <a:lnTo>
                      <a:pt x="302" y="297"/>
                    </a:lnTo>
                    <a:lnTo>
                      <a:pt x="373" y="227"/>
                    </a:lnTo>
                    <a:lnTo>
                      <a:pt x="383" y="215"/>
                    </a:lnTo>
                    <a:lnTo>
                      <a:pt x="384" y="212"/>
                    </a:lnTo>
                    <a:lnTo>
                      <a:pt x="331" y="213"/>
                    </a:lnTo>
                    <a:lnTo>
                      <a:pt x="244" y="181"/>
                    </a:lnTo>
                    <a:lnTo>
                      <a:pt x="166" y="154"/>
                    </a:lnTo>
                    <a:lnTo>
                      <a:pt x="159" y="147"/>
                    </a:lnTo>
                    <a:lnTo>
                      <a:pt x="140" y="132"/>
                    </a:lnTo>
                    <a:lnTo>
                      <a:pt x="132" y="122"/>
                    </a:lnTo>
                    <a:lnTo>
                      <a:pt x="126" y="116"/>
                    </a:lnTo>
                    <a:lnTo>
                      <a:pt x="124" y="110"/>
                    </a:lnTo>
                    <a:lnTo>
                      <a:pt x="119" y="107"/>
                    </a:lnTo>
                    <a:lnTo>
                      <a:pt x="113" y="100"/>
                    </a:lnTo>
                    <a:lnTo>
                      <a:pt x="110" y="95"/>
                    </a:lnTo>
                    <a:lnTo>
                      <a:pt x="103" y="88"/>
                    </a:lnTo>
                    <a:lnTo>
                      <a:pt x="98" y="65"/>
                    </a:lnTo>
                    <a:lnTo>
                      <a:pt x="99" y="60"/>
                    </a:lnTo>
                    <a:lnTo>
                      <a:pt x="103" y="55"/>
                    </a:lnTo>
                    <a:lnTo>
                      <a:pt x="105" y="49"/>
                    </a:lnTo>
                    <a:lnTo>
                      <a:pt x="115" y="37"/>
                    </a:lnTo>
                    <a:lnTo>
                      <a:pt x="120" y="25"/>
                    </a:lnTo>
                    <a:lnTo>
                      <a:pt x="123" y="23"/>
                    </a:lnTo>
                    <a:lnTo>
                      <a:pt x="125" y="27"/>
                    </a:lnTo>
                    <a:lnTo>
                      <a:pt x="130" y="29"/>
                    </a:lnTo>
                    <a:lnTo>
                      <a:pt x="135" y="38"/>
                    </a:lnTo>
                    <a:lnTo>
                      <a:pt x="140" y="41"/>
                    </a:lnTo>
                    <a:lnTo>
                      <a:pt x="151" y="57"/>
                    </a:lnTo>
                    <a:lnTo>
                      <a:pt x="167" y="73"/>
                    </a:lnTo>
                    <a:lnTo>
                      <a:pt x="179" y="82"/>
                    </a:lnTo>
                    <a:lnTo>
                      <a:pt x="186" y="84"/>
                    </a:lnTo>
                    <a:lnTo>
                      <a:pt x="193" y="82"/>
                    </a:lnTo>
                    <a:lnTo>
                      <a:pt x="215" y="83"/>
                    </a:lnTo>
                    <a:lnTo>
                      <a:pt x="222" y="77"/>
                    </a:lnTo>
                    <a:lnTo>
                      <a:pt x="231" y="72"/>
                    </a:lnTo>
                    <a:lnTo>
                      <a:pt x="238" y="70"/>
                    </a:lnTo>
                    <a:lnTo>
                      <a:pt x="248" y="64"/>
                    </a:lnTo>
                    <a:lnTo>
                      <a:pt x="253" y="62"/>
                    </a:lnTo>
                    <a:lnTo>
                      <a:pt x="255" y="60"/>
                    </a:lnTo>
                    <a:lnTo>
                      <a:pt x="258" y="57"/>
                    </a:lnTo>
                    <a:lnTo>
                      <a:pt x="260" y="57"/>
                    </a:lnTo>
                    <a:lnTo>
                      <a:pt x="265" y="61"/>
                    </a:lnTo>
                    <a:lnTo>
                      <a:pt x="269" y="61"/>
                    </a:lnTo>
                    <a:lnTo>
                      <a:pt x="271" y="62"/>
                    </a:lnTo>
                    <a:lnTo>
                      <a:pt x="283" y="61"/>
                    </a:lnTo>
                    <a:lnTo>
                      <a:pt x="291" y="67"/>
                    </a:lnTo>
                    <a:lnTo>
                      <a:pt x="302" y="67"/>
                    </a:lnTo>
                    <a:lnTo>
                      <a:pt x="312" y="65"/>
                    </a:lnTo>
                    <a:lnTo>
                      <a:pt x="317" y="61"/>
                    </a:lnTo>
                    <a:lnTo>
                      <a:pt x="322" y="56"/>
                    </a:lnTo>
                    <a:lnTo>
                      <a:pt x="331" y="54"/>
                    </a:lnTo>
                    <a:lnTo>
                      <a:pt x="336" y="48"/>
                    </a:lnTo>
                    <a:lnTo>
                      <a:pt x="342" y="44"/>
                    </a:lnTo>
                    <a:lnTo>
                      <a:pt x="353" y="41"/>
                    </a:lnTo>
                    <a:lnTo>
                      <a:pt x="365" y="46"/>
                    </a:lnTo>
                    <a:lnTo>
                      <a:pt x="372" y="45"/>
                    </a:lnTo>
                    <a:lnTo>
                      <a:pt x="382" y="44"/>
                    </a:lnTo>
                    <a:lnTo>
                      <a:pt x="393" y="43"/>
                    </a:lnTo>
                    <a:lnTo>
                      <a:pt x="398" y="41"/>
                    </a:lnTo>
                    <a:lnTo>
                      <a:pt x="411" y="33"/>
                    </a:lnTo>
                    <a:lnTo>
                      <a:pt x="417" y="33"/>
                    </a:lnTo>
                    <a:lnTo>
                      <a:pt x="430" y="37"/>
                    </a:lnTo>
                    <a:lnTo>
                      <a:pt x="447" y="29"/>
                    </a:lnTo>
                    <a:lnTo>
                      <a:pt x="451" y="28"/>
                    </a:lnTo>
                    <a:lnTo>
                      <a:pt x="458" y="29"/>
                    </a:lnTo>
                    <a:lnTo>
                      <a:pt x="462" y="24"/>
                    </a:lnTo>
                    <a:lnTo>
                      <a:pt x="473" y="25"/>
                    </a:lnTo>
                    <a:lnTo>
                      <a:pt x="481" y="24"/>
                    </a:lnTo>
                    <a:lnTo>
                      <a:pt x="496" y="21"/>
                    </a:lnTo>
                    <a:lnTo>
                      <a:pt x="501" y="17"/>
                    </a:lnTo>
                    <a:lnTo>
                      <a:pt x="514" y="12"/>
                    </a:lnTo>
                    <a:lnTo>
                      <a:pt x="518" y="2"/>
                    </a:lnTo>
                    <a:lnTo>
                      <a:pt x="527" y="0"/>
                    </a:lnTo>
                    <a:lnTo>
                      <a:pt x="535" y="0"/>
                    </a:lnTo>
                    <a:lnTo>
                      <a:pt x="546" y="7"/>
                    </a:lnTo>
                    <a:lnTo>
                      <a:pt x="555" y="7"/>
                    </a:lnTo>
                    <a:lnTo>
                      <a:pt x="556" y="8"/>
                    </a:lnTo>
                    <a:lnTo>
                      <a:pt x="555" y="14"/>
                    </a:lnTo>
                    <a:lnTo>
                      <a:pt x="555" y="19"/>
                    </a:lnTo>
                    <a:lnTo>
                      <a:pt x="549" y="27"/>
                    </a:lnTo>
                    <a:lnTo>
                      <a:pt x="548" y="33"/>
                    </a:lnTo>
                    <a:lnTo>
                      <a:pt x="548" y="41"/>
                    </a:lnTo>
                    <a:lnTo>
                      <a:pt x="554" y="46"/>
                    </a:lnTo>
                    <a:lnTo>
                      <a:pt x="551" y="52"/>
                    </a:lnTo>
                    <a:lnTo>
                      <a:pt x="552" y="59"/>
                    </a:lnTo>
                    <a:lnTo>
                      <a:pt x="551" y="66"/>
                    </a:lnTo>
                    <a:lnTo>
                      <a:pt x="552" y="75"/>
                    </a:lnTo>
                    <a:lnTo>
                      <a:pt x="551" y="78"/>
                    </a:lnTo>
                    <a:lnTo>
                      <a:pt x="544" y="83"/>
                    </a:lnTo>
                    <a:lnTo>
                      <a:pt x="545" y="86"/>
                    </a:lnTo>
                    <a:lnTo>
                      <a:pt x="551" y="84"/>
                    </a:lnTo>
                    <a:lnTo>
                      <a:pt x="552" y="82"/>
                    </a:lnTo>
                    <a:lnTo>
                      <a:pt x="554" y="82"/>
                    </a:lnTo>
                    <a:lnTo>
                      <a:pt x="556" y="84"/>
                    </a:lnTo>
                    <a:lnTo>
                      <a:pt x="561" y="86"/>
                    </a:lnTo>
                    <a:lnTo>
                      <a:pt x="561" y="89"/>
                    </a:lnTo>
                    <a:lnTo>
                      <a:pt x="560" y="91"/>
                    </a:lnTo>
                    <a:lnTo>
                      <a:pt x="559" y="91"/>
                    </a:lnTo>
                    <a:lnTo>
                      <a:pt x="552" y="88"/>
                    </a:lnTo>
                    <a:lnTo>
                      <a:pt x="545" y="88"/>
                    </a:lnTo>
                    <a:lnTo>
                      <a:pt x="540" y="91"/>
                    </a:lnTo>
                    <a:lnTo>
                      <a:pt x="539" y="92"/>
                    </a:lnTo>
                    <a:lnTo>
                      <a:pt x="539" y="99"/>
                    </a:lnTo>
                    <a:lnTo>
                      <a:pt x="533" y="125"/>
                    </a:lnTo>
                    <a:lnTo>
                      <a:pt x="533" y="141"/>
                    </a:lnTo>
                    <a:lnTo>
                      <a:pt x="530" y="145"/>
                    </a:lnTo>
                    <a:lnTo>
                      <a:pt x="528" y="156"/>
                    </a:lnTo>
                    <a:lnTo>
                      <a:pt x="524" y="159"/>
                    </a:lnTo>
                    <a:lnTo>
                      <a:pt x="518" y="164"/>
                    </a:lnTo>
                    <a:lnTo>
                      <a:pt x="511" y="181"/>
                    </a:lnTo>
                    <a:lnTo>
                      <a:pt x="502" y="190"/>
                    </a:lnTo>
                    <a:lnTo>
                      <a:pt x="497" y="202"/>
                    </a:lnTo>
                    <a:lnTo>
                      <a:pt x="497" y="204"/>
                    </a:lnTo>
                    <a:lnTo>
                      <a:pt x="492" y="207"/>
                    </a:lnTo>
                    <a:lnTo>
                      <a:pt x="485" y="215"/>
                    </a:lnTo>
                    <a:lnTo>
                      <a:pt x="482" y="220"/>
                    </a:lnTo>
                    <a:lnTo>
                      <a:pt x="480" y="226"/>
                    </a:lnTo>
                    <a:lnTo>
                      <a:pt x="479" y="237"/>
                    </a:lnTo>
                    <a:lnTo>
                      <a:pt x="462" y="271"/>
                    </a:lnTo>
                    <a:lnTo>
                      <a:pt x="447" y="296"/>
                    </a:lnTo>
                    <a:lnTo>
                      <a:pt x="444" y="303"/>
                    </a:lnTo>
                    <a:lnTo>
                      <a:pt x="438" y="325"/>
                    </a:lnTo>
                    <a:lnTo>
                      <a:pt x="431" y="344"/>
                    </a:lnTo>
                    <a:lnTo>
                      <a:pt x="422" y="351"/>
                    </a:lnTo>
                    <a:lnTo>
                      <a:pt x="419" y="353"/>
                    </a:lnTo>
                    <a:lnTo>
                      <a:pt x="416" y="357"/>
                    </a:lnTo>
                    <a:lnTo>
                      <a:pt x="414" y="358"/>
                    </a:lnTo>
                    <a:lnTo>
                      <a:pt x="409" y="363"/>
                    </a:lnTo>
                    <a:lnTo>
                      <a:pt x="394" y="378"/>
                    </a:lnTo>
                    <a:lnTo>
                      <a:pt x="389" y="389"/>
                    </a:lnTo>
                    <a:lnTo>
                      <a:pt x="389" y="390"/>
                    </a:lnTo>
                    <a:lnTo>
                      <a:pt x="388" y="395"/>
                    </a:lnTo>
                    <a:lnTo>
                      <a:pt x="382" y="405"/>
                    </a:lnTo>
                    <a:lnTo>
                      <a:pt x="373" y="420"/>
                    </a:lnTo>
                    <a:lnTo>
                      <a:pt x="362" y="432"/>
                    </a:lnTo>
                    <a:lnTo>
                      <a:pt x="363" y="432"/>
                    </a:lnTo>
                    <a:lnTo>
                      <a:pt x="352" y="442"/>
                    </a:lnTo>
                    <a:lnTo>
                      <a:pt x="340" y="453"/>
                    </a:lnTo>
                    <a:lnTo>
                      <a:pt x="334" y="461"/>
                    </a:lnTo>
                    <a:lnTo>
                      <a:pt x="323" y="474"/>
                    </a:lnTo>
                    <a:lnTo>
                      <a:pt x="306" y="486"/>
                    </a:lnTo>
                    <a:lnTo>
                      <a:pt x="297" y="492"/>
                    </a:lnTo>
                    <a:lnTo>
                      <a:pt x="297" y="495"/>
                    </a:lnTo>
                    <a:lnTo>
                      <a:pt x="290" y="506"/>
                    </a:lnTo>
                    <a:lnTo>
                      <a:pt x="277" y="520"/>
                    </a:lnTo>
                    <a:lnTo>
                      <a:pt x="264" y="532"/>
                    </a:lnTo>
                    <a:lnTo>
                      <a:pt x="249" y="541"/>
                    </a:lnTo>
                    <a:lnTo>
                      <a:pt x="243" y="545"/>
                    </a:lnTo>
                    <a:lnTo>
                      <a:pt x="231" y="549"/>
                    </a:lnTo>
                    <a:lnTo>
                      <a:pt x="223" y="550"/>
                    </a:lnTo>
                    <a:lnTo>
                      <a:pt x="216" y="554"/>
                    </a:lnTo>
                    <a:lnTo>
                      <a:pt x="193" y="572"/>
                    </a:lnTo>
                    <a:lnTo>
                      <a:pt x="139" y="620"/>
                    </a:lnTo>
                    <a:lnTo>
                      <a:pt x="120" y="640"/>
                    </a:lnTo>
                    <a:lnTo>
                      <a:pt x="113" y="648"/>
                    </a:lnTo>
                    <a:lnTo>
                      <a:pt x="103" y="659"/>
                    </a:lnTo>
                    <a:lnTo>
                      <a:pt x="91" y="663"/>
                    </a:lnTo>
                    <a:lnTo>
                      <a:pt x="87" y="660"/>
                    </a:lnTo>
                    <a:lnTo>
                      <a:pt x="84" y="665"/>
                    </a:lnTo>
                    <a:lnTo>
                      <a:pt x="87" y="665"/>
                    </a:lnTo>
                    <a:lnTo>
                      <a:pt x="88" y="669"/>
                    </a:lnTo>
                    <a:lnTo>
                      <a:pt x="87" y="672"/>
                    </a:lnTo>
                    <a:lnTo>
                      <a:pt x="83" y="674"/>
                    </a:lnTo>
                    <a:lnTo>
                      <a:pt x="81" y="681"/>
                    </a:lnTo>
                    <a:lnTo>
                      <a:pt x="75" y="691"/>
                    </a:lnTo>
                    <a:lnTo>
                      <a:pt x="61" y="705"/>
                    </a:lnTo>
                    <a:lnTo>
                      <a:pt x="50" y="718"/>
                    </a:lnTo>
                    <a:lnTo>
                      <a:pt x="37" y="730"/>
                    </a:lnTo>
                    <a:lnTo>
                      <a:pt x="32" y="739"/>
                    </a:lnTo>
                    <a:lnTo>
                      <a:pt x="30" y="74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56" name="Freeform 20">
                <a:extLst>
                  <a:ext uri="{FF2B5EF4-FFF2-40B4-BE49-F238E27FC236}">
                    <a16:creationId xmlns:a16="http://schemas.microsoft.com/office/drawing/2014/main" id="{23184150-FF4E-62B6-4DF2-63DC452CE0E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756" y="2228"/>
                <a:ext cx="181" cy="219"/>
              </a:xfrm>
              <a:custGeom>
                <a:avLst/>
                <a:gdLst>
                  <a:gd name="T0" fmla="*/ 5 w 907"/>
                  <a:gd name="T1" fmla="*/ 15 h 1097"/>
                  <a:gd name="T2" fmla="*/ 3 w 907"/>
                  <a:gd name="T3" fmla="*/ 17 h 1097"/>
                  <a:gd name="T4" fmla="*/ 2 w 907"/>
                  <a:gd name="T5" fmla="*/ 18 h 1097"/>
                  <a:gd name="T6" fmla="*/ 1 w 907"/>
                  <a:gd name="T7" fmla="*/ 20 h 1097"/>
                  <a:gd name="T8" fmla="*/ 1 w 907"/>
                  <a:gd name="T9" fmla="*/ 21 h 1097"/>
                  <a:gd name="T10" fmla="*/ 0 w 907"/>
                  <a:gd name="T11" fmla="*/ 23 h 1097"/>
                  <a:gd name="T12" fmla="*/ 0 w 907"/>
                  <a:gd name="T13" fmla="*/ 24 h 1097"/>
                  <a:gd name="T14" fmla="*/ 1 w 907"/>
                  <a:gd name="T15" fmla="*/ 25 h 1097"/>
                  <a:gd name="T16" fmla="*/ 2 w 907"/>
                  <a:gd name="T17" fmla="*/ 27 h 1097"/>
                  <a:gd name="T18" fmla="*/ 2 w 907"/>
                  <a:gd name="T19" fmla="*/ 28 h 1097"/>
                  <a:gd name="T20" fmla="*/ 4 w 907"/>
                  <a:gd name="T21" fmla="*/ 31 h 1097"/>
                  <a:gd name="T22" fmla="*/ 4 w 907"/>
                  <a:gd name="T23" fmla="*/ 33 h 1097"/>
                  <a:gd name="T24" fmla="*/ 6 w 907"/>
                  <a:gd name="T25" fmla="*/ 34 h 1097"/>
                  <a:gd name="T26" fmla="*/ 7 w 907"/>
                  <a:gd name="T27" fmla="*/ 35 h 1097"/>
                  <a:gd name="T28" fmla="*/ 9 w 907"/>
                  <a:gd name="T29" fmla="*/ 36 h 1097"/>
                  <a:gd name="T30" fmla="*/ 10 w 907"/>
                  <a:gd name="T31" fmla="*/ 38 h 1097"/>
                  <a:gd name="T32" fmla="*/ 12 w 907"/>
                  <a:gd name="T33" fmla="*/ 40 h 1097"/>
                  <a:gd name="T34" fmla="*/ 13 w 907"/>
                  <a:gd name="T35" fmla="*/ 41 h 1097"/>
                  <a:gd name="T36" fmla="*/ 15 w 907"/>
                  <a:gd name="T37" fmla="*/ 42 h 1097"/>
                  <a:gd name="T38" fmla="*/ 17 w 907"/>
                  <a:gd name="T39" fmla="*/ 42 h 1097"/>
                  <a:gd name="T40" fmla="*/ 19 w 907"/>
                  <a:gd name="T41" fmla="*/ 44 h 1097"/>
                  <a:gd name="T42" fmla="*/ 21 w 907"/>
                  <a:gd name="T43" fmla="*/ 44 h 1097"/>
                  <a:gd name="T44" fmla="*/ 22 w 907"/>
                  <a:gd name="T45" fmla="*/ 44 h 1097"/>
                  <a:gd name="T46" fmla="*/ 25 w 907"/>
                  <a:gd name="T47" fmla="*/ 43 h 1097"/>
                  <a:gd name="T48" fmla="*/ 26 w 907"/>
                  <a:gd name="T49" fmla="*/ 43 h 1097"/>
                  <a:gd name="T50" fmla="*/ 29 w 907"/>
                  <a:gd name="T51" fmla="*/ 42 h 1097"/>
                  <a:gd name="T52" fmla="*/ 31 w 907"/>
                  <a:gd name="T53" fmla="*/ 40 h 1097"/>
                  <a:gd name="T54" fmla="*/ 29 w 907"/>
                  <a:gd name="T55" fmla="*/ 39 h 1097"/>
                  <a:gd name="T56" fmla="*/ 28 w 907"/>
                  <a:gd name="T57" fmla="*/ 37 h 1097"/>
                  <a:gd name="T58" fmla="*/ 27 w 907"/>
                  <a:gd name="T59" fmla="*/ 36 h 1097"/>
                  <a:gd name="T60" fmla="*/ 25 w 907"/>
                  <a:gd name="T61" fmla="*/ 35 h 1097"/>
                  <a:gd name="T62" fmla="*/ 25 w 907"/>
                  <a:gd name="T63" fmla="*/ 34 h 1097"/>
                  <a:gd name="T64" fmla="*/ 26 w 907"/>
                  <a:gd name="T65" fmla="*/ 33 h 1097"/>
                  <a:gd name="T66" fmla="*/ 27 w 907"/>
                  <a:gd name="T67" fmla="*/ 30 h 1097"/>
                  <a:gd name="T68" fmla="*/ 27 w 907"/>
                  <a:gd name="T69" fmla="*/ 29 h 1097"/>
                  <a:gd name="T70" fmla="*/ 28 w 907"/>
                  <a:gd name="T71" fmla="*/ 28 h 1097"/>
                  <a:gd name="T72" fmla="*/ 29 w 907"/>
                  <a:gd name="T73" fmla="*/ 26 h 1097"/>
                  <a:gd name="T74" fmla="*/ 31 w 907"/>
                  <a:gd name="T75" fmla="*/ 23 h 1097"/>
                  <a:gd name="T76" fmla="*/ 32 w 907"/>
                  <a:gd name="T77" fmla="*/ 19 h 1097"/>
                  <a:gd name="T78" fmla="*/ 33 w 907"/>
                  <a:gd name="T79" fmla="*/ 15 h 1097"/>
                  <a:gd name="T80" fmla="*/ 34 w 907"/>
                  <a:gd name="T81" fmla="*/ 14 h 1097"/>
                  <a:gd name="T82" fmla="*/ 35 w 907"/>
                  <a:gd name="T83" fmla="*/ 13 h 1097"/>
                  <a:gd name="T84" fmla="*/ 36 w 907"/>
                  <a:gd name="T85" fmla="*/ 11 h 1097"/>
                  <a:gd name="T86" fmla="*/ 35 w 907"/>
                  <a:gd name="T87" fmla="*/ 11 h 1097"/>
                  <a:gd name="T88" fmla="*/ 34 w 907"/>
                  <a:gd name="T89" fmla="*/ 10 h 1097"/>
                  <a:gd name="T90" fmla="*/ 33 w 907"/>
                  <a:gd name="T91" fmla="*/ 6 h 1097"/>
                  <a:gd name="T92" fmla="*/ 33 w 907"/>
                  <a:gd name="T93" fmla="*/ 4 h 1097"/>
                  <a:gd name="T94" fmla="*/ 32 w 907"/>
                  <a:gd name="T95" fmla="*/ 2 h 1097"/>
                  <a:gd name="T96" fmla="*/ 30 w 907"/>
                  <a:gd name="T97" fmla="*/ 0 h 1097"/>
                  <a:gd name="T98" fmla="*/ 27 w 907"/>
                  <a:gd name="T99" fmla="*/ 2 h 1097"/>
                  <a:gd name="T100" fmla="*/ 21 w 907"/>
                  <a:gd name="T101" fmla="*/ 3 h 1097"/>
                  <a:gd name="T102" fmla="*/ 21 w 907"/>
                  <a:gd name="T103" fmla="*/ 2 h 1097"/>
                  <a:gd name="T104" fmla="*/ 15 w 907"/>
                  <a:gd name="T105" fmla="*/ 3 h 1097"/>
                  <a:gd name="T106" fmla="*/ 7 w 907"/>
                  <a:gd name="T107" fmla="*/ 3 h 1097"/>
                  <a:gd name="T108" fmla="*/ 5 w 907"/>
                  <a:gd name="T109" fmla="*/ 8 h 1097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907"/>
                  <a:gd name="T166" fmla="*/ 0 h 1097"/>
                  <a:gd name="T167" fmla="*/ 907 w 907"/>
                  <a:gd name="T168" fmla="*/ 1097 h 1097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907" h="1097">
                    <a:moveTo>
                      <a:pt x="118" y="210"/>
                    </a:moveTo>
                    <a:lnTo>
                      <a:pt x="118" y="266"/>
                    </a:lnTo>
                    <a:lnTo>
                      <a:pt x="118" y="320"/>
                    </a:lnTo>
                    <a:lnTo>
                      <a:pt x="118" y="375"/>
                    </a:lnTo>
                    <a:lnTo>
                      <a:pt x="116" y="424"/>
                    </a:lnTo>
                    <a:lnTo>
                      <a:pt x="110" y="425"/>
                    </a:lnTo>
                    <a:lnTo>
                      <a:pt x="81" y="425"/>
                    </a:lnTo>
                    <a:lnTo>
                      <a:pt x="72" y="426"/>
                    </a:lnTo>
                    <a:lnTo>
                      <a:pt x="60" y="428"/>
                    </a:lnTo>
                    <a:lnTo>
                      <a:pt x="59" y="429"/>
                    </a:lnTo>
                    <a:lnTo>
                      <a:pt x="56" y="438"/>
                    </a:lnTo>
                    <a:lnTo>
                      <a:pt x="55" y="449"/>
                    </a:lnTo>
                    <a:lnTo>
                      <a:pt x="51" y="460"/>
                    </a:lnTo>
                    <a:lnTo>
                      <a:pt x="39" y="477"/>
                    </a:lnTo>
                    <a:lnTo>
                      <a:pt x="23" y="495"/>
                    </a:lnTo>
                    <a:lnTo>
                      <a:pt x="23" y="508"/>
                    </a:lnTo>
                    <a:lnTo>
                      <a:pt x="24" y="516"/>
                    </a:lnTo>
                    <a:lnTo>
                      <a:pt x="23" y="521"/>
                    </a:lnTo>
                    <a:lnTo>
                      <a:pt x="22" y="522"/>
                    </a:lnTo>
                    <a:lnTo>
                      <a:pt x="14" y="527"/>
                    </a:lnTo>
                    <a:lnTo>
                      <a:pt x="11" y="531"/>
                    </a:lnTo>
                    <a:lnTo>
                      <a:pt x="9" y="541"/>
                    </a:lnTo>
                    <a:lnTo>
                      <a:pt x="9" y="555"/>
                    </a:lnTo>
                    <a:lnTo>
                      <a:pt x="7" y="564"/>
                    </a:lnTo>
                    <a:lnTo>
                      <a:pt x="1" y="575"/>
                    </a:lnTo>
                    <a:lnTo>
                      <a:pt x="0" y="580"/>
                    </a:lnTo>
                    <a:lnTo>
                      <a:pt x="0" y="596"/>
                    </a:lnTo>
                    <a:lnTo>
                      <a:pt x="3" y="596"/>
                    </a:lnTo>
                    <a:lnTo>
                      <a:pt x="8" y="595"/>
                    </a:lnTo>
                    <a:lnTo>
                      <a:pt x="24" y="591"/>
                    </a:lnTo>
                    <a:lnTo>
                      <a:pt x="23" y="607"/>
                    </a:lnTo>
                    <a:lnTo>
                      <a:pt x="28" y="623"/>
                    </a:lnTo>
                    <a:lnTo>
                      <a:pt x="40" y="657"/>
                    </a:lnTo>
                    <a:lnTo>
                      <a:pt x="41" y="659"/>
                    </a:lnTo>
                    <a:lnTo>
                      <a:pt x="48" y="662"/>
                    </a:lnTo>
                    <a:lnTo>
                      <a:pt x="51" y="667"/>
                    </a:lnTo>
                    <a:lnTo>
                      <a:pt x="54" y="676"/>
                    </a:lnTo>
                    <a:lnTo>
                      <a:pt x="54" y="684"/>
                    </a:lnTo>
                    <a:lnTo>
                      <a:pt x="45" y="688"/>
                    </a:lnTo>
                    <a:lnTo>
                      <a:pt x="55" y="703"/>
                    </a:lnTo>
                    <a:lnTo>
                      <a:pt x="72" y="722"/>
                    </a:lnTo>
                    <a:lnTo>
                      <a:pt x="88" y="743"/>
                    </a:lnTo>
                    <a:lnTo>
                      <a:pt x="93" y="759"/>
                    </a:lnTo>
                    <a:lnTo>
                      <a:pt x="88" y="777"/>
                    </a:lnTo>
                    <a:lnTo>
                      <a:pt x="86" y="793"/>
                    </a:lnTo>
                    <a:lnTo>
                      <a:pt x="88" y="806"/>
                    </a:lnTo>
                    <a:lnTo>
                      <a:pt x="98" y="816"/>
                    </a:lnTo>
                    <a:lnTo>
                      <a:pt x="109" y="817"/>
                    </a:lnTo>
                    <a:lnTo>
                      <a:pt x="122" y="821"/>
                    </a:lnTo>
                    <a:lnTo>
                      <a:pt x="127" y="836"/>
                    </a:lnTo>
                    <a:lnTo>
                      <a:pt x="138" y="840"/>
                    </a:lnTo>
                    <a:lnTo>
                      <a:pt x="161" y="840"/>
                    </a:lnTo>
                    <a:lnTo>
                      <a:pt x="169" y="847"/>
                    </a:lnTo>
                    <a:lnTo>
                      <a:pt x="179" y="854"/>
                    </a:lnTo>
                    <a:lnTo>
                      <a:pt x="180" y="859"/>
                    </a:lnTo>
                    <a:lnTo>
                      <a:pt x="179" y="869"/>
                    </a:lnTo>
                    <a:lnTo>
                      <a:pt x="185" y="880"/>
                    </a:lnTo>
                    <a:lnTo>
                      <a:pt x="204" y="892"/>
                    </a:lnTo>
                    <a:lnTo>
                      <a:pt x="222" y="904"/>
                    </a:lnTo>
                    <a:lnTo>
                      <a:pt x="229" y="914"/>
                    </a:lnTo>
                    <a:lnTo>
                      <a:pt x="240" y="920"/>
                    </a:lnTo>
                    <a:lnTo>
                      <a:pt x="245" y="930"/>
                    </a:lnTo>
                    <a:lnTo>
                      <a:pt x="249" y="941"/>
                    </a:lnTo>
                    <a:lnTo>
                      <a:pt x="256" y="950"/>
                    </a:lnTo>
                    <a:lnTo>
                      <a:pt x="258" y="961"/>
                    </a:lnTo>
                    <a:lnTo>
                      <a:pt x="267" y="964"/>
                    </a:lnTo>
                    <a:lnTo>
                      <a:pt x="297" y="984"/>
                    </a:lnTo>
                    <a:lnTo>
                      <a:pt x="303" y="993"/>
                    </a:lnTo>
                    <a:lnTo>
                      <a:pt x="304" y="1004"/>
                    </a:lnTo>
                    <a:lnTo>
                      <a:pt x="310" y="1011"/>
                    </a:lnTo>
                    <a:lnTo>
                      <a:pt x="317" y="1022"/>
                    </a:lnTo>
                    <a:lnTo>
                      <a:pt x="329" y="1031"/>
                    </a:lnTo>
                    <a:lnTo>
                      <a:pt x="335" y="1039"/>
                    </a:lnTo>
                    <a:lnTo>
                      <a:pt x="340" y="1049"/>
                    </a:lnTo>
                    <a:lnTo>
                      <a:pt x="363" y="1058"/>
                    </a:lnTo>
                    <a:lnTo>
                      <a:pt x="369" y="1055"/>
                    </a:lnTo>
                    <a:lnTo>
                      <a:pt x="376" y="1047"/>
                    </a:lnTo>
                    <a:lnTo>
                      <a:pt x="403" y="1053"/>
                    </a:lnTo>
                    <a:lnTo>
                      <a:pt x="414" y="1052"/>
                    </a:lnTo>
                    <a:lnTo>
                      <a:pt x="426" y="1042"/>
                    </a:lnTo>
                    <a:lnTo>
                      <a:pt x="437" y="1048"/>
                    </a:lnTo>
                    <a:lnTo>
                      <a:pt x="461" y="1074"/>
                    </a:lnTo>
                    <a:lnTo>
                      <a:pt x="475" y="1082"/>
                    </a:lnTo>
                    <a:lnTo>
                      <a:pt x="484" y="1091"/>
                    </a:lnTo>
                    <a:lnTo>
                      <a:pt x="490" y="1096"/>
                    </a:lnTo>
                    <a:lnTo>
                      <a:pt x="496" y="1096"/>
                    </a:lnTo>
                    <a:lnTo>
                      <a:pt x="503" y="1091"/>
                    </a:lnTo>
                    <a:lnTo>
                      <a:pt x="517" y="1090"/>
                    </a:lnTo>
                    <a:lnTo>
                      <a:pt x="528" y="1093"/>
                    </a:lnTo>
                    <a:lnTo>
                      <a:pt x="538" y="1091"/>
                    </a:lnTo>
                    <a:lnTo>
                      <a:pt x="550" y="1090"/>
                    </a:lnTo>
                    <a:lnTo>
                      <a:pt x="556" y="1097"/>
                    </a:lnTo>
                    <a:lnTo>
                      <a:pt x="573" y="1093"/>
                    </a:lnTo>
                    <a:lnTo>
                      <a:pt x="587" y="1092"/>
                    </a:lnTo>
                    <a:lnTo>
                      <a:pt x="600" y="1087"/>
                    </a:lnTo>
                    <a:lnTo>
                      <a:pt x="616" y="1089"/>
                    </a:lnTo>
                    <a:lnTo>
                      <a:pt x="635" y="1089"/>
                    </a:lnTo>
                    <a:lnTo>
                      <a:pt x="662" y="1071"/>
                    </a:lnTo>
                    <a:lnTo>
                      <a:pt x="662" y="1068"/>
                    </a:lnTo>
                    <a:lnTo>
                      <a:pt x="662" y="1071"/>
                    </a:lnTo>
                    <a:lnTo>
                      <a:pt x="678" y="1052"/>
                    </a:lnTo>
                    <a:lnTo>
                      <a:pt x="690" y="1044"/>
                    </a:lnTo>
                    <a:lnTo>
                      <a:pt x="701" y="1043"/>
                    </a:lnTo>
                    <a:lnTo>
                      <a:pt x="731" y="1046"/>
                    </a:lnTo>
                    <a:lnTo>
                      <a:pt x="744" y="1046"/>
                    </a:lnTo>
                    <a:lnTo>
                      <a:pt x="765" y="1043"/>
                    </a:lnTo>
                    <a:lnTo>
                      <a:pt x="766" y="1021"/>
                    </a:lnTo>
                    <a:lnTo>
                      <a:pt x="767" y="1011"/>
                    </a:lnTo>
                    <a:lnTo>
                      <a:pt x="766" y="1004"/>
                    </a:lnTo>
                    <a:lnTo>
                      <a:pt x="759" y="999"/>
                    </a:lnTo>
                    <a:lnTo>
                      <a:pt x="735" y="994"/>
                    </a:lnTo>
                    <a:lnTo>
                      <a:pt x="727" y="988"/>
                    </a:lnTo>
                    <a:lnTo>
                      <a:pt x="722" y="979"/>
                    </a:lnTo>
                    <a:lnTo>
                      <a:pt x="712" y="952"/>
                    </a:lnTo>
                    <a:lnTo>
                      <a:pt x="707" y="940"/>
                    </a:lnTo>
                    <a:lnTo>
                      <a:pt x="702" y="930"/>
                    </a:lnTo>
                    <a:lnTo>
                      <a:pt x="680" y="917"/>
                    </a:lnTo>
                    <a:lnTo>
                      <a:pt x="673" y="909"/>
                    </a:lnTo>
                    <a:lnTo>
                      <a:pt x="667" y="901"/>
                    </a:lnTo>
                    <a:lnTo>
                      <a:pt x="665" y="891"/>
                    </a:lnTo>
                    <a:lnTo>
                      <a:pt x="657" y="881"/>
                    </a:lnTo>
                    <a:lnTo>
                      <a:pt x="648" y="876"/>
                    </a:lnTo>
                    <a:lnTo>
                      <a:pt x="637" y="872"/>
                    </a:lnTo>
                    <a:lnTo>
                      <a:pt x="629" y="874"/>
                    </a:lnTo>
                    <a:lnTo>
                      <a:pt x="621" y="867"/>
                    </a:lnTo>
                    <a:lnTo>
                      <a:pt x="615" y="867"/>
                    </a:lnTo>
                    <a:lnTo>
                      <a:pt x="609" y="863"/>
                    </a:lnTo>
                    <a:lnTo>
                      <a:pt x="614" y="855"/>
                    </a:lnTo>
                    <a:lnTo>
                      <a:pt x="620" y="850"/>
                    </a:lnTo>
                    <a:lnTo>
                      <a:pt x="620" y="836"/>
                    </a:lnTo>
                    <a:lnTo>
                      <a:pt x="630" y="832"/>
                    </a:lnTo>
                    <a:lnTo>
                      <a:pt x="652" y="834"/>
                    </a:lnTo>
                    <a:lnTo>
                      <a:pt x="663" y="829"/>
                    </a:lnTo>
                    <a:lnTo>
                      <a:pt x="670" y="823"/>
                    </a:lnTo>
                    <a:lnTo>
                      <a:pt x="672" y="808"/>
                    </a:lnTo>
                    <a:lnTo>
                      <a:pt x="672" y="763"/>
                    </a:lnTo>
                    <a:lnTo>
                      <a:pt x="676" y="747"/>
                    </a:lnTo>
                    <a:lnTo>
                      <a:pt x="678" y="736"/>
                    </a:lnTo>
                    <a:lnTo>
                      <a:pt x="676" y="730"/>
                    </a:lnTo>
                    <a:lnTo>
                      <a:pt x="676" y="719"/>
                    </a:lnTo>
                    <a:lnTo>
                      <a:pt x="680" y="721"/>
                    </a:lnTo>
                    <a:lnTo>
                      <a:pt x="683" y="714"/>
                    </a:lnTo>
                    <a:lnTo>
                      <a:pt x="690" y="702"/>
                    </a:lnTo>
                    <a:lnTo>
                      <a:pt x="697" y="697"/>
                    </a:lnTo>
                    <a:lnTo>
                      <a:pt x="708" y="697"/>
                    </a:lnTo>
                    <a:lnTo>
                      <a:pt x="713" y="692"/>
                    </a:lnTo>
                    <a:lnTo>
                      <a:pt x="718" y="665"/>
                    </a:lnTo>
                    <a:lnTo>
                      <a:pt x="723" y="651"/>
                    </a:lnTo>
                    <a:lnTo>
                      <a:pt x="758" y="602"/>
                    </a:lnTo>
                    <a:lnTo>
                      <a:pt x="767" y="592"/>
                    </a:lnTo>
                    <a:lnTo>
                      <a:pt x="776" y="590"/>
                    </a:lnTo>
                    <a:lnTo>
                      <a:pt x="783" y="582"/>
                    </a:lnTo>
                    <a:lnTo>
                      <a:pt x="801" y="525"/>
                    </a:lnTo>
                    <a:lnTo>
                      <a:pt x="801" y="509"/>
                    </a:lnTo>
                    <a:lnTo>
                      <a:pt x="798" y="493"/>
                    </a:lnTo>
                    <a:lnTo>
                      <a:pt x="798" y="473"/>
                    </a:lnTo>
                    <a:lnTo>
                      <a:pt x="802" y="456"/>
                    </a:lnTo>
                    <a:lnTo>
                      <a:pt x="809" y="442"/>
                    </a:lnTo>
                    <a:lnTo>
                      <a:pt x="818" y="408"/>
                    </a:lnTo>
                    <a:lnTo>
                      <a:pt x="821" y="387"/>
                    </a:lnTo>
                    <a:lnTo>
                      <a:pt x="821" y="379"/>
                    </a:lnTo>
                    <a:lnTo>
                      <a:pt x="825" y="358"/>
                    </a:lnTo>
                    <a:lnTo>
                      <a:pt x="829" y="349"/>
                    </a:lnTo>
                    <a:lnTo>
                      <a:pt x="842" y="348"/>
                    </a:lnTo>
                    <a:lnTo>
                      <a:pt x="851" y="343"/>
                    </a:lnTo>
                    <a:lnTo>
                      <a:pt x="856" y="336"/>
                    </a:lnTo>
                    <a:lnTo>
                      <a:pt x="877" y="326"/>
                    </a:lnTo>
                    <a:lnTo>
                      <a:pt x="885" y="323"/>
                    </a:lnTo>
                    <a:lnTo>
                      <a:pt x="898" y="317"/>
                    </a:lnTo>
                    <a:lnTo>
                      <a:pt x="905" y="302"/>
                    </a:lnTo>
                    <a:lnTo>
                      <a:pt x="907" y="293"/>
                    </a:lnTo>
                    <a:lnTo>
                      <a:pt x="904" y="284"/>
                    </a:lnTo>
                    <a:lnTo>
                      <a:pt x="899" y="284"/>
                    </a:lnTo>
                    <a:lnTo>
                      <a:pt x="896" y="280"/>
                    </a:lnTo>
                    <a:lnTo>
                      <a:pt x="891" y="282"/>
                    </a:lnTo>
                    <a:lnTo>
                      <a:pt x="887" y="270"/>
                    </a:lnTo>
                    <a:lnTo>
                      <a:pt x="880" y="264"/>
                    </a:lnTo>
                    <a:lnTo>
                      <a:pt x="873" y="263"/>
                    </a:lnTo>
                    <a:lnTo>
                      <a:pt x="858" y="257"/>
                    </a:lnTo>
                    <a:lnTo>
                      <a:pt x="852" y="252"/>
                    </a:lnTo>
                    <a:lnTo>
                      <a:pt x="847" y="245"/>
                    </a:lnTo>
                    <a:lnTo>
                      <a:pt x="840" y="214"/>
                    </a:lnTo>
                    <a:lnTo>
                      <a:pt x="837" y="191"/>
                    </a:lnTo>
                    <a:lnTo>
                      <a:pt x="837" y="157"/>
                    </a:lnTo>
                    <a:lnTo>
                      <a:pt x="836" y="117"/>
                    </a:lnTo>
                    <a:lnTo>
                      <a:pt x="839" y="118"/>
                    </a:lnTo>
                    <a:lnTo>
                      <a:pt x="836" y="111"/>
                    </a:lnTo>
                    <a:lnTo>
                      <a:pt x="821" y="94"/>
                    </a:lnTo>
                    <a:lnTo>
                      <a:pt x="820" y="81"/>
                    </a:lnTo>
                    <a:lnTo>
                      <a:pt x="819" y="65"/>
                    </a:lnTo>
                    <a:lnTo>
                      <a:pt x="808" y="49"/>
                    </a:lnTo>
                    <a:lnTo>
                      <a:pt x="798" y="44"/>
                    </a:lnTo>
                    <a:lnTo>
                      <a:pt x="787" y="31"/>
                    </a:lnTo>
                    <a:lnTo>
                      <a:pt x="776" y="25"/>
                    </a:lnTo>
                    <a:lnTo>
                      <a:pt x="761" y="19"/>
                    </a:lnTo>
                    <a:lnTo>
                      <a:pt x="749" y="0"/>
                    </a:lnTo>
                    <a:lnTo>
                      <a:pt x="727" y="20"/>
                    </a:lnTo>
                    <a:lnTo>
                      <a:pt x="713" y="15"/>
                    </a:lnTo>
                    <a:lnTo>
                      <a:pt x="701" y="46"/>
                    </a:lnTo>
                    <a:lnTo>
                      <a:pt x="672" y="53"/>
                    </a:lnTo>
                    <a:lnTo>
                      <a:pt x="664" y="78"/>
                    </a:lnTo>
                    <a:lnTo>
                      <a:pt x="637" y="80"/>
                    </a:lnTo>
                    <a:lnTo>
                      <a:pt x="619" y="67"/>
                    </a:lnTo>
                    <a:lnTo>
                      <a:pt x="522" y="65"/>
                    </a:lnTo>
                    <a:lnTo>
                      <a:pt x="527" y="54"/>
                    </a:lnTo>
                    <a:lnTo>
                      <a:pt x="524" y="54"/>
                    </a:lnTo>
                    <a:lnTo>
                      <a:pt x="522" y="53"/>
                    </a:lnTo>
                    <a:lnTo>
                      <a:pt x="519" y="53"/>
                    </a:lnTo>
                    <a:lnTo>
                      <a:pt x="512" y="65"/>
                    </a:lnTo>
                    <a:lnTo>
                      <a:pt x="484" y="65"/>
                    </a:lnTo>
                    <a:lnTo>
                      <a:pt x="431" y="65"/>
                    </a:lnTo>
                    <a:lnTo>
                      <a:pt x="379" y="65"/>
                    </a:lnTo>
                    <a:lnTo>
                      <a:pt x="326" y="65"/>
                    </a:lnTo>
                    <a:lnTo>
                      <a:pt x="275" y="65"/>
                    </a:lnTo>
                    <a:lnTo>
                      <a:pt x="223" y="65"/>
                    </a:lnTo>
                    <a:lnTo>
                      <a:pt x="170" y="65"/>
                    </a:lnTo>
                    <a:lnTo>
                      <a:pt x="170" y="118"/>
                    </a:lnTo>
                    <a:lnTo>
                      <a:pt x="170" y="177"/>
                    </a:lnTo>
                    <a:lnTo>
                      <a:pt x="118" y="177"/>
                    </a:lnTo>
                    <a:lnTo>
                      <a:pt x="118" y="21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57" name="Freeform 21">
                <a:extLst>
                  <a:ext uri="{FF2B5EF4-FFF2-40B4-BE49-F238E27FC236}">
                    <a16:creationId xmlns:a16="http://schemas.microsoft.com/office/drawing/2014/main" id="{B5B1801F-61D6-988A-E32B-8AEE40044AC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17" y="2222"/>
                <a:ext cx="174" cy="136"/>
              </a:xfrm>
              <a:custGeom>
                <a:avLst/>
                <a:gdLst>
                  <a:gd name="T0" fmla="*/ 9 w 872"/>
                  <a:gd name="T1" fmla="*/ 15 h 678"/>
                  <a:gd name="T2" fmla="*/ 8 w 872"/>
                  <a:gd name="T3" fmla="*/ 18 h 678"/>
                  <a:gd name="T4" fmla="*/ 8 w 872"/>
                  <a:gd name="T5" fmla="*/ 19 h 678"/>
                  <a:gd name="T6" fmla="*/ 7 w 872"/>
                  <a:gd name="T7" fmla="*/ 19 h 678"/>
                  <a:gd name="T8" fmla="*/ 6 w 872"/>
                  <a:gd name="T9" fmla="*/ 19 h 678"/>
                  <a:gd name="T10" fmla="*/ 2 w 872"/>
                  <a:gd name="T11" fmla="*/ 20 h 678"/>
                  <a:gd name="T12" fmla="*/ 0 w 872"/>
                  <a:gd name="T13" fmla="*/ 21 h 678"/>
                  <a:gd name="T14" fmla="*/ 0 w 872"/>
                  <a:gd name="T15" fmla="*/ 21 h 678"/>
                  <a:gd name="T16" fmla="*/ 1 w 872"/>
                  <a:gd name="T17" fmla="*/ 22 h 678"/>
                  <a:gd name="T18" fmla="*/ 2 w 872"/>
                  <a:gd name="T19" fmla="*/ 24 h 678"/>
                  <a:gd name="T20" fmla="*/ 3 w 872"/>
                  <a:gd name="T21" fmla="*/ 25 h 678"/>
                  <a:gd name="T22" fmla="*/ 4 w 872"/>
                  <a:gd name="T23" fmla="*/ 25 h 678"/>
                  <a:gd name="T24" fmla="*/ 4 w 872"/>
                  <a:gd name="T25" fmla="*/ 25 h 678"/>
                  <a:gd name="T26" fmla="*/ 5 w 872"/>
                  <a:gd name="T27" fmla="*/ 26 h 678"/>
                  <a:gd name="T28" fmla="*/ 4 w 872"/>
                  <a:gd name="T29" fmla="*/ 26 h 678"/>
                  <a:gd name="T30" fmla="*/ 5 w 872"/>
                  <a:gd name="T31" fmla="*/ 26 h 678"/>
                  <a:gd name="T32" fmla="*/ 5 w 872"/>
                  <a:gd name="T33" fmla="*/ 26 h 678"/>
                  <a:gd name="T34" fmla="*/ 6 w 872"/>
                  <a:gd name="T35" fmla="*/ 26 h 678"/>
                  <a:gd name="T36" fmla="*/ 7 w 872"/>
                  <a:gd name="T37" fmla="*/ 26 h 678"/>
                  <a:gd name="T38" fmla="*/ 8 w 872"/>
                  <a:gd name="T39" fmla="*/ 27 h 678"/>
                  <a:gd name="T40" fmla="*/ 8 w 872"/>
                  <a:gd name="T41" fmla="*/ 26 h 678"/>
                  <a:gd name="T42" fmla="*/ 8 w 872"/>
                  <a:gd name="T43" fmla="*/ 25 h 678"/>
                  <a:gd name="T44" fmla="*/ 9 w 872"/>
                  <a:gd name="T45" fmla="*/ 24 h 678"/>
                  <a:gd name="T46" fmla="*/ 10 w 872"/>
                  <a:gd name="T47" fmla="*/ 23 h 678"/>
                  <a:gd name="T48" fmla="*/ 12 w 872"/>
                  <a:gd name="T49" fmla="*/ 23 h 678"/>
                  <a:gd name="T50" fmla="*/ 15 w 872"/>
                  <a:gd name="T51" fmla="*/ 24 h 678"/>
                  <a:gd name="T52" fmla="*/ 15 w 872"/>
                  <a:gd name="T53" fmla="*/ 24 h 678"/>
                  <a:gd name="T54" fmla="*/ 17 w 872"/>
                  <a:gd name="T55" fmla="*/ 24 h 678"/>
                  <a:gd name="T56" fmla="*/ 19 w 872"/>
                  <a:gd name="T57" fmla="*/ 25 h 678"/>
                  <a:gd name="T58" fmla="*/ 21 w 872"/>
                  <a:gd name="T59" fmla="*/ 25 h 678"/>
                  <a:gd name="T60" fmla="*/ 22 w 872"/>
                  <a:gd name="T61" fmla="*/ 24 h 678"/>
                  <a:gd name="T62" fmla="*/ 24 w 872"/>
                  <a:gd name="T63" fmla="*/ 24 h 678"/>
                  <a:gd name="T64" fmla="*/ 26 w 872"/>
                  <a:gd name="T65" fmla="*/ 24 h 678"/>
                  <a:gd name="T66" fmla="*/ 27 w 872"/>
                  <a:gd name="T67" fmla="*/ 24 h 678"/>
                  <a:gd name="T68" fmla="*/ 27 w 872"/>
                  <a:gd name="T69" fmla="*/ 23 h 678"/>
                  <a:gd name="T70" fmla="*/ 28 w 872"/>
                  <a:gd name="T71" fmla="*/ 23 h 678"/>
                  <a:gd name="T72" fmla="*/ 29 w 872"/>
                  <a:gd name="T73" fmla="*/ 23 h 678"/>
                  <a:gd name="T74" fmla="*/ 28 w 872"/>
                  <a:gd name="T75" fmla="*/ 22 h 678"/>
                  <a:gd name="T76" fmla="*/ 29 w 872"/>
                  <a:gd name="T77" fmla="*/ 21 h 678"/>
                  <a:gd name="T78" fmla="*/ 29 w 872"/>
                  <a:gd name="T79" fmla="*/ 21 h 678"/>
                  <a:gd name="T80" fmla="*/ 30 w 872"/>
                  <a:gd name="T81" fmla="*/ 20 h 678"/>
                  <a:gd name="T82" fmla="*/ 33 w 872"/>
                  <a:gd name="T83" fmla="*/ 15 h 678"/>
                  <a:gd name="T84" fmla="*/ 35 w 872"/>
                  <a:gd name="T85" fmla="*/ 7 h 678"/>
                  <a:gd name="T86" fmla="*/ 33 w 872"/>
                  <a:gd name="T87" fmla="*/ 6 h 678"/>
                  <a:gd name="T88" fmla="*/ 33 w 872"/>
                  <a:gd name="T89" fmla="*/ 5 h 678"/>
                  <a:gd name="T90" fmla="*/ 33 w 872"/>
                  <a:gd name="T91" fmla="*/ 5 h 678"/>
                  <a:gd name="T92" fmla="*/ 32 w 872"/>
                  <a:gd name="T93" fmla="*/ 1 h 678"/>
                  <a:gd name="T94" fmla="*/ 31 w 872"/>
                  <a:gd name="T95" fmla="*/ 0 h 678"/>
                  <a:gd name="T96" fmla="*/ 29 w 872"/>
                  <a:gd name="T97" fmla="*/ 0 h 678"/>
                  <a:gd name="T98" fmla="*/ 26 w 872"/>
                  <a:gd name="T99" fmla="*/ 0 h 678"/>
                  <a:gd name="T100" fmla="*/ 23 w 872"/>
                  <a:gd name="T101" fmla="*/ 2 h 678"/>
                  <a:gd name="T102" fmla="*/ 17 w 872"/>
                  <a:gd name="T103" fmla="*/ 6 h 678"/>
                  <a:gd name="T104" fmla="*/ 12 w 872"/>
                  <a:gd name="T105" fmla="*/ 9 h 678"/>
                  <a:gd name="T106" fmla="*/ 9 w 872"/>
                  <a:gd name="T107" fmla="*/ 10 h 678"/>
                  <a:gd name="T108" fmla="*/ 9 w 872"/>
                  <a:gd name="T109" fmla="*/ 11 h 678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872"/>
                  <a:gd name="T166" fmla="*/ 0 h 678"/>
                  <a:gd name="T167" fmla="*/ 872 w 872"/>
                  <a:gd name="T168" fmla="*/ 678 h 678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872" h="678">
                    <a:moveTo>
                      <a:pt x="222" y="271"/>
                    </a:moveTo>
                    <a:lnTo>
                      <a:pt x="222" y="327"/>
                    </a:lnTo>
                    <a:lnTo>
                      <a:pt x="222" y="381"/>
                    </a:lnTo>
                    <a:lnTo>
                      <a:pt x="222" y="435"/>
                    </a:lnTo>
                    <a:lnTo>
                      <a:pt x="219" y="436"/>
                    </a:lnTo>
                    <a:lnTo>
                      <a:pt x="209" y="442"/>
                    </a:lnTo>
                    <a:lnTo>
                      <a:pt x="205" y="448"/>
                    </a:lnTo>
                    <a:lnTo>
                      <a:pt x="204" y="456"/>
                    </a:lnTo>
                    <a:lnTo>
                      <a:pt x="192" y="463"/>
                    </a:lnTo>
                    <a:lnTo>
                      <a:pt x="188" y="466"/>
                    </a:lnTo>
                    <a:lnTo>
                      <a:pt x="186" y="469"/>
                    </a:lnTo>
                    <a:lnTo>
                      <a:pt x="186" y="474"/>
                    </a:lnTo>
                    <a:lnTo>
                      <a:pt x="173" y="473"/>
                    </a:lnTo>
                    <a:lnTo>
                      <a:pt x="160" y="472"/>
                    </a:lnTo>
                    <a:lnTo>
                      <a:pt x="160" y="475"/>
                    </a:lnTo>
                    <a:lnTo>
                      <a:pt x="155" y="474"/>
                    </a:lnTo>
                    <a:lnTo>
                      <a:pt x="66" y="475"/>
                    </a:lnTo>
                    <a:lnTo>
                      <a:pt x="42" y="495"/>
                    </a:lnTo>
                    <a:lnTo>
                      <a:pt x="5" y="495"/>
                    </a:lnTo>
                    <a:lnTo>
                      <a:pt x="4" y="499"/>
                    </a:lnTo>
                    <a:lnTo>
                      <a:pt x="3" y="511"/>
                    </a:lnTo>
                    <a:lnTo>
                      <a:pt x="0" y="521"/>
                    </a:lnTo>
                    <a:lnTo>
                      <a:pt x="1" y="523"/>
                    </a:lnTo>
                    <a:lnTo>
                      <a:pt x="11" y="532"/>
                    </a:lnTo>
                    <a:lnTo>
                      <a:pt x="12" y="534"/>
                    </a:lnTo>
                    <a:lnTo>
                      <a:pt x="11" y="543"/>
                    </a:lnTo>
                    <a:lnTo>
                      <a:pt x="15" y="550"/>
                    </a:lnTo>
                    <a:lnTo>
                      <a:pt x="27" y="565"/>
                    </a:lnTo>
                    <a:lnTo>
                      <a:pt x="44" y="579"/>
                    </a:lnTo>
                    <a:lnTo>
                      <a:pt x="49" y="588"/>
                    </a:lnTo>
                    <a:lnTo>
                      <a:pt x="55" y="603"/>
                    </a:lnTo>
                    <a:lnTo>
                      <a:pt x="59" y="609"/>
                    </a:lnTo>
                    <a:lnTo>
                      <a:pt x="70" y="622"/>
                    </a:lnTo>
                    <a:lnTo>
                      <a:pt x="78" y="626"/>
                    </a:lnTo>
                    <a:lnTo>
                      <a:pt x="89" y="629"/>
                    </a:lnTo>
                    <a:lnTo>
                      <a:pt x="92" y="629"/>
                    </a:lnTo>
                    <a:lnTo>
                      <a:pt x="97" y="628"/>
                    </a:lnTo>
                    <a:lnTo>
                      <a:pt x="102" y="623"/>
                    </a:lnTo>
                    <a:lnTo>
                      <a:pt x="106" y="622"/>
                    </a:lnTo>
                    <a:lnTo>
                      <a:pt x="112" y="625"/>
                    </a:lnTo>
                    <a:lnTo>
                      <a:pt x="118" y="635"/>
                    </a:lnTo>
                    <a:lnTo>
                      <a:pt x="119" y="637"/>
                    </a:lnTo>
                    <a:lnTo>
                      <a:pt x="118" y="640"/>
                    </a:lnTo>
                    <a:lnTo>
                      <a:pt x="113" y="640"/>
                    </a:lnTo>
                    <a:lnTo>
                      <a:pt x="109" y="641"/>
                    </a:lnTo>
                    <a:lnTo>
                      <a:pt x="108" y="645"/>
                    </a:lnTo>
                    <a:lnTo>
                      <a:pt x="109" y="649"/>
                    </a:lnTo>
                    <a:lnTo>
                      <a:pt x="116" y="656"/>
                    </a:lnTo>
                    <a:lnTo>
                      <a:pt x="127" y="666"/>
                    </a:lnTo>
                    <a:lnTo>
                      <a:pt x="134" y="662"/>
                    </a:lnTo>
                    <a:lnTo>
                      <a:pt x="127" y="653"/>
                    </a:lnTo>
                    <a:lnTo>
                      <a:pt x="127" y="649"/>
                    </a:lnTo>
                    <a:lnTo>
                      <a:pt x="138" y="646"/>
                    </a:lnTo>
                    <a:lnTo>
                      <a:pt x="143" y="645"/>
                    </a:lnTo>
                    <a:lnTo>
                      <a:pt x="151" y="641"/>
                    </a:lnTo>
                    <a:lnTo>
                      <a:pt x="154" y="642"/>
                    </a:lnTo>
                    <a:lnTo>
                      <a:pt x="165" y="653"/>
                    </a:lnTo>
                    <a:lnTo>
                      <a:pt x="177" y="666"/>
                    </a:lnTo>
                    <a:lnTo>
                      <a:pt x="184" y="671"/>
                    </a:lnTo>
                    <a:lnTo>
                      <a:pt x="193" y="678"/>
                    </a:lnTo>
                    <a:lnTo>
                      <a:pt x="194" y="671"/>
                    </a:lnTo>
                    <a:lnTo>
                      <a:pt x="192" y="646"/>
                    </a:lnTo>
                    <a:lnTo>
                      <a:pt x="193" y="637"/>
                    </a:lnTo>
                    <a:lnTo>
                      <a:pt x="195" y="633"/>
                    </a:lnTo>
                    <a:lnTo>
                      <a:pt x="199" y="628"/>
                    </a:lnTo>
                    <a:lnTo>
                      <a:pt x="206" y="624"/>
                    </a:lnTo>
                    <a:lnTo>
                      <a:pt x="211" y="618"/>
                    </a:lnTo>
                    <a:lnTo>
                      <a:pt x="219" y="604"/>
                    </a:lnTo>
                    <a:lnTo>
                      <a:pt x="221" y="586"/>
                    </a:lnTo>
                    <a:lnTo>
                      <a:pt x="222" y="582"/>
                    </a:lnTo>
                    <a:lnTo>
                      <a:pt x="240" y="570"/>
                    </a:lnTo>
                    <a:lnTo>
                      <a:pt x="259" y="565"/>
                    </a:lnTo>
                    <a:lnTo>
                      <a:pt x="277" y="565"/>
                    </a:lnTo>
                    <a:lnTo>
                      <a:pt x="283" y="564"/>
                    </a:lnTo>
                    <a:lnTo>
                      <a:pt x="291" y="561"/>
                    </a:lnTo>
                    <a:lnTo>
                      <a:pt x="306" y="563"/>
                    </a:lnTo>
                    <a:lnTo>
                      <a:pt x="343" y="581"/>
                    </a:lnTo>
                    <a:lnTo>
                      <a:pt x="365" y="602"/>
                    </a:lnTo>
                    <a:lnTo>
                      <a:pt x="372" y="607"/>
                    </a:lnTo>
                    <a:lnTo>
                      <a:pt x="377" y="609"/>
                    </a:lnTo>
                    <a:lnTo>
                      <a:pt x="386" y="609"/>
                    </a:lnTo>
                    <a:lnTo>
                      <a:pt x="392" y="599"/>
                    </a:lnTo>
                    <a:lnTo>
                      <a:pt x="408" y="591"/>
                    </a:lnTo>
                    <a:lnTo>
                      <a:pt x="418" y="588"/>
                    </a:lnTo>
                    <a:lnTo>
                      <a:pt x="430" y="588"/>
                    </a:lnTo>
                    <a:lnTo>
                      <a:pt x="447" y="598"/>
                    </a:lnTo>
                    <a:lnTo>
                      <a:pt x="471" y="613"/>
                    </a:lnTo>
                    <a:lnTo>
                      <a:pt x="483" y="617"/>
                    </a:lnTo>
                    <a:lnTo>
                      <a:pt x="506" y="619"/>
                    </a:lnTo>
                    <a:lnTo>
                      <a:pt x="519" y="618"/>
                    </a:lnTo>
                    <a:lnTo>
                      <a:pt x="533" y="608"/>
                    </a:lnTo>
                    <a:lnTo>
                      <a:pt x="550" y="593"/>
                    </a:lnTo>
                    <a:lnTo>
                      <a:pt x="559" y="588"/>
                    </a:lnTo>
                    <a:lnTo>
                      <a:pt x="585" y="588"/>
                    </a:lnTo>
                    <a:lnTo>
                      <a:pt x="603" y="591"/>
                    </a:lnTo>
                    <a:lnTo>
                      <a:pt x="613" y="587"/>
                    </a:lnTo>
                    <a:lnTo>
                      <a:pt x="633" y="585"/>
                    </a:lnTo>
                    <a:lnTo>
                      <a:pt x="640" y="587"/>
                    </a:lnTo>
                    <a:lnTo>
                      <a:pt x="647" y="591"/>
                    </a:lnTo>
                    <a:lnTo>
                      <a:pt x="655" y="593"/>
                    </a:lnTo>
                    <a:lnTo>
                      <a:pt x="661" y="597"/>
                    </a:lnTo>
                    <a:lnTo>
                      <a:pt x="672" y="597"/>
                    </a:lnTo>
                    <a:lnTo>
                      <a:pt x="678" y="593"/>
                    </a:lnTo>
                    <a:lnTo>
                      <a:pt x="688" y="583"/>
                    </a:lnTo>
                    <a:lnTo>
                      <a:pt x="688" y="582"/>
                    </a:lnTo>
                    <a:lnTo>
                      <a:pt x="694" y="577"/>
                    </a:lnTo>
                    <a:lnTo>
                      <a:pt x="702" y="576"/>
                    </a:lnTo>
                    <a:lnTo>
                      <a:pt x="708" y="576"/>
                    </a:lnTo>
                    <a:lnTo>
                      <a:pt x="714" y="564"/>
                    </a:lnTo>
                    <a:lnTo>
                      <a:pt x="715" y="564"/>
                    </a:lnTo>
                    <a:lnTo>
                      <a:pt x="718" y="561"/>
                    </a:lnTo>
                    <a:lnTo>
                      <a:pt x="713" y="556"/>
                    </a:lnTo>
                    <a:lnTo>
                      <a:pt x="709" y="550"/>
                    </a:lnTo>
                    <a:lnTo>
                      <a:pt x="709" y="545"/>
                    </a:lnTo>
                    <a:lnTo>
                      <a:pt x="714" y="538"/>
                    </a:lnTo>
                    <a:lnTo>
                      <a:pt x="720" y="534"/>
                    </a:lnTo>
                    <a:lnTo>
                      <a:pt x="725" y="533"/>
                    </a:lnTo>
                    <a:lnTo>
                      <a:pt x="730" y="531"/>
                    </a:lnTo>
                    <a:lnTo>
                      <a:pt x="727" y="520"/>
                    </a:lnTo>
                    <a:lnTo>
                      <a:pt x="732" y="515"/>
                    </a:lnTo>
                    <a:lnTo>
                      <a:pt x="740" y="513"/>
                    </a:lnTo>
                    <a:lnTo>
                      <a:pt x="740" y="504"/>
                    </a:lnTo>
                    <a:lnTo>
                      <a:pt x="746" y="501"/>
                    </a:lnTo>
                    <a:lnTo>
                      <a:pt x="746" y="490"/>
                    </a:lnTo>
                    <a:lnTo>
                      <a:pt x="834" y="391"/>
                    </a:lnTo>
                    <a:lnTo>
                      <a:pt x="838" y="386"/>
                    </a:lnTo>
                    <a:lnTo>
                      <a:pt x="844" y="287"/>
                    </a:lnTo>
                    <a:lnTo>
                      <a:pt x="859" y="208"/>
                    </a:lnTo>
                    <a:lnTo>
                      <a:pt x="872" y="184"/>
                    </a:lnTo>
                    <a:lnTo>
                      <a:pt x="849" y="171"/>
                    </a:lnTo>
                    <a:lnTo>
                      <a:pt x="843" y="166"/>
                    </a:lnTo>
                    <a:lnTo>
                      <a:pt x="837" y="160"/>
                    </a:lnTo>
                    <a:lnTo>
                      <a:pt x="833" y="154"/>
                    </a:lnTo>
                    <a:lnTo>
                      <a:pt x="829" y="142"/>
                    </a:lnTo>
                    <a:lnTo>
                      <a:pt x="826" y="135"/>
                    </a:lnTo>
                    <a:lnTo>
                      <a:pt x="826" y="133"/>
                    </a:lnTo>
                    <a:lnTo>
                      <a:pt x="821" y="123"/>
                    </a:lnTo>
                    <a:lnTo>
                      <a:pt x="818" y="117"/>
                    </a:lnTo>
                    <a:lnTo>
                      <a:pt x="818" y="31"/>
                    </a:lnTo>
                    <a:lnTo>
                      <a:pt x="801" y="36"/>
                    </a:lnTo>
                    <a:lnTo>
                      <a:pt x="795" y="26"/>
                    </a:lnTo>
                    <a:lnTo>
                      <a:pt x="791" y="22"/>
                    </a:lnTo>
                    <a:lnTo>
                      <a:pt x="776" y="15"/>
                    </a:lnTo>
                    <a:lnTo>
                      <a:pt x="773" y="11"/>
                    </a:lnTo>
                    <a:lnTo>
                      <a:pt x="768" y="7"/>
                    </a:lnTo>
                    <a:lnTo>
                      <a:pt x="759" y="5"/>
                    </a:lnTo>
                    <a:lnTo>
                      <a:pt x="720" y="1"/>
                    </a:lnTo>
                    <a:lnTo>
                      <a:pt x="677" y="2"/>
                    </a:lnTo>
                    <a:lnTo>
                      <a:pt x="646" y="0"/>
                    </a:lnTo>
                    <a:lnTo>
                      <a:pt x="643" y="1"/>
                    </a:lnTo>
                    <a:lnTo>
                      <a:pt x="638" y="4"/>
                    </a:lnTo>
                    <a:lnTo>
                      <a:pt x="612" y="22"/>
                    </a:lnTo>
                    <a:lnTo>
                      <a:pt x="568" y="53"/>
                    </a:lnTo>
                    <a:lnTo>
                      <a:pt x="525" y="84"/>
                    </a:lnTo>
                    <a:lnTo>
                      <a:pt x="482" y="114"/>
                    </a:lnTo>
                    <a:lnTo>
                      <a:pt x="437" y="145"/>
                    </a:lnTo>
                    <a:lnTo>
                      <a:pt x="393" y="176"/>
                    </a:lnTo>
                    <a:lnTo>
                      <a:pt x="350" y="206"/>
                    </a:lnTo>
                    <a:lnTo>
                      <a:pt x="307" y="236"/>
                    </a:lnTo>
                    <a:lnTo>
                      <a:pt x="292" y="241"/>
                    </a:lnTo>
                    <a:lnTo>
                      <a:pt x="230" y="255"/>
                    </a:lnTo>
                    <a:lnTo>
                      <a:pt x="221" y="257"/>
                    </a:lnTo>
                    <a:lnTo>
                      <a:pt x="221" y="259"/>
                    </a:lnTo>
                    <a:lnTo>
                      <a:pt x="222" y="260"/>
                    </a:lnTo>
                    <a:lnTo>
                      <a:pt x="222" y="27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58" name="Freeform 22">
                <a:extLst>
                  <a:ext uri="{FF2B5EF4-FFF2-40B4-BE49-F238E27FC236}">
                    <a16:creationId xmlns:a16="http://schemas.microsoft.com/office/drawing/2014/main" id="{626380C7-8F08-2A11-482B-DD72B29F253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78" y="2323"/>
                <a:ext cx="165" cy="125"/>
              </a:xfrm>
              <a:custGeom>
                <a:avLst/>
                <a:gdLst>
                  <a:gd name="T0" fmla="*/ 7 w 824"/>
                  <a:gd name="T1" fmla="*/ 4 h 626"/>
                  <a:gd name="T2" fmla="*/ 6 w 824"/>
                  <a:gd name="T3" fmla="*/ 5 h 626"/>
                  <a:gd name="T4" fmla="*/ 4 w 824"/>
                  <a:gd name="T5" fmla="*/ 9 h 626"/>
                  <a:gd name="T6" fmla="*/ 3 w 824"/>
                  <a:gd name="T7" fmla="*/ 9 h 626"/>
                  <a:gd name="T8" fmla="*/ 3 w 824"/>
                  <a:gd name="T9" fmla="*/ 10 h 626"/>
                  <a:gd name="T10" fmla="*/ 3 w 824"/>
                  <a:gd name="T11" fmla="*/ 11 h 626"/>
                  <a:gd name="T12" fmla="*/ 2 w 824"/>
                  <a:gd name="T13" fmla="*/ 14 h 626"/>
                  <a:gd name="T14" fmla="*/ 1 w 824"/>
                  <a:gd name="T15" fmla="*/ 14 h 626"/>
                  <a:gd name="T16" fmla="*/ 0 w 824"/>
                  <a:gd name="T17" fmla="*/ 15 h 626"/>
                  <a:gd name="T18" fmla="*/ 0 w 824"/>
                  <a:gd name="T19" fmla="*/ 16 h 626"/>
                  <a:gd name="T20" fmla="*/ 2 w 824"/>
                  <a:gd name="T21" fmla="*/ 16 h 626"/>
                  <a:gd name="T22" fmla="*/ 2 w 824"/>
                  <a:gd name="T23" fmla="*/ 17 h 626"/>
                  <a:gd name="T24" fmla="*/ 4 w 824"/>
                  <a:gd name="T25" fmla="*/ 18 h 626"/>
                  <a:gd name="T26" fmla="*/ 5 w 824"/>
                  <a:gd name="T27" fmla="*/ 20 h 626"/>
                  <a:gd name="T28" fmla="*/ 6 w 824"/>
                  <a:gd name="T29" fmla="*/ 21 h 626"/>
                  <a:gd name="T30" fmla="*/ 6 w 824"/>
                  <a:gd name="T31" fmla="*/ 22 h 626"/>
                  <a:gd name="T32" fmla="*/ 7 w 824"/>
                  <a:gd name="T33" fmla="*/ 23 h 626"/>
                  <a:gd name="T34" fmla="*/ 10 w 824"/>
                  <a:gd name="T35" fmla="*/ 24 h 626"/>
                  <a:gd name="T36" fmla="*/ 12 w 824"/>
                  <a:gd name="T37" fmla="*/ 25 h 626"/>
                  <a:gd name="T38" fmla="*/ 15 w 824"/>
                  <a:gd name="T39" fmla="*/ 25 h 626"/>
                  <a:gd name="T40" fmla="*/ 17 w 824"/>
                  <a:gd name="T41" fmla="*/ 23 h 626"/>
                  <a:gd name="T42" fmla="*/ 19 w 824"/>
                  <a:gd name="T43" fmla="*/ 24 h 626"/>
                  <a:gd name="T44" fmla="*/ 20 w 824"/>
                  <a:gd name="T45" fmla="*/ 24 h 626"/>
                  <a:gd name="T46" fmla="*/ 23 w 824"/>
                  <a:gd name="T47" fmla="*/ 22 h 626"/>
                  <a:gd name="T48" fmla="*/ 26 w 824"/>
                  <a:gd name="T49" fmla="*/ 22 h 626"/>
                  <a:gd name="T50" fmla="*/ 33 w 824"/>
                  <a:gd name="T51" fmla="*/ 15 h 626"/>
                  <a:gd name="T52" fmla="*/ 27 w 824"/>
                  <a:gd name="T53" fmla="*/ 14 h 626"/>
                  <a:gd name="T54" fmla="*/ 23 w 824"/>
                  <a:gd name="T55" fmla="*/ 12 h 626"/>
                  <a:gd name="T56" fmla="*/ 23 w 824"/>
                  <a:gd name="T57" fmla="*/ 11 h 626"/>
                  <a:gd name="T58" fmla="*/ 22 w 824"/>
                  <a:gd name="T59" fmla="*/ 10 h 626"/>
                  <a:gd name="T60" fmla="*/ 22 w 824"/>
                  <a:gd name="T61" fmla="*/ 9 h 626"/>
                  <a:gd name="T62" fmla="*/ 21 w 824"/>
                  <a:gd name="T63" fmla="*/ 8 h 626"/>
                  <a:gd name="T64" fmla="*/ 21 w 824"/>
                  <a:gd name="T65" fmla="*/ 9 h 626"/>
                  <a:gd name="T66" fmla="*/ 20 w 824"/>
                  <a:gd name="T67" fmla="*/ 9 h 626"/>
                  <a:gd name="T68" fmla="*/ 19 w 824"/>
                  <a:gd name="T69" fmla="*/ 8 h 626"/>
                  <a:gd name="T70" fmla="*/ 20 w 824"/>
                  <a:gd name="T71" fmla="*/ 7 h 626"/>
                  <a:gd name="T72" fmla="*/ 21 w 824"/>
                  <a:gd name="T73" fmla="*/ 6 h 626"/>
                  <a:gd name="T74" fmla="*/ 20 w 824"/>
                  <a:gd name="T75" fmla="*/ 5 h 626"/>
                  <a:gd name="T76" fmla="*/ 19 w 824"/>
                  <a:gd name="T77" fmla="*/ 4 h 626"/>
                  <a:gd name="T78" fmla="*/ 18 w 824"/>
                  <a:gd name="T79" fmla="*/ 3 h 626"/>
                  <a:gd name="T80" fmla="*/ 17 w 824"/>
                  <a:gd name="T81" fmla="*/ 2 h 626"/>
                  <a:gd name="T82" fmla="*/ 16 w 824"/>
                  <a:gd name="T83" fmla="*/ 1 h 626"/>
                  <a:gd name="T84" fmla="*/ 15 w 824"/>
                  <a:gd name="T85" fmla="*/ 1 h 626"/>
                  <a:gd name="T86" fmla="*/ 14 w 824"/>
                  <a:gd name="T87" fmla="*/ 1 h 626"/>
                  <a:gd name="T88" fmla="*/ 14 w 824"/>
                  <a:gd name="T89" fmla="*/ 1 h 626"/>
                  <a:gd name="T90" fmla="*/ 13 w 824"/>
                  <a:gd name="T91" fmla="*/ 1 h 626"/>
                  <a:gd name="T92" fmla="*/ 13 w 824"/>
                  <a:gd name="T93" fmla="*/ 1 h 626"/>
                  <a:gd name="T94" fmla="*/ 12 w 824"/>
                  <a:gd name="T95" fmla="*/ 1 h 626"/>
                  <a:gd name="T96" fmla="*/ 11 w 824"/>
                  <a:gd name="T97" fmla="*/ 0 h 626"/>
                  <a:gd name="T98" fmla="*/ 11 w 824"/>
                  <a:gd name="T99" fmla="*/ 0 h 626"/>
                  <a:gd name="T100" fmla="*/ 9 w 824"/>
                  <a:gd name="T101" fmla="*/ 1 h 626"/>
                  <a:gd name="T102" fmla="*/ 9 w 824"/>
                  <a:gd name="T103" fmla="*/ 1 h 626"/>
                  <a:gd name="T104" fmla="*/ 9 w 824"/>
                  <a:gd name="T105" fmla="*/ 1 h 626"/>
                  <a:gd name="T106" fmla="*/ 8 w 824"/>
                  <a:gd name="T107" fmla="*/ 1 h 62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824"/>
                  <a:gd name="T163" fmla="*/ 0 h 626"/>
                  <a:gd name="T164" fmla="*/ 824 w 824"/>
                  <a:gd name="T165" fmla="*/ 626 h 62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824" h="626">
                    <a:moveTo>
                      <a:pt x="192" y="32"/>
                    </a:moveTo>
                    <a:lnTo>
                      <a:pt x="192" y="48"/>
                    </a:lnTo>
                    <a:lnTo>
                      <a:pt x="174" y="105"/>
                    </a:lnTo>
                    <a:lnTo>
                      <a:pt x="167" y="113"/>
                    </a:lnTo>
                    <a:lnTo>
                      <a:pt x="158" y="115"/>
                    </a:lnTo>
                    <a:lnTo>
                      <a:pt x="149" y="125"/>
                    </a:lnTo>
                    <a:lnTo>
                      <a:pt x="114" y="174"/>
                    </a:lnTo>
                    <a:lnTo>
                      <a:pt x="109" y="188"/>
                    </a:lnTo>
                    <a:lnTo>
                      <a:pt x="104" y="215"/>
                    </a:lnTo>
                    <a:lnTo>
                      <a:pt x="99" y="220"/>
                    </a:lnTo>
                    <a:lnTo>
                      <a:pt x="88" y="220"/>
                    </a:lnTo>
                    <a:lnTo>
                      <a:pt x="81" y="225"/>
                    </a:lnTo>
                    <a:lnTo>
                      <a:pt x="74" y="237"/>
                    </a:lnTo>
                    <a:lnTo>
                      <a:pt x="71" y="244"/>
                    </a:lnTo>
                    <a:lnTo>
                      <a:pt x="67" y="242"/>
                    </a:lnTo>
                    <a:lnTo>
                      <a:pt x="67" y="253"/>
                    </a:lnTo>
                    <a:lnTo>
                      <a:pt x="69" y="259"/>
                    </a:lnTo>
                    <a:lnTo>
                      <a:pt x="67" y="270"/>
                    </a:lnTo>
                    <a:lnTo>
                      <a:pt x="63" y="286"/>
                    </a:lnTo>
                    <a:lnTo>
                      <a:pt x="63" y="331"/>
                    </a:lnTo>
                    <a:lnTo>
                      <a:pt x="61" y="346"/>
                    </a:lnTo>
                    <a:lnTo>
                      <a:pt x="54" y="352"/>
                    </a:lnTo>
                    <a:lnTo>
                      <a:pt x="43" y="357"/>
                    </a:lnTo>
                    <a:lnTo>
                      <a:pt x="21" y="355"/>
                    </a:lnTo>
                    <a:lnTo>
                      <a:pt x="11" y="359"/>
                    </a:lnTo>
                    <a:lnTo>
                      <a:pt x="11" y="373"/>
                    </a:lnTo>
                    <a:lnTo>
                      <a:pt x="5" y="378"/>
                    </a:lnTo>
                    <a:lnTo>
                      <a:pt x="0" y="386"/>
                    </a:lnTo>
                    <a:lnTo>
                      <a:pt x="6" y="390"/>
                    </a:lnTo>
                    <a:lnTo>
                      <a:pt x="12" y="390"/>
                    </a:lnTo>
                    <a:lnTo>
                      <a:pt x="20" y="397"/>
                    </a:lnTo>
                    <a:lnTo>
                      <a:pt x="28" y="395"/>
                    </a:lnTo>
                    <a:lnTo>
                      <a:pt x="39" y="399"/>
                    </a:lnTo>
                    <a:lnTo>
                      <a:pt x="48" y="404"/>
                    </a:lnTo>
                    <a:lnTo>
                      <a:pt x="56" y="414"/>
                    </a:lnTo>
                    <a:lnTo>
                      <a:pt x="58" y="424"/>
                    </a:lnTo>
                    <a:lnTo>
                      <a:pt x="64" y="432"/>
                    </a:lnTo>
                    <a:lnTo>
                      <a:pt x="71" y="440"/>
                    </a:lnTo>
                    <a:lnTo>
                      <a:pt x="93" y="453"/>
                    </a:lnTo>
                    <a:lnTo>
                      <a:pt x="98" y="463"/>
                    </a:lnTo>
                    <a:lnTo>
                      <a:pt x="103" y="475"/>
                    </a:lnTo>
                    <a:lnTo>
                      <a:pt x="113" y="502"/>
                    </a:lnTo>
                    <a:lnTo>
                      <a:pt x="118" y="511"/>
                    </a:lnTo>
                    <a:lnTo>
                      <a:pt x="126" y="517"/>
                    </a:lnTo>
                    <a:lnTo>
                      <a:pt x="150" y="522"/>
                    </a:lnTo>
                    <a:lnTo>
                      <a:pt x="157" y="527"/>
                    </a:lnTo>
                    <a:lnTo>
                      <a:pt x="158" y="534"/>
                    </a:lnTo>
                    <a:lnTo>
                      <a:pt x="157" y="544"/>
                    </a:lnTo>
                    <a:lnTo>
                      <a:pt x="156" y="566"/>
                    </a:lnTo>
                    <a:lnTo>
                      <a:pt x="169" y="571"/>
                    </a:lnTo>
                    <a:lnTo>
                      <a:pt x="185" y="569"/>
                    </a:lnTo>
                    <a:lnTo>
                      <a:pt x="200" y="570"/>
                    </a:lnTo>
                    <a:lnTo>
                      <a:pt x="217" y="578"/>
                    </a:lnTo>
                    <a:lnTo>
                      <a:pt x="255" y="600"/>
                    </a:lnTo>
                    <a:lnTo>
                      <a:pt x="266" y="613"/>
                    </a:lnTo>
                    <a:lnTo>
                      <a:pt x="286" y="619"/>
                    </a:lnTo>
                    <a:lnTo>
                      <a:pt x="303" y="619"/>
                    </a:lnTo>
                    <a:lnTo>
                      <a:pt x="325" y="625"/>
                    </a:lnTo>
                    <a:lnTo>
                      <a:pt x="350" y="626"/>
                    </a:lnTo>
                    <a:lnTo>
                      <a:pt x="373" y="614"/>
                    </a:lnTo>
                    <a:lnTo>
                      <a:pt x="389" y="598"/>
                    </a:lnTo>
                    <a:lnTo>
                      <a:pt x="408" y="592"/>
                    </a:lnTo>
                    <a:lnTo>
                      <a:pt x="427" y="588"/>
                    </a:lnTo>
                    <a:lnTo>
                      <a:pt x="461" y="604"/>
                    </a:lnTo>
                    <a:lnTo>
                      <a:pt x="474" y="603"/>
                    </a:lnTo>
                    <a:lnTo>
                      <a:pt x="483" y="604"/>
                    </a:lnTo>
                    <a:lnTo>
                      <a:pt x="488" y="603"/>
                    </a:lnTo>
                    <a:lnTo>
                      <a:pt x="491" y="599"/>
                    </a:lnTo>
                    <a:lnTo>
                      <a:pt x="506" y="592"/>
                    </a:lnTo>
                    <a:lnTo>
                      <a:pt x="542" y="580"/>
                    </a:lnTo>
                    <a:lnTo>
                      <a:pt x="554" y="567"/>
                    </a:lnTo>
                    <a:lnTo>
                      <a:pt x="567" y="559"/>
                    </a:lnTo>
                    <a:lnTo>
                      <a:pt x="588" y="550"/>
                    </a:lnTo>
                    <a:lnTo>
                      <a:pt x="596" y="545"/>
                    </a:lnTo>
                    <a:lnTo>
                      <a:pt x="661" y="545"/>
                    </a:lnTo>
                    <a:lnTo>
                      <a:pt x="742" y="463"/>
                    </a:lnTo>
                    <a:lnTo>
                      <a:pt x="813" y="393"/>
                    </a:lnTo>
                    <a:lnTo>
                      <a:pt x="823" y="381"/>
                    </a:lnTo>
                    <a:lnTo>
                      <a:pt x="824" y="378"/>
                    </a:lnTo>
                    <a:lnTo>
                      <a:pt x="771" y="379"/>
                    </a:lnTo>
                    <a:lnTo>
                      <a:pt x="684" y="347"/>
                    </a:lnTo>
                    <a:lnTo>
                      <a:pt x="606" y="320"/>
                    </a:lnTo>
                    <a:lnTo>
                      <a:pt x="599" y="313"/>
                    </a:lnTo>
                    <a:lnTo>
                      <a:pt x="579" y="298"/>
                    </a:lnTo>
                    <a:lnTo>
                      <a:pt x="572" y="288"/>
                    </a:lnTo>
                    <a:lnTo>
                      <a:pt x="566" y="282"/>
                    </a:lnTo>
                    <a:lnTo>
                      <a:pt x="564" y="276"/>
                    </a:lnTo>
                    <a:lnTo>
                      <a:pt x="559" y="273"/>
                    </a:lnTo>
                    <a:lnTo>
                      <a:pt x="553" y="266"/>
                    </a:lnTo>
                    <a:lnTo>
                      <a:pt x="550" y="261"/>
                    </a:lnTo>
                    <a:lnTo>
                      <a:pt x="543" y="254"/>
                    </a:lnTo>
                    <a:lnTo>
                      <a:pt x="538" y="231"/>
                    </a:lnTo>
                    <a:lnTo>
                      <a:pt x="539" y="226"/>
                    </a:lnTo>
                    <a:lnTo>
                      <a:pt x="543" y="221"/>
                    </a:lnTo>
                    <a:lnTo>
                      <a:pt x="543" y="220"/>
                    </a:lnTo>
                    <a:lnTo>
                      <a:pt x="534" y="212"/>
                    </a:lnTo>
                    <a:lnTo>
                      <a:pt x="529" y="211"/>
                    </a:lnTo>
                    <a:lnTo>
                      <a:pt x="517" y="216"/>
                    </a:lnTo>
                    <a:lnTo>
                      <a:pt x="516" y="218"/>
                    </a:lnTo>
                    <a:lnTo>
                      <a:pt x="515" y="220"/>
                    </a:lnTo>
                    <a:lnTo>
                      <a:pt x="508" y="217"/>
                    </a:lnTo>
                    <a:lnTo>
                      <a:pt x="504" y="220"/>
                    </a:lnTo>
                    <a:lnTo>
                      <a:pt x="491" y="218"/>
                    </a:lnTo>
                    <a:lnTo>
                      <a:pt x="485" y="212"/>
                    </a:lnTo>
                    <a:lnTo>
                      <a:pt x="484" y="203"/>
                    </a:lnTo>
                    <a:lnTo>
                      <a:pt x="484" y="200"/>
                    </a:lnTo>
                    <a:lnTo>
                      <a:pt x="493" y="190"/>
                    </a:lnTo>
                    <a:lnTo>
                      <a:pt x="499" y="177"/>
                    </a:lnTo>
                    <a:lnTo>
                      <a:pt x="501" y="166"/>
                    </a:lnTo>
                    <a:lnTo>
                      <a:pt x="506" y="144"/>
                    </a:lnTo>
                    <a:lnTo>
                      <a:pt x="512" y="140"/>
                    </a:lnTo>
                    <a:lnTo>
                      <a:pt x="506" y="132"/>
                    </a:lnTo>
                    <a:lnTo>
                      <a:pt x="502" y="125"/>
                    </a:lnTo>
                    <a:lnTo>
                      <a:pt x="495" y="119"/>
                    </a:lnTo>
                    <a:lnTo>
                      <a:pt x="486" y="115"/>
                    </a:lnTo>
                    <a:lnTo>
                      <a:pt x="483" y="109"/>
                    </a:lnTo>
                    <a:lnTo>
                      <a:pt x="480" y="99"/>
                    </a:lnTo>
                    <a:lnTo>
                      <a:pt x="474" y="93"/>
                    </a:lnTo>
                    <a:lnTo>
                      <a:pt x="462" y="83"/>
                    </a:lnTo>
                    <a:lnTo>
                      <a:pt x="445" y="71"/>
                    </a:lnTo>
                    <a:lnTo>
                      <a:pt x="440" y="62"/>
                    </a:lnTo>
                    <a:lnTo>
                      <a:pt x="432" y="51"/>
                    </a:lnTo>
                    <a:lnTo>
                      <a:pt x="420" y="40"/>
                    </a:lnTo>
                    <a:lnTo>
                      <a:pt x="413" y="39"/>
                    </a:lnTo>
                    <a:lnTo>
                      <a:pt x="403" y="34"/>
                    </a:lnTo>
                    <a:lnTo>
                      <a:pt x="389" y="23"/>
                    </a:lnTo>
                    <a:lnTo>
                      <a:pt x="378" y="24"/>
                    </a:lnTo>
                    <a:lnTo>
                      <a:pt x="376" y="26"/>
                    </a:lnTo>
                    <a:lnTo>
                      <a:pt x="372" y="26"/>
                    </a:lnTo>
                    <a:lnTo>
                      <a:pt x="371" y="22"/>
                    </a:lnTo>
                    <a:lnTo>
                      <a:pt x="361" y="22"/>
                    </a:lnTo>
                    <a:lnTo>
                      <a:pt x="356" y="18"/>
                    </a:lnTo>
                    <a:lnTo>
                      <a:pt x="352" y="18"/>
                    </a:lnTo>
                    <a:lnTo>
                      <a:pt x="348" y="22"/>
                    </a:lnTo>
                    <a:lnTo>
                      <a:pt x="340" y="23"/>
                    </a:lnTo>
                    <a:lnTo>
                      <a:pt x="339" y="24"/>
                    </a:lnTo>
                    <a:lnTo>
                      <a:pt x="337" y="24"/>
                    </a:lnTo>
                    <a:lnTo>
                      <a:pt x="334" y="18"/>
                    </a:lnTo>
                    <a:lnTo>
                      <a:pt x="329" y="13"/>
                    </a:lnTo>
                    <a:lnTo>
                      <a:pt x="324" y="13"/>
                    </a:lnTo>
                    <a:lnTo>
                      <a:pt x="324" y="17"/>
                    </a:lnTo>
                    <a:lnTo>
                      <a:pt x="318" y="22"/>
                    </a:lnTo>
                    <a:lnTo>
                      <a:pt x="305" y="24"/>
                    </a:lnTo>
                    <a:lnTo>
                      <a:pt x="301" y="26"/>
                    </a:lnTo>
                    <a:lnTo>
                      <a:pt x="292" y="26"/>
                    </a:lnTo>
                    <a:lnTo>
                      <a:pt x="284" y="15"/>
                    </a:lnTo>
                    <a:lnTo>
                      <a:pt x="284" y="12"/>
                    </a:lnTo>
                    <a:lnTo>
                      <a:pt x="281" y="11"/>
                    </a:lnTo>
                    <a:lnTo>
                      <a:pt x="274" y="11"/>
                    </a:lnTo>
                    <a:lnTo>
                      <a:pt x="268" y="5"/>
                    </a:lnTo>
                    <a:lnTo>
                      <a:pt x="264" y="0"/>
                    </a:lnTo>
                    <a:lnTo>
                      <a:pt x="244" y="44"/>
                    </a:lnTo>
                    <a:lnTo>
                      <a:pt x="236" y="34"/>
                    </a:lnTo>
                    <a:lnTo>
                      <a:pt x="236" y="31"/>
                    </a:lnTo>
                    <a:lnTo>
                      <a:pt x="231" y="26"/>
                    </a:lnTo>
                    <a:lnTo>
                      <a:pt x="223" y="26"/>
                    </a:lnTo>
                    <a:lnTo>
                      <a:pt x="220" y="29"/>
                    </a:lnTo>
                    <a:lnTo>
                      <a:pt x="219" y="33"/>
                    </a:lnTo>
                    <a:lnTo>
                      <a:pt x="216" y="35"/>
                    </a:lnTo>
                    <a:lnTo>
                      <a:pt x="212" y="35"/>
                    </a:lnTo>
                    <a:lnTo>
                      <a:pt x="208" y="33"/>
                    </a:lnTo>
                    <a:lnTo>
                      <a:pt x="194" y="33"/>
                    </a:lnTo>
                    <a:lnTo>
                      <a:pt x="192" y="3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59" name="Freeform 23">
                <a:extLst>
                  <a:ext uri="{FF2B5EF4-FFF2-40B4-BE49-F238E27FC236}">
                    <a16:creationId xmlns:a16="http://schemas.microsoft.com/office/drawing/2014/main" id="{D51495E4-3484-DB02-9BA0-611AFC65B00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616" y="2103"/>
                <a:ext cx="174" cy="167"/>
              </a:xfrm>
              <a:custGeom>
                <a:avLst/>
                <a:gdLst>
                  <a:gd name="T0" fmla="*/ 5 w 871"/>
                  <a:gd name="T1" fmla="*/ 23 h 832"/>
                  <a:gd name="T2" fmla="*/ 3 w 871"/>
                  <a:gd name="T3" fmla="*/ 21 h 832"/>
                  <a:gd name="T4" fmla="*/ 2 w 871"/>
                  <a:gd name="T5" fmla="*/ 20 h 832"/>
                  <a:gd name="T6" fmla="*/ 0 w 871"/>
                  <a:gd name="T7" fmla="*/ 18 h 832"/>
                  <a:gd name="T8" fmla="*/ 1 w 871"/>
                  <a:gd name="T9" fmla="*/ 17 h 832"/>
                  <a:gd name="T10" fmla="*/ 1 w 871"/>
                  <a:gd name="T11" fmla="*/ 14 h 832"/>
                  <a:gd name="T12" fmla="*/ 1 w 871"/>
                  <a:gd name="T13" fmla="*/ 12 h 832"/>
                  <a:gd name="T14" fmla="*/ 0 w 871"/>
                  <a:gd name="T15" fmla="*/ 9 h 832"/>
                  <a:gd name="T16" fmla="*/ 0 w 871"/>
                  <a:gd name="T17" fmla="*/ 7 h 832"/>
                  <a:gd name="T18" fmla="*/ 1 w 871"/>
                  <a:gd name="T19" fmla="*/ 7 h 832"/>
                  <a:gd name="T20" fmla="*/ 2 w 871"/>
                  <a:gd name="T21" fmla="*/ 6 h 832"/>
                  <a:gd name="T22" fmla="*/ 2 w 871"/>
                  <a:gd name="T23" fmla="*/ 4 h 832"/>
                  <a:gd name="T24" fmla="*/ 3 w 871"/>
                  <a:gd name="T25" fmla="*/ 3 h 832"/>
                  <a:gd name="T26" fmla="*/ 5 w 871"/>
                  <a:gd name="T27" fmla="*/ 2 h 832"/>
                  <a:gd name="T28" fmla="*/ 5 w 871"/>
                  <a:gd name="T29" fmla="*/ 0 h 832"/>
                  <a:gd name="T30" fmla="*/ 8 w 871"/>
                  <a:gd name="T31" fmla="*/ 1 h 832"/>
                  <a:gd name="T32" fmla="*/ 9 w 871"/>
                  <a:gd name="T33" fmla="*/ 1 h 832"/>
                  <a:gd name="T34" fmla="*/ 11 w 871"/>
                  <a:gd name="T35" fmla="*/ 1 h 832"/>
                  <a:gd name="T36" fmla="*/ 13 w 871"/>
                  <a:gd name="T37" fmla="*/ 2 h 832"/>
                  <a:gd name="T38" fmla="*/ 13 w 871"/>
                  <a:gd name="T39" fmla="*/ 3 h 832"/>
                  <a:gd name="T40" fmla="*/ 15 w 871"/>
                  <a:gd name="T41" fmla="*/ 5 h 832"/>
                  <a:gd name="T42" fmla="*/ 17 w 871"/>
                  <a:gd name="T43" fmla="*/ 5 h 832"/>
                  <a:gd name="T44" fmla="*/ 19 w 871"/>
                  <a:gd name="T45" fmla="*/ 6 h 832"/>
                  <a:gd name="T46" fmla="*/ 21 w 871"/>
                  <a:gd name="T47" fmla="*/ 7 h 832"/>
                  <a:gd name="T48" fmla="*/ 22 w 871"/>
                  <a:gd name="T49" fmla="*/ 7 h 832"/>
                  <a:gd name="T50" fmla="*/ 23 w 871"/>
                  <a:gd name="T51" fmla="*/ 6 h 832"/>
                  <a:gd name="T52" fmla="*/ 24 w 871"/>
                  <a:gd name="T53" fmla="*/ 5 h 832"/>
                  <a:gd name="T54" fmla="*/ 23 w 871"/>
                  <a:gd name="T55" fmla="*/ 3 h 832"/>
                  <a:gd name="T56" fmla="*/ 24 w 871"/>
                  <a:gd name="T57" fmla="*/ 2 h 832"/>
                  <a:gd name="T58" fmla="*/ 26 w 871"/>
                  <a:gd name="T59" fmla="*/ 1 h 832"/>
                  <a:gd name="T60" fmla="*/ 29 w 871"/>
                  <a:gd name="T61" fmla="*/ 1 h 832"/>
                  <a:gd name="T62" fmla="*/ 30 w 871"/>
                  <a:gd name="T63" fmla="*/ 1 h 832"/>
                  <a:gd name="T64" fmla="*/ 30 w 871"/>
                  <a:gd name="T65" fmla="*/ 2 h 832"/>
                  <a:gd name="T66" fmla="*/ 31 w 871"/>
                  <a:gd name="T67" fmla="*/ 3 h 832"/>
                  <a:gd name="T68" fmla="*/ 32 w 871"/>
                  <a:gd name="T69" fmla="*/ 3 h 832"/>
                  <a:gd name="T70" fmla="*/ 33 w 871"/>
                  <a:gd name="T71" fmla="*/ 3 h 832"/>
                  <a:gd name="T72" fmla="*/ 35 w 871"/>
                  <a:gd name="T73" fmla="*/ 4 h 832"/>
                  <a:gd name="T74" fmla="*/ 34 w 871"/>
                  <a:gd name="T75" fmla="*/ 4 h 832"/>
                  <a:gd name="T76" fmla="*/ 34 w 871"/>
                  <a:gd name="T77" fmla="*/ 5 h 832"/>
                  <a:gd name="T78" fmla="*/ 34 w 871"/>
                  <a:gd name="T79" fmla="*/ 7 h 832"/>
                  <a:gd name="T80" fmla="*/ 34 w 871"/>
                  <a:gd name="T81" fmla="*/ 8 h 832"/>
                  <a:gd name="T82" fmla="*/ 34 w 871"/>
                  <a:gd name="T83" fmla="*/ 9 h 832"/>
                  <a:gd name="T84" fmla="*/ 35 w 871"/>
                  <a:gd name="T85" fmla="*/ 10 h 832"/>
                  <a:gd name="T86" fmla="*/ 35 w 871"/>
                  <a:gd name="T87" fmla="*/ 17 h 832"/>
                  <a:gd name="T88" fmla="*/ 35 w 871"/>
                  <a:gd name="T89" fmla="*/ 24 h 832"/>
                  <a:gd name="T90" fmla="*/ 35 w 871"/>
                  <a:gd name="T91" fmla="*/ 30 h 832"/>
                  <a:gd name="T92" fmla="*/ 33 w 871"/>
                  <a:gd name="T93" fmla="*/ 34 h 832"/>
                  <a:gd name="T94" fmla="*/ 29 w 871"/>
                  <a:gd name="T95" fmla="*/ 32 h 832"/>
                  <a:gd name="T96" fmla="*/ 23 w 871"/>
                  <a:gd name="T97" fmla="*/ 29 h 832"/>
                  <a:gd name="T98" fmla="*/ 17 w 871"/>
                  <a:gd name="T99" fmla="*/ 25 h 832"/>
                  <a:gd name="T100" fmla="*/ 13 w 871"/>
                  <a:gd name="T101" fmla="*/ 25 h 832"/>
                  <a:gd name="T102" fmla="*/ 12 w 871"/>
                  <a:gd name="T103" fmla="*/ 25 h 832"/>
                  <a:gd name="T104" fmla="*/ 11 w 871"/>
                  <a:gd name="T105" fmla="*/ 24 h 832"/>
                  <a:gd name="T106" fmla="*/ 9 w 871"/>
                  <a:gd name="T107" fmla="*/ 24 h 832"/>
                  <a:gd name="T108" fmla="*/ 6 w 871"/>
                  <a:gd name="T109" fmla="*/ 24 h 83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871"/>
                  <a:gd name="T166" fmla="*/ 0 h 832"/>
                  <a:gd name="T167" fmla="*/ 871 w 871"/>
                  <a:gd name="T168" fmla="*/ 832 h 832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871" h="832">
                    <a:moveTo>
                      <a:pt x="140" y="598"/>
                    </a:moveTo>
                    <a:lnTo>
                      <a:pt x="138" y="592"/>
                    </a:lnTo>
                    <a:lnTo>
                      <a:pt x="134" y="578"/>
                    </a:lnTo>
                    <a:lnTo>
                      <a:pt x="116" y="549"/>
                    </a:lnTo>
                    <a:lnTo>
                      <a:pt x="87" y="535"/>
                    </a:lnTo>
                    <a:lnTo>
                      <a:pt x="76" y="535"/>
                    </a:lnTo>
                    <a:lnTo>
                      <a:pt x="57" y="534"/>
                    </a:lnTo>
                    <a:lnTo>
                      <a:pt x="43" y="519"/>
                    </a:lnTo>
                    <a:lnTo>
                      <a:pt x="40" y="507"/>
                    </a:lnTo>
                    <a:lnTo>
                      <a:pt x="39" y="487"/>
                    </a:lnTo>
                    <a:lnTo>
                      <a:pt x="29" y="471"/>
                    </a:lnTo>
                    <a:lnTo>
                      <a:pt x="11" y="449"/>
                    </a:lnTo>
                    <a:lnTo>
                      <a:pt x="6" y="436"/>
                    </a:lnTo>
                    <a:lnTo>
                      <a:pt x="7" y="428"/>
                    </a:lnTo>
                    <a:lnTo>
                      <a:pt x="18" y="425"/>
                    </a:lnTo>
                    <a:lnTo>
                      <a:pt x="27" y="418"/>
                    </a:lnTo>
                    <a:lnTo>
                      <a:pt x="28" y="362"/>
                    </a:lnTo>
                    <a:lnTo>
                      <a:pt x="32" y="340"/>
                    </a:lnTo>
                    <a:lnTo>
                      <a:pt x="32" y="327"/>
                    </a:lnTo>
                    <a:lnTo>
                      <a:pt x="29" y="319"/>
                    </a:lnTo>
                    <a:lnTo>
                      <a:pt x="29" y="288"/>
                    </a:lnTo>
                    <a:lnTo>
                      <a:pt x="28" y="266"/>
                    </a:lnTo>
                    <a:lnTo>
                      <a:pt x="23" y="243"/>
                    </a:lnTo>
                    <a:lnTo>
                      <a:pt x="11" y="222"/>
                    </a:lnTo>
                    <a:lnTo>
                      <a:pt x="0" y="207"/>
                    </a:lnTo>
                    <a:lnTo>
                      <a:pt x="1" y="191"/>
                    </a:lnTo>
                    <a:lnTo>
                      <a:pt x="11" y="184"/>
                    </a:lnTo>
                    <a:lnTo>
                      <a:pt x="12" y="181"/>
                    </a:lnTo>
                    <a:lnTo>
                      <a:pt x="24" y="180"/>
                    </a:lnTo>
                    <a:lnTo>
                      <a:pt x="36" y="171"/>
                    </a:lnTo>
                    <a:lnTo>
                      <a:pt x="46" y="163"/>
                    </a:lnTo>
                    <a:lnTo>
                      <a:pt x="52" y="153"/>
                    </a:lnTo>
                    <a:lnTo>
                      <a:pt x="52" y="143"/>
                    </a:lnTo>
                    <a:lnTo>
                      <a:pt x="46" y="115"/>
                    </a:lnTo>
                    <a:lnTo>
                      <a:pt x="48" y="106"/>
                    </a:lnTo>
                    <a:lnTo>
                      <a:pt x="52" y="98"/>
                    </a:lnTo>
                    <a:lnTo>
                      <a:pt x="65" y="92"/>
                    </a:lnTo>
                    <a:lnTo>
                      <a:pt x="75" y="85"/>
                    </a:lnTo>
                    <a:lnTo>
                      <a:pt x="79" y="74"/>
                    </a:lnTo>
                    <a:lnTo>
                      <a:pt x="108" y="55"/>
                    </a:lnTo>
                    <a:lnTo>
                      <a:pt x="114" y="50"/>
                    </a:lnTo>
                    <a:lnTo>
                      <a:pt x="119" y="39"/>
                    </a:lnTo>
                    <a:lnTo>
                      <a:pt x="118" y="3"/>
                    </a:lnTo>
                    <a:lnTo>
                      <a:pt x="119" y="0"/>
                    </a:lnTo>
                    <a:lnTo>
                      <a:pt x="130" y="2"/>
                    </a:lnTo>
                    <a:lnTo>
                      <a:pt x="142" y="9"/>
                    </a:lnTo>
                    <a:lnTo>
                      <a:pt x="169" y="20"/>
                    </a:lnTo>
                    <a:lnTo>
                      <a:pt x="190" y="22"/>
                    </a:lnTo>
                    <a:lnTo>
                      <a:pt x="211" y="17"/>
                    </a:lnTo>
                    <a:lnTo>
                      <a:pt x="226" y="18"/>
                    </a:lnTo>
                    <a:lnTo>
                      <a:pt x="237" y="23"/>
                    </a:lnTo>
                    <a:lnTo>
                      <a:pt x="250" y="24"/>
                    </a:lnTo>
                    <a:lnTo>
                      <a:pt x="267" y="29"/>
                    </a:lnTo>
                    <a:lnTo>
                      <a:pt x="276" y="35"/>
                    </a:lnTo>
                    <a:lnTo>
                      <a:pt x="297" y="45"/>
                    </a:lnTo>
                    <a:lnTo>
                      <a:pt x="309" y="47"/>
                    </a:lnTo>
                    <a:lnTo>
                      <a:pt x="323" y="52"/>
                    </a:lnTo>
                    <a:lnTo>
                      <a:pt x="329" y="58"/>
                    </a:lnTo>
                    <a:lnTo>
                      <a:pt x="333" y="71"/>
                    </a:lnTo>
                    <a:lnTo>
                      <a:pt x="333" y="84"/>
                    </a:lnTo>
                    <a:lnTo>
                      <a:pt x="342" y="99"/>
                    </a:lnTo>
                    <a:lnTo>
                      <a:pt x="358" y="115"/>
                    </a:lnTo>
                    <a:lnTo>
                      <a:pt x="371" y="121"/>
                    </a:lnTo>
                    <a:lnTo>
                      <a:pt x="379" y="124"/>
                    </a:lnTo>
                    <a:lnTo>
                      <a:pt x="415" y="125"/>
                    </a:lnTo>
                    <a:lnTo>
                      <a:pt x="431" y="130"/>
                    </a:lnTo>
                    <a:lnTo>
                      <a:pt x="459" y="140"/>
                    </a:lnTo>
                    <a:lnTo>
                      <a:pt x="474" y="149"/>
                    </a:lnTo>
                    <a:lnTo>
                      <a:pt x="482" y="151"/>
                    </a:lnTo>
                    <a:lnTo>
                      <a:pt x="490" y="154"/>
                    </a:lnTo>
                    <a:lnTo>
                      <a:pt x="496" y="162"/>
                    </a:lnTo>
                    <a:lnTo>
                      <a:pt x="514" y="178"/>
                    </a:lnTo>
                    <a:lnTo>
                      <a:pt x="529" y="184"/>
                    </a:lnTo>
                    <a:lnTo>
                      <a:pt x="543" y="184"/>
                    </a:lnTo>
                    <a:lnTo>
                      <a:pt x="561" y="176"/>
                    </a:lnTo>
                    <a:lnTo>
                      <a:pt x="571" y="170"/>
                    </a:lnTo>
                    <a:lnTo>
                      <a:pt x="581" y="159"/>
                    </a:lnTo>
                    <a:lnTo>
                      <a:pt x="587" y="148"/>
                    </a:lnTo>
                    <a:lnTo>
                      <a:pt x="593" y="138"/>
                    </a:lnTo>
                    <a:lnTo>
                      <a:pt x="594" y="130"/>
                    </a:lnTo>
                    <a:lnTo>
                      <a:pt x="589" y="117"/>
                    </a:lnTo>
                    <a:lnTo>
                      <a:pt x="588" y="108"/>
                    </a:lnTo>
                    <a:lnTo>
                      <a:pt x="582" y="98"/>
                    </a:lnTo>
                    <a:lnTo>
                      <a:pt x="582" y="83"/>
                    </a:lnTo>
                    <a:lnTo>
                      <a:pt x="586" y="70"/>
                    </a:lnTo>
                    <a:lnTo>
                      <a:pt x="598" y="55"/>
                    </a:lnTo>
                    <a:lnTo>
                      <a:pt x="606" y="47"/>
                    </a:lnTo>
                    <a:lnTo>
                      <a:pt x="625" y="33"/>
                    </a:lnTo>
                    <a:lnTo>
                      <a:pt x="641" y="24"/>
                    </a:lnTo>
                    <a:lnTo>
                      <a:pt x="658" y="22"/>
                    </a:lnTo>
                    <a:lnTo>
                      <a:pt x="670" y="17"/>
                    </a:lnTo>
                    <a:lnTo>
                      <a:pt x="701" y="15"/>
                    </a:lnTo>
                    <a:lnTo>
                      <a:pt x="729" y="25"/>
                    </a:lnTo>
                    <a:lnTo>
                      <a:pt x="737" y="29"/>
                    </a:lnTo>
                    <a:lnTo>
                      <a:pt x="745" y="30"/>
                    </a:lnTo>
                    <a:lnTo>
                      <a:pt x="754" y="35"/>
                    </a:lnTo>
                    <a:lnTo>
                      <a:pt x="755" y="45"/>
                    </a:lnTo>
                    <a:lnTo>
                      <a:pt x="754" y="47"/>
                    </a:lnTo>
                    <a:lnTo>
                      <a:pt x="751" y="46"/>
                    </a:lnTo>
                    <a:lnTo>
                      <a:pt x="753" y="54"/>
                    </a:lnTo>
                    <a:lnTo>
                      <a:pt x="762" y="61"/>
                    </a:lnTo>
                    <a:lnTo>
                      <a:pt x="767" y="63"/>
                    </a:lnTo>
                    <a:lnTo>
                      <a:pt x="772" y="62"/>
                    </a:lnTo>
                    <a:lnTo>
                      <a:pt x="787" y="65"/>
                    </a:lnTo>
                    <a:lnTo>
                      <a:pt x="797" y="67"/>
                    </a:lnTo>
                    <a:lnTo>
                      <a:pt x="801" y="68"/>
                    </a:lnTo>
                    <a:lnTo>
                      <a:pt x="815" y="74"/>
                    </a:lnTo>
                    <a:lnTo>
                      <a:pt x="831" y="77"/>
                    </a:lnTo>
                    <a:lnTo>
                      <a:pt x="856" y="78"/>
                    </a:lnTo>
                    <a:lnTo>
                      <a:pt x="864" y="83"/>
                    </a:lnTo>
                    <a:lnTo>
                      <a:pt x="868" y="95"/>
                    </a:lnTo>
                    <a:lnTo>
                      <a:pt x="871" y="97"/>
                    </a:lnTo>
                    <a:lnTo>
                      <a:pt x="863" y="99"/>
                    </a:lnTo>
                    <a:lnTo>
                      <a:pt x="860" y="108"/>
                    </a:lnTo>
                    <a:lnTo>
                      <a:pt x="852" y="116"/>
                    </a:lnTo>
                    <a:lnTo>
                      <a:pt x="852" y="119"/>
                    </a:lnTo>
                    <a:lnTo>
                      <a:pt x="856" y="127"/>
                    </a:lnTo>
                    <a:lnTo>
                      <a:pt x="857" y="154"/>
                    </a:lnTo>
                    <a:lnTo>
                      <a:pt x="860" y="171"/>
                    </a:lnTo>
                    <a:lnTo>
                      <a:pt x="858" y="180"/>
                    </a:lnTo>
                    <a:lnTo>
                      <a:pt x="858" y="183"/>
                    </a:lnTo>
                    <a:lnTo>
                      <a:pt x="848" y="187"/>
                    </a:lnTo>
                    <a:lnTo>
                      <a:pt x="845" y="192"/>
                    </a:lnTo>
                    <a:lnTo>
                      <a:pt x="845" y="196"/>
                    </a:lnTo>
                    <a:lnTo>
                      <a:pt x="846" y="217"/>
                    </a:lnTo>
                    <a:lnTo>
                      <a:pt x="853" y="227"/>
                    </a:lnTo>
                    <a:lnTo>
                      <a:pt x="855" y="230"/>
                    </a:lnTo>
                    <a:lnTo>
                      <a:pt x="852" y="243"/>
                    </a:lnTo>
                    <a:lnTo>
                      <a:pt x="869" y="261"/>
                    </a:lnTo>
                    <a:lnTo>
                      <a:pt x="869" y="304"/>
                    </a:lnTo>
                    <a:lnTo>
                      <a:pt x="869" y="362"/>
                    </a:lnTo>
                    <a:lnTo>
                      <a:pt x="869" y="421"/>
                    </a:lnTo>
                    <a:lnTo>
                      <a:pt x="869" y="479"/>
                    </a:lnTo>
                    <a:lnTo>
                      <a:pt x="869" y="535"/>
                    </a:lnTo>
                    <a:lnTo>
                      <a:pt x="869" y="593"/>
                    </a:lnTo>
                    <a:lnTo>
                      <a:pt x="869" y="649"/>
                    </a:lnTo>
                    <a:lnTo>
                      <a:pt x="869" y="687"/>
                    </a:lnTo>
                    <a:lnTo>
                      <a:pt x="869" y="740"/>
                    </a:lnTo>
                    <a:lnTo>
                      <a:pt x="869" y="799"/>
                    </a:lnTo>
                    <a:lnTo>
                      <a:pt x="817" y="799"/>
                    </a:lnTo>
                    <a:lnTo>
                      <a:pt x="817" y="832"/>
                    </a:lnTo>
                    <a:lnTo>
                      <a:pt x="808" y="831"/>
                    </a:lnTo>
                    <a:lnTo>
                      <a:pt x="761" y="807"/>
                    </a:lnTo>
                    <a:lnTo>
                      <a:pt x="715" y="783"/>
                    </a:lnTo>
                    <a:lnTo>
                      <a:pt x="667" y="759"/>
                    </a:lnTo>
                    <a:lnTo>
                      <a:pt x="620" y="734"/>
                    </a:lnTo>
                    <a:lnTo>
                      <a:pt x="573" y="709"/>
                    </a:lnTo>
                    <a:lnTo>
                      <a:pt x="527" y="685"/>
                    </a:lnTo>
                    <a:lnTo>
                      <a:pt x="480" y="659"/>
                    </a:lnTo>
                    <a:lnTo>
                      <a:pt x="433" y="635"/>
                    </a:lnTo>
                    <a:lnTo>
                      <a:pt x="387" y="610"/>
                    </a:lnTo>
                    <a:lnTo>
                      <a:pt x="376" y="605"/>
                    </a:lnTo>
                    <a:lnTo>
                      <a:pt x="326" y="622"/>
                    </a:lnTo>
                    <a:lnTo>
                      <a:pt x="320" y="625"/>
                    </a:lnTo>
                    <a:lnTo>
                      <a:pt x="303" y="630"/>
                    </a:lnTo>
                    <a:lnTo>
                      <a:pt x="297" y="620"/>
                    </a:lnTo>
                    <a:lnTo>
                      <a:pt x="293" y="616"/>
                    </a:lnTo>
                    <a:lnTo>
                      <a:pt x="278" y="609"/>
                    </a:lnTo>
                    <a:lnTo>
                      <a:pt x="275" y="605"/>
                    </a:lnTo>
                    <a:lnTo>
                      <a:pt x="270" y="601"/>
                    </a:lnTo>
                    <a:lnTo>
                      <a:pt x="261" y="599"/>
                    </a:lnTo>
                    <a:lnTo>
                      <a:pt x="222" y="595"/>
                    </a:lnTo>
                    <a:lnTo>
                      <a:pt x="179" y="596"/>
                    </a:lnTo>
                    <a:lnTo>
                      <a:pt x="148" y="594"/>
                    </a:lnTo>
                    <a:lnTo>
                      <a:pt x="145" y="595"/>
                    </a:lnTo>
                    <a:lnTo>
                      <a:pt x="140" y="59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60" name="Freeform 24">
                <a:extLst>
                  <a:ext uri="{FF2B5EF4-FFF2-40B4-BE49-F238E27FC236}">
                    <a16:creationId xmlns:a16="http://schemas.microsoft.com/office/drawing/2014/main" id="{B45835E6-30E8-3C14-1179-D924C0B1A54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30" y="2172"/>
                <a:ext cx="92" cy="80"/>
              </a:xfrm>
              <a:custGeom>
                <a:avLst/>
                <a:gdLst>
                  <a:gd name="T0" fmla="*/ 8 w 459"/>
                  <a:gd name="T1" fmla="*/ 15 h 401"/>
                  <a:gd name="T2" fmla="*/ 6 w 459"/>
                  <a:gd name="T3" fmla="*/ 15 h 401"/>
                  <a:gd name="T4" fmla="*/ 4 w 459"/>
                  <a:gd name="T5" fmla="*/ 15 h 401"/>
                  <a:gd name="T6" fmla="*/ 2 w 459"/>
                  <a:gd name="T7" fmla="*/ 15 h 401"/>
                  <a:gd name="T8" fmla="*/ 1 w 459"/>
                  <a:gd name="T9" fmla="*/ 15 h 401"/>
                  <a:gd name="T10" fmla="*/ 1 w 459"/>
                  <a:gd name="T11" fmla="*/ 15 h 401"/>
                  <a:gd name="T12" fmla="*/ 0 w 459"/>
                  <a:gd name="T13" fmla="*/ 16 h 401"/>
                  <a:gd name="T14" fmla="*/ 0 w 459"/>
                  <a:gd name="T15" fmla="*/ 16 h 401"/>
                  <a:gd name="T16" fmla="*/ 0 w 459"/>
                  <a:gd name="T17" fmla="*/ 16 h 401"/>
                  <a:gd name="T18" fmla="*/ 0 w 459"/>
                  <a:gd name="T19" fmla="*/ 16 h 401"/>
                  <a:gd name="T20" fmla="*/ 0 w 459"/>
                  <a:gd name="T21" fmla="*/ 16 h 401"/>
                  <a:gd name="T22" fmla="*/ 0 w 459"/>
                  <a:gd name="T23" fmla="*/ 14 h 401"/>
                  <a:gd name="T24" fmla="*/ 1 w 459"/>
                  <a:gd name="T25" fmla="*/ 13 h 401"/>
                  <a:gd name="T26" fmla="*/ 1 w 459"/>
                  <a:gd name="T27" fmla="*/ 13 h 401"/>
                  <a:gd name="T28" fmla="*/ 2 w 459"/>
                  <a:gd name="T29" fmla="*/ 12 h 401"/>
                  <a:gd name="T30" fmla="*/ 2 w 459"/>
                  <a:gd name="T31" fmla="*/ 11 h 401"/>
                  <a:gd name="T32" fmla="*/ 2 w 459"/>
                  <a:gd name="T33" fmla="*/ 11 h 401"/>
                  <a:gd name="T34" fmla="*/ 3 w 459"/>
                  <a:gd name="T35" fmla="*/ 10 h 401"/>
                  <a:gd name="T36" fmla="*/ 3 w 459"/>
                  <a:gd name="T37" fmla="*/ 10 h 401"/>
                  <a:gd name="T38" fmla="*/ 3 w 459"/>
                  <a:gd name="T39" fmla="*/ 9 h 401"/>
                  <a:gd name="T40" fmla="*/ 3 w 459"/>
                  <a:gd name="T41" fmla="*/ 9 h 401"/>
                  <a:gd name="T42" fmla="*/ 4 w 459"/>
                  <a:gd name="T43" fmla="*/ 8 h 401"/>
                  <a:gd name="T44" fmla="*/ 5 w 459"/>
                  <a:gd name="T45" fmla="*/ 7 h 401"/>
                  <a:gd name="T46" fmla="*/ 5 w 459"/>
                  <a:gd name="T47" fmla="*/ 6 h 401"/>
                  <a:gd name="T48" fmla="*/ 5 w 459"/>
                  <a:gd name="T49" fmla="*/ 5 h 401"/>
                  <a:gd name="T50" fmla="*/ 6 w 459"/>
                  <a:gd name="T51" fmla="*/ 4 h 401"/>
                  <a:gd name="T52" fmla="*/ 6 w 459"/>
                  <a:gd name="T53" fmla="*/ 3 h 401"/>
                  <a:gd name="T54" fmla="*/ 7 w 459"/>
                  <a:gd name="T55" fmla="*/ 3 h 401"/>
                  <a:gd name="T56" fmla="*/ 8 w 459"/>
                  <a:gd name="T57" fmla="*/ 2 h 401"/>
                  <a:gd name="T58" fmla="*/ 8 w 459"/>
                  <a:gd name="T59" fmla="*/ 2 h 401"/>
                  <a:gd name="T60" fmla="*/ 8 w 459"/>
                  <a:gd name="T61" fmla="*/ 1 h 401"/>
                  <a:gd name="T62" fmla="*/ 8 w 459"/>
                  <a:gd name="T63" fmla="*/ 1 h 401"/>
                  <a:gd name="T64" fmla="*/ 9 w 459"/>
                  <a:gd name="T65" fmla="*/ 0 h 401"/>
                  <a:gd name="T66" fmla="*/ 9 w 459"/>
                  <a:gd name="T67" fmla="*/ 0 h 401"/>
                  <a:gd name="T68" fmla="*/ 9 w 459"/>
                  <a:gd name="T69" fmla="*/ 0 h 401"/>
                  <a:gd name="T70" fmla="*/ 10 w 459"/>
                  <a:gd name="T71" fmla="*/ 0 h 401"/>
                  <a:gd name="T72" fmla="*/ 12 w 459"/>
                  <a:gd name="T73" fmla="*/ 0 h 401"/>
                  <a:gd name="T74" fmla="*/ 14 w 459"/>
                  <a:gd name="T75" fmla="*/ 0 h 401"/>
                  <a:gd name="T76" fmla="*/ 15 w 459"/>
                  <a:gd name="T77" fmla="*/ 0 h 401"/>
                  <a:gd name="T78" fmla="*/ 17 w 459"/>
                  <a:gd name="T79" fmla="*/ 0 h 401"/>
                  <a:gd name="T80" fmla="*/ 18 w 459"/>
                  <a:gd name="T81" fmla="*/ 0 h 401"/>
                  <a:gd name="T82" fmla="*/ 18 w 459"/>
                  <a:gd name="T83" fmla="*/ 1 h 401"/>
                  <a:gd name="T84" fmla="*/ 18 w 459"/>
                  <a:gd name="T85" fmla="*/ 4 h 401"/>
                  <a:gd name="T86" fmla="*/ 16 w 459"/>
                  <a:gd name="T87" fmla="*/ 4 h 401"/>
                  <a:gd name="T88" fmla="*/ 14 w 459"/>
                  <a:gd name="T89" fmla="*/ 4 h 401"/>
                  <a:gd name="T90" fmla="*/ 12 w 459"/>
                  <a:gd name="T91" fmla="*/ 4 h 401"/>
                  <a:gd name="T92" fmla="*/ 11 w 459"/>
                  <a:gd name="T93" fmla="*/ 4 h 401"/>
                  <a:gd name="T94" fmla="*/ 11 w 459"/>
                  <a:gd name="T95" fmla="*/ 6 h 401"/>
                  <a:gd name="T96" fmla="*/ 11 w 459"/>
                  <a:gd name="T97" fmla="*/ 9 h 401"/>
                  <a:gd name="T98" fmla="*/ 11 w 459"/>
                  <a:gd name="T99" fmla="*/ 10 h 401"/>
                  <a:gd name="T100" fmla="*/ 10 w 459"/>
                  <a:gd name="T101" fmla="*/ 10 h 401"/>
                  <a:gd name="T102" fmla="*/ 10 w 459"/>
                  <a:gd name="T103" fmla="*/ 10 h 401"/>
                  <a:gd name="T104" fmla="*/ 9 w 459"/>
                  <a:gd name="T105" fmla="*/ 11 h 401"/>
                  <a:gd name="T106" fmla="*/ 9 w 459"/>
                  <a:gd name="T107" fmla="*/ 11 h 401"/>
                  <a:gd name="T108" fmla="*/ 9 w 459"/>
                  <a:gd name="T109" fmla="*/ 11 h 401"/>
                  <a:gd name="T110" fmla="*/ 9 w 459"/>
                  <a:gd name="T111" fmla="*/ 11 h 401"/>
                  <a:gd name="T112" fmla="*/ 9 w 459"/>
                  <a:gd name="T113" fmla="*/ 12 h 401"/>
                  <a:gd name="T114" fmla="*/ 9 w 459"/>
                  <a:gd name="T115" fmla="*/ 13 h 401"/>
                  <a:gd name="T116" fmla="*/ 9 w 459"/>
                  <a:gd name="T117" fmla="*/ 14 h 401"/>
                  <a:gd name="T118" fmla="*/ 9 w 459"/>
                  <a:gd name="T119" fmla="*/ 14 h 401"/>
                  <a:gd name="T120" fmla="*/ 9 w 459"/>
                  <a:gd name="T121" fmla="*/ 15 h 401"/>
                  <a:gd name="T122" fmla="*/ 8 w 459"/>
                  <a:gd name="T123" fmla="*/ 15 h 401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459"/>
                  <a:gd name="T187" fmla="*/ 0 h 401"/>
                  <a:gd name="T188" fmla="*/ 459 w 459"/>
                  <a:gd name="T189" fmla="*/ 401 h 401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459" h="401">
                    <a:moveTo>
                      <a:pt x="196" y="379"/>
                    </a:moveTo>
                    <a:lnTo>
                      <a:pt x="148" y="379"/>
                    </a:lnTo>
                    <a:lnTo>
                      <a:pt x="96" y="379"/>
                    </a:lnTo>
                    <a:lnTo>
                      <a:pt x="45" y="379"/>
                    </a:lnTo>
                    <a:lnTo>
                      <a:pt x="16" y="379"/>
                    </a:lnTo>
                    <a:lnTo>
                      <a:pt x="14" y="385"/>
                    </a:lnTo>
                    <a:lnTo>
                      <a:pt x="6" y="392"/>
                    </a:lnTo>
                    <a:lnTo>
                      <a:pt x="2" y="397"/>
                    </a:lnTo>
                    <a:lnTo>
                      <a:pt x="5" y="396"/>
                    </a:lnTo>
                    <a:lnTo>
                      <a:pt x="0" y="401"/>
                    </a:lnTo>
                    <a:lnTo>
                      <a:pt x="0" y="392"/>
                    </a:lnTo>
                    <a:lnTo>
                      <a:pt x="5" y="355"/>
                    </a:lnTo>
                    <a:lnTo>
                      <a:pt x="16" y="329"/>
                    </a:lnTo>
                    <a:lnTo>
                      <a:pt x="28" y="323"/>
                    </a:lnTo>
                    <a:lnTo>
                      <a:pt x="40" y="296"/>
                    </a:lnTo>
                    <a:lnTo>
                      <a:pt x="48" y="284"/>
                    </a:lnTo>
                    <a:lnTo>
                      <a:pt x="45" y="275"/>
                    </a:lnTo>
                    <a:lnTo>
                      <a:pt x="65" y="246"/>
                    </a:lnTo>
                    <a:lnTo>
                      <a:pt x="69" y="240"/>
                    </a:lnTo>
                    <a:lnTo>
                      <a:pt x="71" y="229"/>
                    </a:lnTo>
                    <a:lnTo>
                      <a:pt x="76" y="221"/>
                    </a:lnTo>
                    <a:lnTo>
                      <a:pt x="105" y="188"/>
                    </a:lnTo>
                    <a:lnTo>
                      <a:pt x="120" y="164"/>
                    </a:lnTo>
                    <a:lnTo>
                      <a:pt x="123" y="145"/>
                    </a:lnTo>
                    <a:lnTo>
                      <a:pt x="132" y="122"/>
                    </a:lnTo>
                    <a:lnTo>
                      <a:pt x="139" y="100"/>
                    </a:lnTo>
                    <a:lnTo>
                      <a:pt x="155" y="80"/>
                    </a:lnTo>
                    <a:lnTo>
                      <a:pt x="174" y="70"/>
                    </a:lnTo>
                    <a:lnTo>
                      <a:pt x="190" y="57"/>
                    </a:lnTo>
                    <a:lnTo>
                      <a:pt x="196" y="38"/>
                    </a:lnTo>
                    <a:lnTo>
                      <a:pt x="199" y="33"/>
                    </a:lnTo>
                    <a:lnTo>
                      <a:pt x="204" y="22"/>
                    </a:lnTo>
                    <a:lnTo>
                      <a:pt x="213" y="6"/>
                    </a:lnTo>
                    <a:lnTo>
                      <a:pt x="218" y="0"/>
                    </a:lnTo>
                    <a:lnTo>
                      <a:pt x="227" y="0"/>
                    </a:lnTo>
                    <a:lnTo>
                      <a:pt x="261" y="0"/>
                    </a:lnTo>
                    <a:lnTo>
                      <a:pt x="297" y="0"/>
                    </a:lnTo>
                    <a:lnTo>
                      <a:pt x="338" y="0"/>
                    </a:lnTo>
                    <a:lnTo>
                      <a:pt x="379" y="0"/>
                    </a:lnTo>
                    <a:lnTo>
                      <a:pt x="422" y="0"/>
                    </a:lnTo>
                    <a:lnTo>
                      <a:pt x="459" y="0"/>
                    </a:lnTo>
                    <a:lnTo>
                      <a:pt x="459" y="32"/>
                    </a:lnTo>
                    <a:lnTo>
                      <a:pt x="459" y="102"/>
                    </a:lnTo>
                    <a:lnTo>
                      <a:pt x="405" y="102"/>
                    </a:lnTo>
                    <a:lnTo>
                      <a:pt x="352" y="102"/>
                    </a:lnTo>
                    <a:lnTo>
                      <a:pt x="299" y="102"/>
                    </a:lnTo>
                    <a:lnTo>
                      <a:pt x="281" y="102"/>
                    </a:lnTo>
                    <a:lnTo>
                      <a:pt x="281" y="160"/>
                    </a:lnTo>
                    <a:lnTo>
                      <a:pt x="281" y="219"/>
                    </a:lnTo>
                    <a:lnTo>
                      <a:pt x="281" y="254"/>
                    </a:lnTo>
                    <a:lnTo>
                      <a:pt x="261" y="261"/>
                    </a:lnTo>
                    <a:lnTo>
                      <a:pt x="244" y="263"/>
                    </a:lnTo>
                    <a:lnTo>
                      <a:pt x="228" y="268"/>
                    </a:lnTo>
                    <a:lnTo>
                      <a:pt x="223" y="272"/>
                    </a:lnTo>
                    <a:lnTo>
                      <a:pt x="220" y="277"/>
                    </a:lnTo>
                    <a:lnTo>
                      <a:pt x="215" y="288"/>
                    </a:lnTo>
                    <a:lnTo>
                      <a:pt x="213" y="296"/>
                    </a:lnTo>
                    <a:lnTo>
                      <a:pt x="215" y="322"/>
                    </a:lnTo>
                    <a:lnTo>
                      <a:pt x="218" y="342"/>
                    </a:lnTo>
                    <a:lnTo>
                      <a:pt x="218" y="363"/>
                    </a:lnTo>
                    <a:lnTo>
                      <a:pt x="222" y="379"/>
                    </a:lnTo>
                    <a:lnTo>
                      <a:pt x="196" y="37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61" name="Freeform 25">
                <a:extLst>
                  <a:ext uri="{FF2B5EF4-FFF2-40B4-BE49-F238E27FC236}">
                    <a16:creationId xmlns:a16="http://schemas.microsoft.com/office/drawing/2014/main" id="{B075B86B-3B80-FE4B-0C88-D5E6519CF78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54" y="2777"/>
                <a:ext cx="13" cy="18"/>
              </a:xfrm>
              <a:custGeom>
                <a:avLst/>
                <a:gdLst>
                  <a:gd name="T0" fmla="*/ 3 w 67"/>
                  <a:gd name="T1" fmla="*/ 3 h 90"/>
                  <a:gd name="T2" fmla="*/ 3 w 67"/>
                  <a:gd name="T3" fmla="*/ 1 h 90"/>
                  <a:gd name="T4" fmla="*/ 3 w 67"/>
                  <a:gd name="T5" fmla="*/ 1 h 90"/>
                  <a:gd name="T6" fmla="*/ 2 w 67"/>
                  <a:gd name="T7" fmla="*/ 0 h 90"/>
                  <a:gd name="T8" fmla="*/ 2 w 67"/>
                  <a:gd name="T9" fmla="*/ 1 h 90"/>
                  <a:gd name="T10" fmla="*/ 1 w 67"/>
                  <a:gd name="T11" fmla="*/ 0 h 90"/>
                  <a:gd name="T12" fmla="*/ 1 w 67"/>
                  <a:gd name="T13" fmla="*/ 0 h 90"/>
                  <a:gd name="T14" fmla="*/ 0 w 67"/>
                  <a:gd name="T15" fmla="*/ 1 h 90"/>
                  <a:gd name="T16" fmla="*/ 0 w 67"/>
                  <a:gd name="T17" fmla="*/ 2 h 90"/>
                  <a:gd name="T18" fmla="*/ 0 w 67"/>
                  <a:gd name="T19" fmla="*/ 2 h 90"/>
                  <a:gd name="T20" fmla="*/ 0 w 67"/>
                  <a:gd name="T21" fmla="*/ 3 h 90"/>
                  <a:gd name="T22" fmla="*/ 0 w 67"/>
                  <a:gd name="T23" fmla="*/ 3 h 90"/>
                  <a:gd name="T24" fmla="*/ 1 w 67"/>
                  <a:gd name="T25" fmla="*/ 4 h 90"/>
                  <a:gd name="T26" fmla="*/ 2 w 67"/>
                  <a:gd name="T27" fmla="*/ 4 h 90"/>
                  <a:gd name="T28" fmla="*/ 2 w 67"/>
                  <a:gd name="T29" fmla="*/ 3 h 90"/>
                  <a:gd name="T30" fmla="*/ 2 w 67"/>
                  <a:gd name="T31" fmla="*/ 3 h 90"/>
                  <a:gd name="T32" fmla="*/ 3 w 67"/>
                  <a:gd name="T33" fmla="*/ 3 h 9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67"/>
                  <a:gd name="T52" fmla="*/ 0 h 90"/>
                  <a:gd name="T53" fmla="*/ 67 w 67"/>
                  <a:gd name="T54" fmla="*/ 90 h 90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67" h="90">
                    <a:moveTo>
                      <a:pt x="67" y="63"/>
                    </a:moveTo>
                    <a:lnTo>
                      <a:pt x="65" y="35"/>
                    </a:lnTo>
                    <a:lnTo>
                      <a:pt x="65" y="14"/>
                    </a:lnTo>
                    <a:lnTo>
                      <a:pt x="63" y="6"/>
                    </a:lnTo>
                    <a:lnTo>
                      <a:pt x="56" y="15"/>
                    </a:lnTo>
                    <a:lnTo>
                      <a:pt x="33" y="0"/>
                    </a:lnTo>
                    <a:lnTo>
                      <a:pt x="19" y="9"/>
                    </a:lnTo>
                    <a:lnTo>
                      <a:pt x="12" y="21"/>
                    </a:lnTo>
                    <a:lnTo>
                      <a:pt x="4" y="38"/>
                    </a:lnTo>
                    <a:lnTo>
                      <a:pt x="0" y="54"/>
                    </a:lnTo>
                    <a:lnTo>
                      <a:pt x="2" y="67"/>
                    </a:lnTo>
                    <a:lnTo>
                      <a:pt x="12" y="86"/>
                    </a:lnTo>
                    <a:lnTo>
                      <a:pt x="35" y="89"/>
                    </a:lnTo>
                    <a:lnTo>
                      <a:pt x="47" y="90"/>
                    </a:lnTo>
                    <a:lnTo>
                      <a:pt x="55" y="81"/>
                    </a:lnTo>
                    <a:lnTo>
                      <a:pt x="61" y="67"/>
                    </a:lnTo>
                    <a:lnTo>
                      <a:pt x="67" y="6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62" name="Freeform 26">
                <a:extLst>
                  <a:ext uri="{FF2B5EF4-FFF2-40B4-BE49-F238E27FC236}">
                    <a16:creationId xmlns:a16="http://schemas.microsoft.com/office/drawing/2014/main" id="{5F21C030-0C5D-5C87-30B5-96998C92895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696" y="2733"/>
                <a:ext cx="180" cy="158"/>
              </a:xfrm>
              <a:custGeom>
                <a:avLst/>
                <a:gdLst>
                  <a:gd name="T0" fmla="*/ 8 w 898"/>
                  <a:gd name="T1" fmla="*/ 13 h 791"/>
                  <a:gd name="T2" fmla="*/ 6 w 898"/>
                  <a:gd name="T3" fmla="*/ 16 h 791"/>
                  <a:gd name="T4" fmla="*/ 4 w 898"/>
                  <a:gd name="T5" fmla="*/ 17 h 791"/>
                  <a:gd name="T6" fmla="*/ 2 w 898"/>
                  <a:gd name="T7" fmla="*/ 16 h 791"/>
                  <a:gd name="T8" fmla="*/ 0 w 898"/>
                  <a:gd name="T9" fmla="*/ 16 h 791"/>
                  <a:gd name="T10" fmla="*/ 0 w 898"/>
                  <a:gd name="T11" fmla="*/ 16 h 791"/>
                  <a:gd name="T12" fmla="*/ 1 w 898"/>
                  <a:gd name="T13" fmla="*/ 20 h 791"/>
                  <a:gd name="T14" fmla="*/ 3 w 898"/>
                  <a:gd name="T15" fmla="*/ 22 h 791"/>
                  <a:gd name="T16" fmla="*/ 4 w 898"/>
                  <a:gd name="T17" fmla="*/ 27 h 791"/>
                  <a:gd name="T18" fmla="*/ 3 w 898"/>
                  <a:gd name="T19" fmla="*/ 27 h 791"/>
                  <a:gd name="T20" fmla="*/ 4 w 898"/>
                  <a:gd name="T21" fmla="*/ 28 h 791"/>
                  <a:gd name="T22" fmla="*/ 4 w 898"/>
                  <a:gd name="T23" fmla="*/ 29 h 791"/>
                  <a:gd name="T24" fmla="*/ 4 w 898"/>
                  <a:gd name="T25" fmla="*/ 31 h 791"/>
                  <a:gd name="T26" fmla="*/ 4 w 898"/>
                  <a:gd name="T27" fmla="*/ 30 h 791"/>
                  <a:gd name="T28" fmla="*/ 5 w 898"/>
                  <a:gd name="T29" fmla="*/ 31 h 791"/>
                  <a:gd name="T30" fmla="*/ 6 w 898"/>
                  <a:gd name="T31" fmla="*/ 31 h 791"/>
                  <a:gd name="T32" fmla="*/ 8 w 898"/>
                  <a:gd name="T33" fmla="*/ 32 h 791"/>
                  <a:gd name="T34" fmla="*/ 9 w 898"/>
                  <a:gd name="T35" fmla="*/ 31 h 791"/>
                  <a:gd name="T36" fmla="*/ 12 w 898"/>
                  <a:gd name="T37" fmla="*/ 31 h 791"/>
                  <a:gd name="T38" fmla="*/ 12 w 898"/>
                  <a:gd name="T39" fmla="*/ 30 h 791"/>
                  <a:gd name="T40" fmla="*/ 15 w 898"/>
                  <a:gd name="T41" fmla="*/ 30 h 791"/>
                  <a:gd name="T42" fmla="*/ 16 w 898"/>
                  <a:gd name="T43" fmla="*/ 30 h 791"/>
                  <a:gd name="T44" fmla="*/ 19 w 898"/>
                  <a:gd name="T45" fmla="*/ 30 h 791"/>
                  <a:gd name="T46" fmla="*/ 20 w 898"/>
                  <a:gd name="T47" fmla="*/ 29 h 791"/>
                  <a:gd name="T48" fmla="*/ 22 w 898"/>
                  <a:gd name="T49" fmla="*/ 29 h 791"/>
                  <a:gd name="T50" fmla="*/ 25 w 898"/>
                  <a:gd name="T51" fmla="*/ 27 h 791"/>
                  <a:gd name="T52" fmla="*/ 28 w 898"/>
                  <a:gd name="T53" fmla="*/ 24 h 791"/>
                  <a:gd name="T54" fmla="*/ 31 w 898"/>
                  <a:gd name="T55" fmla="*/ 21 h 791"/>
                  <a:gd name="T56" fmla="*/ 32 w 898"/>
                  <a:gd name="T57" fmla="*/ 19 h 791"/>
                  <a:gd name="T58" fmla="*/ 34 w 898"/>
                  <a:gd name="T59" fmla="*/ 17 h 791"/>
                  <a:gd name="T60" fmla="*/ 35 w 898"/>
                  <a:gd name="T61" fmla="*/ 14 h 791"/>
                  <a:gd name="T62" fmla="*/ 36 w 898"/>
                  <a:gd name="T63" fmla="*/ 12 h 791"/>
                  <a:gd name="T64" fmla="*/ 34 w 898"/>
                  <a:gd name="T65" fmla="*/ 11 h 791"/>
                  <a:gd name="T66" fmla="*/ 33 w 898"/>
                  <a:gd name="T67" fmla="*/ 12 h 791"/>
                  <a:gd name="T68" fmla="*/ 32 w 898"/>
                  <a:gd name="T69" fmla="*/ 10 h 791"/>
                  <a:gd name="T70" fmla="*/ 34 w 898"/>
                  <a:gd name="T71" fmla="*/ 9 h 791"/>
                  <a:gd name="T72" fmla="*/ 33 w 898"/>
                  <a:gd name="T73" fmla="*/ 2 h 791"/>
                  <a:gd name="T74" fmla="*/ 32 w 898"/>
                  <a:gd name="T75" fmla="*/ 1 h 791"/>
                  <a:gd name="T76" fmla="*/ 30 w 898"/>
                  <a:gd name="T77" fmla="*/ 0 h 791"/>
                  <a:gd name="T78" fmla="*/ 28 w 898"/>
                  <a:gd name="T79" fmla="*/ 0 h 791"/>
                  <a:gd name="T80" fmla="*/ 25 w 898"/>
                  <a:gd name="T81" fmla="*/ 2 h 791"/>
                  <a:gd name="T82" fmla="*/ 22 w 898"/>
                  <a:gd name="T83" fmla="*/ 5 h 791"/>
                  <a:gd name="T84" fmla="*/ 20 w 898"/>
                  <a:gd name="T85" fmla="*/ 8 h 791"/>
                  <a:gd name="T86" fmla="*/ 18 w 898"/>
                  <a:gd name="T87" fmla="*/ 9 h 791"/>
                  <a:gd name="T88" fmla="*/ 15 w 898"/>
                  <a:gd name="T89" fmla="*/ 8 h 791"/>
                  <a:gd name="T90" fmla="*/ 14 w 898"/>
                  <a:gd name="T91" fmla="*/ 10 h 791"/>
                  <a:gd name="T92" fmla="*/ 11 w 898"/>
                  <a:gd name="T93" fmla="*/ 11 h 791"/>
                  <a:gd name="T94" fmla="*/ 9 w 898"/>
                  <a:gd name="T95" fmla="*/ 11 h 791"/>
                  <a:gd name="T96" fmla="*/ 10 w 898"/>
                  <a:gd name="T97" fmla="*/ 9 h 791"/>
                  <a:gd name="T98" fmla="*/ 8 w 898"/>
                  <a:gd name="T99" fmla="*/ 7 h 791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898"/>
                  <a:gd name="T151" fmla="*/ 0 h 791"/>
                  <a:gd name="T152" fmla="*/ 898 w 898"/>
                  <a:gd name="T153" fmla="*/ 791 h 791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898" h="791">
                    <a:moveTo>
                      <a:pt x="188" y="161"/>
                    </a:moveTo>
                    <a:lnTo>
                      <a:pt x="188" y="216"/>
                    </a:lnTo>
                    <a:lnTo>
                      <a:pt x="188" y="275"/>
                    </a:lnTo>
                    <a:lnTo>
                      <a:pt x="188" y="334"/>
                    </a:lnTo>
                    <a:lnTo>
                      <a:pt x="188" y="390"/>
                    </a:lnTo>
                    <a:lnTo>
                      <a:pt x="182" y="394"/>
                    </a:lnTo>
                    <a:lnTo>
                      <a:pt x="171" y="396"/>
                    </a:lnTo>
                    <a:lnTo>
                      <a:pt x="157" y="406"/>
                    </a:lnTo>
                    <a:lnTo>
                      <a:pt x="141" y="421"/>
                    </a:lnTo>
                    <a:lnTo>
                      <a:pt x="129" y="421"/>
                    </a:lnTo>
                    <a:lnTo>
                      <a:pt x="120" y="418"/>
                    </a:lnTo>
                    <a:lnTo>
                      <a:pt x="101" y="418"/>
                    </a:lnTo>
                    <a:lnTo>
                      <a:pt x="86" y="423"/>
                    </a:lnTo>
                    <a:lnTo>
                      <a:pt x="70" y="421"/>
                    </a:lnTo>
                    <a:lnTo>
                      <a:pt x="59" y="409"/>
                    </a:lnTo>
                    <a:lnTo>
                      <a:pt x="59" y="396"/>
                    </a:lnTo>
                    <a:lnTo>
                      <a:pt x="33" y="378"/>
                    </a:lnTo>
                    <a:lnTo>
                      <a:pt x="21" y="379"/>
                    </a:lnTo>
                    <a:lnTo>
                      <a:pt x="15" y="390"/>
                    </a:lnTo>
                    <a:lnTo>
                      <a:pt x="8" y="398"/>
                    </a:lnTo>
                    <a:lnTo>
                      <a:pt x="5" y="400"/>
                    </a:lnTo>
                    <a:lnTo>
                      <a:pt x="0" y="401"/>
                    </a:lnTo>
                    <a:lnTo>
                      <a:pt x="2" y="405"/>
                    </a:lnTo>
                    <a:lnTo>
                      <a:pt x="1" y="411"/>
                    </a:lnTo>
                    <a:lnTo>
                      <a:pt x="5" y="416"/>
                    </a:lnTo>
                    <a:lnTo>
                      <a:pt x="13" y="426"/>
                    </a:lnTo>
                    <a:lnTo>
                      <a:pt x="28" y="464"/>
                    </a:lnTo>
                    <a:lnTo>
                      <a:pt x="37" y="491"/>
                    </a:lnTo>
                    <a:lnTo>
                      <a:pt x="51" y="528"/>
                    </a:lnTo>
                    <a:lnTo>
                      <a:pt x="59" y="536"/>
                    </a:lnTo>
                    <a:lnTo>
                      <a:pt x="64" y="552"/>
                    </a:lnTo>
                    <a:lnTo>
                      <a:pt x="70" y="562"/>
                    </a:lnTo>
                    <a:lnTo>
                      <a:pt x="91" y="595"/>
                    </a:lnTo>
                    <a:lnTo>
                      <a:pt x="97" y="608"/>
                    </a:lnTo>
                    <a:lnTo>
                      <a:pt x="99" y="648"/>
                    </a:lnTo>
                    <a:lnTo>
                      <a:pt x="90" y="665"/>
                    </a:lnTo>
                    <a:lnTo>
                      <a:pt x="78" y="660"/>
                    </a:lnTo>
                    <a:lnTo>
                      <a:pt x="76" y="667"/>
                    </a:lnTo>
                    <a:lnTo>
                      <a:pt x="75" y="678"/>
                    </a:lnTo>
                    <a:lnTo>
                      <a:pt x="77" y="678"/>
                    </a:lnTo>
                    <a:lnTo>
                      <a:pt x="85" y="683"/>
                    </a:lnTo>
                    <a:lnTo>
                      <a:pt x="87" y="690"/>
                    </a:lnTo>
                    <a:lnTo>
                      <a:pt x="83" y="691"/>
                    </a:lnTo>
                    <a:lnTo>
                      <a:pt x="88" y="701"/>
                    </a:lnTo>
                    <a:lnTo>
                      <a:pt x="93" y="705"/>
                    </a:lnTo>
                    <a:lnTo>
                      <a:pt x="99" y="716"/>
                    </a:lnTo>
                    <a:lnTo>
                      <a:pt x="107" y="726"/>
                    </a:lnTo>
                    <a:lnTo>
                      <a:pt x="108" y="734"/>
                    </a:lnTo>
                    <a:lnTo>
                      <a:pt x="103" y="742"/>
                    </a:lnTo>
                    <a:lnTo>
                      <a:pt x="103" y="749"/>
                    </a:lnTo>
                    <a:lnTo>
                      <a:pt x="103" y="760"/>
                    </a:lnTo>
                    <a:lnTo>
                      <a:pt x="109" y="770"/>
                    </a:lnTo>
                    <a:lnTo>
                      <a:pt x="110" y="769"/>
                    </a:lnTo>
                    <a:lnTo>
                      <a:pt x="109" y="761"/>
                    </a:lnTo>
                    <a:lnTo>
                      <a:pt x="109" y="754"/>
                    </a:lnTo>
                    <a:lnTo>
                      <a:pt x="112" y="750"/>
                    </a:lnTo>
                    <a:lnTo>
                      <a:pt x="119" y="749"/>
                    </a:lnTo>
                    <a:lnTo>
                      <a:pt x="128" y="750"/>
                    </a:lnTo>
                    <a:lnTo>
                      <a:pt x="129" y="762"/>
                    </a:lnTo>
                    <a:lnTo>
                      <a:pt x="128" y="769"/>
                    </a:lnTo>
                    <a:lnTo>
                      <a:pt x="133" y="771"/>
                    </a:lnTo>
                    <a:lnTo>
                      <a:pt x="151" y="770"/>
                    </a:lnTo>
                    <a:lnTo>
                      <a:pt x="156" y="775"/>
                    </a:lnTo>
                    <a:lnTo>
                      <a:pt x="155" y="782"/>
                    </a:lnTo>
                    <a:lnTo>
                      <a:pt x="166" y="788"/>
                    </a:lnTo>
                    <a:lnTo>
                      <a:pt x="174" y="788"/>
                    </a:lnTo>
                    <a:lnTo>
                      <a:pt x="183" y="791"/>
                    </a:lnTo>
                    <a:lnTo>
                      <a:pt x="195" y="791"/>
                    </a:lnTo>
                    <a:lnTo>
                      <a:pt x="204" y="788"/>
                    </a:lnTo>
                    <a:lnTo>
                      <a:pt x="214" y="776"/>
                    </a:lnTo>
                    <a:lnTo>
                      <a:pt x="232" y="775"/>
                    </a:lnTo>
                    <a:lnTo>
                      <a:pt x="236" y="771"/>
                    </a:lnTo>
                    <a:lnTo>
                      <a:pt x="244" y="770"/>
                    </a:lnTo>
                    <a:lnTo>
                      <a:pt x="264" y="772"/>
                    </a:lnTo>
                    <a:lnTo>
                      <a:pt x="266" y="769"/>
                    </a:lnTo>
                    <a:lnTo>
                      <a:pt x="287" y="771"/>
                    </a:lnTo>
                    <a:lnTo>
                      <a:pt x="293" y="769"/>
                    </a:lnTo>
                    <a:lnTo>
                      <a:pt x="296" y="761"/>
                    </a:lnTo>
                    <a:lnTo>
                      <a:pt x="305" y="758"/>
                    </a:lnTo>
                    <a:lnTo>
                      <a:pt x="311" y="753"/>
                    </a:lnTo>
                    <a:lnTo>
                      <a:pt x="316" y="748"/>
                    </a:lnTo>
                    <a:lnTo>
                      <a:pt x="333" y="745"/>
                    </a:lnTo>
                    <a:lnTo>
                      <a:pt x="341" y="746"/>
                    </a:lnTo>
                    <a:lnTo>
                      <a:pt x="365" y="753"/>
                    </a:lnTo>
                    <a:lnTo>
                      <a:pt x="372" y="753"/>
                    </a:lnTo>
                    <a:lnTo>
                      <a:pt x="381" y="745"/>
                    </a:lnTo>
                    <a:lnTo>
                      <a:pt x="394" y="744"/>
                    </a:lnTo>
                    <a:lnTo>
                      <a:pt x="408" y="746"/>
                    </a:lnTo>
                    <a:lnTo>
                      <a:pt x="446" y="758"/>
                    </a:lnTo>
                    <a:lnTo>
                      <a:pt x="459" y="758"/>
                    </a:lnTo>
                    <a:lnTo>
                      <a:pt x="467" y="744"/>
                    </a:lnTo>
                    <a:lnTo>
                      <a:pt x="479" y="743"/>
                    </a:lnTo>
                    <a:lnTo>
                      <a:pt x="491" y="748"/>
                    </a:lnTo>
                    <a:lnTo>
                      <a:pt x="507" y="749"/>
                    </a:lnTo>
                    <a:lnTo>
                      <a:pt x="508" y="743"/>
                    </a:lnTo>
                    <a:lnTo>
                      <a:pt x="505" y="733"/>
                    </a:lnTo>
                    <a:lnTo>
                      <a:pt x="512" y="728"/>
                    </a:lnTo>
                    <a:lnTo>
                      <a:pt x="519" y="727"/>
                    </a:lnTo>
                    <a:lnTo>
                      <a:pt x="532" y="726"/>
                    </a:lnTo>
                    <a:lnTo>
                      <a:pt x="553" y="727"/>
                    </a:lnTo>
                    <a:lnTo>
                      <a:pt x="564" y="726"/>
                    </a:lnTo>
                    <a:lnTo>
                      <a:pt x="586" y="715"/>
                    </a:lnTo>
                    <a:lnTo>
                      <a:pt x="623" y="689"/>
                    </a:lnTo>
                    <a:lnTo>
                      <a:pt x="633" y="679"/>
                    </a:lnTo>
                    <a:lnTo>
                      <a:pt x="642" y="668"/>
                    </a:lnTo>
                    <a:lnTo>
                      <a:pt x="663" y="652"/>
                    </a:lnTo>
                    <a:lnTo>
                      <a:pt x="689" y="624"/>
                    </a:lnTo>
                    <a:lnTo>
                      <a:pt x="705" y="600"/>
                    </a:lnTo>
                    <a:lnTo>
                      <a:pt x="714" y="589"/>
                    </a:lnTo>
                    <a:lnTo>
                      <a:pt x="723" y="582"/>
                    </a:lnTo>
                    <a:lnTo>
                      <a:pt x="747" y="561"/>
                    </a:lnTo>
                    <a:lnTo>
                      <a:pt x="765" y="533"/>
                    </a:lnTo>
                    <a:lnTo>
                      <a:pt x="774" y="520"/>
                    </a:lnTo>
                    <a:lnTo>
                      <a:pt x="796" y="480"/>
                    </a:lnTo>
                    <a:lnTo>
                      <a:pt x="800" y="473"/>
                    </a:lnTo>
                    <a:lnTo>
                      <a:pt x="804" y="465"/>
                    </a:lnTo>
                    <a:lnTo>
                      <a:pt x="808" y="454"/>
                    </a:lnTo>
                    <a:lnTo>
                      <a:pt x="819" y="437"/>
                    </a:lnTo>
                    <a:lnTo>
                      <a:pt x="828" y="426"/>
                    </a:lnTo>
                    <a:lnTo>
                      <a:pt x="836" y="420"/>
                    </a:lnTo>
                    <a:lnTo>
                      <a:pt x="846" y="417"/>
                    </a:lnTo>
                    <a:lnTo>
                      <a:pt x="866" y="401"/>
                    </a:lnTo>
                    <a:lnTo>
                      <a:pt x="875" y="388"/>
                    </a:lnTo>
                    <a:lnTo>
                      <a:pt x="881" y="357"/>
                    </a:lnTo>
                    <a:lnTo>
                      <a:pt x="886" y="345"/>
                    </a:lnTo>
                    <a:lnTo>
                      <a:pt x="888" y="331"/>
                    </a:lnTo>
                    <a:lnTo>
                      <a:pt x="888" y="318"/>
                    </a:lnTo>
                    <a:lnTo>
                      <a:pt x="894" y="305"/>
                    </a:lnTo>
                    <a:lnTo>
                      <a:pt x="897" y="294"/>
                    </a:lnTo>
                    <a:lnTo>
                      <a:pt x="898" y="282"/>
                    </a:lnTo>
                    <a:lnTo>
                      <a:pt x="892" y="281"/>
                    </a:lnTo>
                    <a:lnTo>
                      <a:pt x="856" y="281"/>
                    </a:lnTo>
                    <a:lnTo>
                      <a:pt x="850" y="285"/>
                    </a:lnTo>
                    <a:lnTo>
                      <a:pt x="844" y="299"/>
                    </a:lnTo>
                    <a:lnTo>
                      <a:pt x="836" y="308"/>
                    </a:lnTo>
                    <a:lnTo>
                      <a:pt x="824" y="307"/>
                    </a:lnTo>
                    <a:lnTo>
                      <a:pt x="801" y="304"/>
                    </a:lnTo>
                    <a:lnTo>
                      <a:pt x="791" y="285"/>
                    </a:lnTo>
                    <a:lnTo>
                      <a:pt x="789" y="272"/>
                    </a:lnTo>
                    <a:lnTo>
                      <a:pt x="793" y="256"/>
                    </a:lnTo>
                    <a:lnTo>
                      <a:pt x="801" y="239"/>
                    </a:lnTo>
                    <a:lnTo>
                      <a:pt x="808" y="227"/>
                    </a:lnTo>
                    <a:lnTo>
                      <a:pt x="822" y="218"/>
                    </a:lnTo>
                    <a:lnTo>
                      <a:pt x="845" y="233"/>
                    </a:lnTo>
                    <a:lnTo>
                      <a:pt x="852" y="224"/>
                    </a:lnTo>
                    <a:lnTo>
                      <a:pt x="849" y="131"/>
                    </a:lnTo>
                    <a:lnTo>
                      <a:pt x="836" y="87"/>
                    </a:lnTo>
                    <a:lnTo>
                      <a:pt x="830" y="55"/>
                    </a:lnTo>
                    <a:lnTo>
                      <a:pt x="828" y="34"/>
                    </a:lnTo>
                    <a:lnTo>
                      <a:pt x="827" y="33"/>
                    </a:lnTo>
                    <a:lnTo>
                      <a:pt x="822" y="32"/>
                    </a:lnTo>
                    <a:lnTo>
                      <a:pt x="807" y="17"/>
                    </a:lnTo>
                    <a:lnTo>
                      <a:pt x="786" y="11"/>
                    </a:lnTo>
                    <a:lnTo>
                      <a:pt x="774" y="9"/>
                    </a:lnTo>
                    <a:lnTo>
                      <a:pt x="761" y="12"/>
                    </a:lnTo>
                    <a:lnTo>
                      <a:pt x="749" y="9"/>
                    </a:lnTo>
                    <a:lnTo>
                      <a:pt x="726" y="2"/>
                    </a:lnTo>
                    <a:lnTo>
                      <a:pt x="717" y="0"/>
                    </a:lnTo>
                    <a:lnTo>
                      <a:pt x="705" y="5"/>
                    </a:lnTo>
                    <a:lnTo>
                      <a:pt x="704" y="8"/>
                    </a:lnTo>
                    <a:lnTo>
                      <a:pt x="693" y="13"/>
                    </a:lnTo>
                    <a:lnTo>
                      <a:pt x="679" y="22"/>
                    </a:lnTo>
                    <a:lnTo>
                      <a:pt x="641" y="40"/>
                    </a:lnTo>
                    <a:lnTo>
                      <a:pt x="625" y="57"/>
                    </a:lnTo>
                    <a:lnTo>
                      <a:pt x="605" y="70"/>
                    </a:lnTo>
                    <a:lnTo>
                      <a:pt x="586" y="88"/>
                    </a:lnTo>
                    <a:lnTo>
                      <a:pt x="575" y="104"/>
                    </a:lnTo>
                    <a:lnTo>
                      <a:pt x="558" y="129"/>
                    </a:lnTo>
                    <a:lnTo>
                      <a:pt x="531" y="148"/>
                    </a:lnTo>
                    <a:lnTo>
                      <a:pt x="516" y="167"/>
                    </a:lnTo>
                    <a:lnTo>
                      <a:pt x="501" y="201"/>
                    </a:lnTo>
                    <a:lnTo>
                      <a:pt x="496" y="207"/>
                    </a:lnTo>
                    <a:lnTo>
                      <a:pt x="488" y="211"/>
                    </a:lnTo>
                    <a:lnTo>
                      <a:pt x="477" y="212"/>
                    </a:lnTo>
                    <a:lnTo>
                      <a:pt x="452" y="218"/>
                    </a:lnTo>
                    <a:lnTo>
                      <a:pt x="437" y="217"/>
                    </a:lnTo>
                    <a:lnTo>
                      <a:pt x="414" y="204"/>
                    </a:lnTo>
                    <a:lnTo>
                      <a:pt x="402" y="199"/>
                    </a:lnTo>
                    <a:lnTo>
                      <a:pt x="388" y="197"/>
                    </a:lnTo>
                    <a:lnTo>
                      <a:pt x="376" y="201"/>
                    </a:lnTo>
                    <a:lnTo>
                      <a:pt x="357" y="221"/>
                    </a:lnTo>
                    <a:lnTo>
                      <a:pt x="351" y="229"/>
                    </a:lnTo>
                    <a:lnTo>
                      <a:pt x="348" y="237"/>
                    </a:lnTo>
                    <a:lnTo>
                      <a:pt x="339" y="248"/>
                    </a:lnTo>
                    <a:lnTo>
                      <a:pt x="327" y="255"/>
                    </a:lnTo>
                    <a:lnTo>
                      <a:pt x="322" y="260"/>
                    </a:lnTo>
                    <a:lnTo>
                      <a:pt x="312" y="277"/>
                    </a:lnTo>
                    <a:lnTo>
                      <a:pt x="277" y="286"/>
                    </a:lnTo>
                    <a:lnTo>
                      <a:pt x="259" y="285"/>
                    </a:lnTo>
                    <a:lnTo>
                      <a:pt x="243" y="282"/>
                    </a:lnTo>
                    <a:lnTo>
                      <a:pt x="233" y="280"/>
                    </a:lnTo>
                    <a:lnTo>
                      <a:pt x="230" y="271"/>
                    </a:lnTo>
                    <a:lnTo>
                      <a:pt x="237" y="250"/>
                    </a:lnTo>
                    <a:lnTo>
                      <a:pt x="239" y="237"/>
                    </a:lnTo>
                    <a:lnTo>
                      <a:pt x="239" y="231"/>
                    </a:lnTo>
                    <a:lnTo>
                      <a:pt x="238" y="213"/>
                    </a:lnTo>
                    <a:lnTo>
                      <a:pt x="231" y="201"/>
                    </a:lnTo>
                    <a:lnTo>
                      <a:pt x="217" y="190"/>
                    </a:lnTo>
                    <a:lnTo>
                      <a:pt x="212" y="181"/>
                    </a:lnTo>
                    <a:lnTo>
                      <a:pt x="200" y="170"/>
                    </a:lnTo>
                    <a:lnTo>
                      <a:pt x="198" y="167"/>
                    </a:lnTo>
                    <a:lnTo>
                      <a:pt x="192" y="161"/>
                    </a:lnTo>
                    <a:lnTo>
                      <a:pt x="188" y="16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63" name="Freeform 27">
                <a:extLst>
                  <a:ext uri="{FF2B5EF4-FFF2-40B4-BE49-F238E27FC236}">
                    <a16:creationId xmlns:a16="http://schemas.microsoft.com/office/drawing/2014/main" id="{989A8BC4-A730-760C-2BCD-793E1A1E59F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75" y="2589"/>
                <a:ext cx="35" cy="87"/>
              </a:xfrm>
              <a:custGeom>
                <a:avLst/>
                <a:gdLst>
                  <a:gd name="T0" fmla="*/ 2 w 175"/>
                  <a:gd name="T1" fmla="*/ 0 h 431"/>
                  <a:gd name="T2" fmla="*/ 2 w 175"/>
                  <a:gd name="T3" fmla="*/ 1 h 431"/>
                  <a:gd name="T4" fmla="*/ 1 w 175"/>
                  <a:gd name="T5" fmla="*/ 0 h 431"/>
                  <a:gd name="T6" fmla="*/ 1 w 175"/>
                  <a:gd name="T7" fmla="*/ 0 h 431"/>
                  <a:gd name="T8" fmla="*/ 1 w 175"/>
                  <a:gd name="T9" fmla="*/ 1 h 431"/>
                  <a:gd name="T10" fmla="*/ 1 w 175"/>
                  <a:gd name="T11" fmla="*/ 2 h 431"/>
                  <a:gd name="T12" fmla="*/ 2 w 175"/>
                  <a:gd name="T13" fmla="*/ 3 h 431"/>
                  <a:gd name="T14" fmla="*/ 2 w 175"/>
                  <a:gd name="T15" fmla="*/ 3 h 431"/>
                  <a:gd name="T16" fmla="*/ 1 w 175"/>
                  <a:gd name="T17" fmla="*/ 4 h 431"/>
                  <a:gd name="T18" fmla="*/ 1 w 175"/>
                  <a:gd name="T19" fmla="*/ 5 h 431"/>
                  <a:gd name="T20" fmla="*/ 1 w 175"/>
                  <a:gd name="T21" fmla="*/ 6 h 431"/>
                  <a:gd name="T22" fmla="*/ 2 w 175"/>
                  <a:gd name="T23" fmla="*/ 7 h 431"/>
                  <a:gd name="T24" fmla="*/ 1 w 175"/>
                  <a:gd name="T25" fmla="*/ 7 h 431"/>
                  <a:gd name="T26" fmla="*/ 1 w 175"/>
                  <a:gd name="T27" fmla="*/ 8 h 431"/>
                  <a:gd name="T28" fmla="*/ 0 w 175"/>
                  <a:gd name="T29" fmla="*/ 9 h 431"/>
                  <a:gd name="T30" fmla="*/ 0 w 175"/>
                  <a:gd name="T31" fmla="*/ 10 h 431"/>
                  <a:gd name="T32" fmla="*/ 1 w 175"/>
                  <a:gd name="T33" fmla="*/ 10 h 431"/>
                  <a:gd name="T34" fmla="*/ 1 w 175"/>
                  <a:gd name="T35" fmla="*/ 11 h 431"/>
                  <a:gd name="T36" fmla="*/ 2 w 175"/>
                  <a:gd name="T37" fmla="*/ 12 h 431"/>
                  <a:gd name="T38" fmla="*/ 4 w 175"/>
                  <a:gd name="T39" fmla="*/ 12 h 431"/>
                  <a:gd name="T40" fmla="*/ 4 w 175"/>
                  <a:gd name="T41" fmla="*/ 13 h 431"/>
                  <a:gd name="T42" fmla="*/ 4 w 175"/>
                  <a:gd name="T43" fmla="*/ 14 h 431"/>
                  <a:gd name="T44" fmla="*/ 3 w 175"/>
                  <a:gd name="T45" fmla="*/ 15 h 431"/>
                  <a:gd name="T46" fmla="*/ 4 w 175"/>
                  <a:gd name="T47" fmla="*/ 16 h 431"/>
                  <a:gd name="T48" fmla="*/ 4 w 175"/>
                  <a:gd name="T49" fmla="*/ 17 h 431"/>
                  <a:gd name="T50" fmla="*/ 5 w 175"/>
                  <a:gd name="T51" fmla="*/ 17 h 431"/>
                  <a:gd name="T52" fmla="*/ 5 w 175"/>
                  <a:gd name="T53" fmla="*/ 18 h 431"/>
                  <a:gd name="T54" fmla="*/ 6 w 175"/>
                  <a:gd name="T55" fmla="*/ 18 h 431"/>
                  <a:gd name="T56" fmla="*/ 6 w 175"/>
                  <a:gd name="T57" fmla="*/ 17 h 431"/>
                  <a:gd name="T58" fmla="*/ 6 w 175"/>
                  <a:gd name="T59" fmla="*/ 16 h 431"/>
                  <a:gd name="T60" fmla="*/ 6 w 175"/>
                  <a:gd name="T61" fmla="*/ 15 h 431"/>
                  <a:gd name="T62" fmla="*/ 7 w 175"/>
                  <a:gd name="T63" fmla="*/ 15 h 431"/>
                  <a:gd name="T64" fmla="*/ 7 w 175"/>
                  <a:gd name="T65" fmla="*/ 13 h 431"/>
                  <a:gd name="T66" fmla="*/ 7 w 175"/>
                  <a:gd name="T67" fmla="*/ 12 h 431"/>
                  <a:gd name="T68" fmla="*/ 6 w 175"/>
                  <a:gd name="T69" fmla="*/ 11 h 431"/>
                  <a:gd name="T70" fmla="*/ 5 w 175"/>
                  <a:gd name="T71" fmla="*/ 9 h 431"/>
                  <a:gd name="T72" fmla="*/ 5 w 175"/>
                  <a:gd name="T73" fmla="*/ 10 h 431"/>
                  <a:gd name="T74" fmla="*/ 5 w 175"/>
                  <a:gd name="T75" fmla="*/ 10 h 431"/>
                  <a:gd name="T76" fmla="*/ 5 w 175"/>
                  <a:gd name="T77" fmla="*/ 12 h 431"/>
                  <a:gd name="T78" fmla="*/ 5 w 175"/>
                  <a:gd name="T79" fmla="*/ 11 h 431"/>
                  <a:gd name="T80" fmla="*/ 5 w 175"/>
                  <a:gd name="T81" fmla="*/ 11 h 431"/>
                  <a:gd name="T82" fmla="*/ 4 w 175"/>
                  <a:gd name="T83" fmla="*/ 11 h 431"/>
                  <a:gd name="T84" fmla="*/ 4 w 175"/>
                  <a:gd name="T85" fmla="*/ 11 h 431"/>
                  <a:gd name="T86" fmla="*/ 4 w 175"/>
                  <a:gd name="T87" fmla="*/ 10 h 431"/>
                  <a:gd name="T88" fmla="*/ 4 w 175"/>
                  <a:gd name="T89" fmla="*/ 9 h 431"/>
                  <a:gd name="T90" fmla="*/ 3 w 175"/>
                  <a:gd name="T91" fmla="*/ 8 h 431"/>
                  <a:gd name="T92" fmla="*/ 3 w 175"/>
                  <a:gd name="T93" fmla="*/ 6 h 431"/>
                  <a:gd name="T94" fmla="*/ 3 w 175"/>
                  <a:gd name="T95" fmla="*/ 6 h 431"/>
                  <a:gd name="T96" fmla="*/ 3 w 175"/>
                  <a:gd name="T97" fmla="*/ 3 h 431"/>
                  <a:gd name="T98" fmla="*/ 3 w 175"/>
                  <a:gd name="T99" fmla="*/ 2 h 431"/>
                  <a:gd name="T100" fmla="*/ 3 w 175"/>
                  <a:gd name="T101" fmla="*/ 1 h 431"/>
                  <a:gd name="T102" fmla="*/ 3 w 175"/>
                  <a:gd name="T103" fmla="*/ 0 h 431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175"/>
                  <a:gd name="T157" fmla="*/ 0 h 431"/>
                  <a:gd name="T158" fmla="*/ 175 w 175"/>
                  <a:gd name="T159" fmla="*/ 431 h 431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175" h="431">
                    <a:moveTo>
                      <a:pt x="64" y="18"/>
                    </a:moveTo>
                    <a:lnTo>
                      <a:pt x="62" y="14"/>
                    </a:lnTo>
                    <a:lnTo>
                      <a:pt x="61" y="11"/>
                    </a:lnTo>
                    <a:lnTo>
                      <a:pt x="58" y="10"/>
                    </a:lnTo>
                    <a:lnTo>
                      <a:pt x="53" y="10"/>
                    </a:lnTo>
                    <a:lnTo>
                      <a:pt x="42" y="14"/>
                    </a:lnTo>
                    <a:lnTo>
                      <a:pt x="40" y="13"/>
                    </a:lnTo>
                    <a:lnTo>
                      <a:pt x="35" y="6"/>
                    </a:lnTo>
                    <a:lnTo>
                      <a:pt x="25" y="8"/>
                    </a:lnTo>
                    <a:lnTo>
                      <a:pt x="14" y="0"/>
                    </a:lnTo>
                    <a:lnTo>
                      <a:pt x="13" y="3"/>
                    </a:lnTo>
                    <a:lnTo>
                      <a:pt x="13" y="8"/>
                    </a:lnTo>
                    <a:lnTo>
                      <a:pt x="14" y="9"/>
                    </a:lnTo>
                    <a:lnTo>
                      <a:pt x="16" y="15"/>
                    </a:lnTo>
                    <a:lnTo>
                      <a:pt x="25" y="15"/>
                    </a:lnTo>
                    <a:lnTo>
                      <a:pt x="32" y="24"/>
                    </a:lnTo>
                    <a:lnTo>
                      <a:pt x="34" y="29"/>
                    </a:lnTo>
                    <a:lnTo>
                      <a:pt x="37" y="40"/>
                    </a:lnTo>
                    <a:lnTo>
                      <a:pt x="43" y="45"/>
                    </a:lnTo>
                    <a:lnTo>
                      <a:pt x="46" y="63"/>
                    </a:lnTo>
                    <a:lnTo>
                      <a:pt x="50" y="65"/>
                    </a:lnTo>
                    <a:lnTo>
                      <a:pt x="51" y="72"/>
                    </a:lnTo>
                    <a:lnTo>
                      <a:pt x="51" y="75"/>
                    </a:lnTo>
                    <a:lnTo>
                      <a:pt x="42" y="80"/>
                    </a:lnTo>
                    <a:lnTo>
                      <a:pt x="40" y="81"/>
                    </a:lnTo>
                    <a:lnTo>
                      <a:pt x="36" y="84"/>
                    </a:lnTo>
                    <a:lnTo>
                      <a:pt x="35" y="94"/>
                    </a:lnTo>
                    <a:lnTo>
                      <a:pt x="36" y="102"/>
                    </a:lnTo>
                    <a:lnTo>
                      <a:pt x="30" y="119"/>
                    </a:lnTo>
                    <a:lnTo>
                      <a:pt x="31" y="127"/>
                    </a:lnTo>
                    <a:lnTo>
                      <a:pt x="32" y="142"/>
                    </a:lnTo>
                    <a:lnTo>
                      <a:pt x="30" y="156"/>
                    </a:lnTo>
                    <a:lnTo>
                      <a:pt x="31" y="159"/>
                    </a:lnTo>
                    <a:lnTo>
                      <a:pt x="35" y="164"/>
                    </a:lnTo>
                    <a:lnTo>
                      <a:pt x="40" y="166"/>
                    </a:lnTo>
                    <a:lnTo>
                      <a:pt x="41" y="172"/>
                    </a:lnTo>
                    <a:lnTo>
                      <a:pt x="38" y="175"/>
                    </a:lnTo>
                    <a:lnTo>
                      <a:pt x="30" y="176"/>
                    </a:lnTo>
                    <a:lnTo>
                      <a:pt x="24" y="181"/>
                    </a:lnTo>
                    <a:lnTo>
                      <a:pt x="19" y="182"/>
                    </a:lnTo>
                    <a:lnTo>
                      <a:pt x="18" y="183"/>
                    </a:lnTo>
                    <a:lnTo>
                      <a:pt x="14" y="198"/>
                    </a:lnTo>
                    <a:lnTo>
                      <a:pt x="14" y="213"/>
                    </a:lnTo>
                    <a:lnTo>
                      <a:pt x="9" y="228"/>
                    </a:lnTo>
                    <a:lnTo>
                      <a:pt x="2" y="235"/>
                    </a:lnTo>
                    <a:lnTo>
                      <a:pt x="0" y="239"/>
                    </a:lnTo>
                    <a:lnTo>
                      <a:pt x="3" y="247"/>
                    </a:lnTo>
                    <a:lnTo>
                      <a:pt x="8" y="248"/>
                    </a:lnTo>
                    <a:lnTo>
                      <a:pt x="11" y="256"/>
                    </a:lnTo>
                    <a:lnTo>
                      <a:pt x="19" y="255"/>
                    </a:lnTo>
                    <a:lnTo>
                      <a:pt x="23" y="257"/>
                    </a:lnTo>
                    <a:lnTo>
                      <a:pt x="23" y="258"/>
                    </a:lnTo>
                    <a:lnTo>
                      <a:pt x="24" y="261"/>
                    </a:lnTo>
                    <a:lnTo>
                      <a:pt x="30" y="263"/>
                    </a:lnTo>
                    <a:lnTo>
                      <a:pt x="37" y="279"/>
                    </a:lnTo>
                    <a:lnTo>
                      <a:pt x="47" y="289"/>
                    </a:lnTo>
                    <a:lnTo>
                      <a:pt x="51" y="289"/>
                    </a:lnTo>
                    <a:lnTo>
                      <a:pt x="59" y="287"/>
                    </a:lnTo>
                    <a:lnTo>
                      <a:pt x="89" y="283"/>
                    </a:lnTo>
                    <a:lnTo>
                      <a:pt x="93" y="284"/>
                    </a:lnTo>
                    <a:lnTo>
                      <a:pt x="96" y="289"/>
                    </a:lnTo>
                    <a:lnTo>
                      <a:pt x="100" y="302"/>
                    </a:lnTo>
                    <a:lnTo>
                      <a:pt x="101" y="310"/>
                    </a:lnTo>
                    <a:lnTo>
                      <a:pt x="102" y="328"/>
                    </a:lnTo>
                    <a:lnTo>
                      <a:pt x="100" y="336"/>
                    </a:lnTo>
                    <a:lnTo>
                      <a:pt x="94" y="343"/>
                    </a:lnTo>
                    <a:lnTo>
                      <a:pt x="95" y="349"/>
                    </a:lnTo>
                    <a:lnTo>
                      <a:pt x="89" y="354"/>
                    </a:lnTo>
                    <a:lnTo>
                      <a:pt x="86" y="365"/>
                    </a:lnTo>
                    <a:lnTo>
                      <a:pt x="89" y="369"/>
                    </a:lnTo>
                    <a:lnTo>
                      <a:pt x="94" y="385"/>
                    </a:lnTo>
                    <a:lnTo>
                      <a:pt x="97" y="388"/>
                    </a:lnTo>
                    <a:lnTo>
                      <a:pt x="101" y="390"/>
                    </a:lnTo>
                    <a:lnTo>
                      <a:pt x="104" y="395"/>
                    </a:lnTo>
                    <a:lnTo>
                      <a:pt x="112" y="404"/>
                    </a:lnTo>
                    <a:lnTo>
                      <a:pt x="117" y="411"/>
                    </a:lnTo>
                    <a:lnTo>
                      <a:pt x="121" y="413"/>
                    </a:lnTo>
                    <a:lnTo>
                      <a:pt x="128" y="414"/>
                    </a:lnTo>
                    <a:lnTo>
                      <a:pt x="132" y="419"/>
                    </a:lnTo>
                    <a:lnTo>
                      <a:pt x="132" y="423"/>
                    </a:lnTo>
                    <a:lnTo>
                      <a:pt x="127" y="429"/>
                    </a:lnTo>
                    <a:lnTo>
                      <a:pt x="128" y="431"/>
                    </a:lnTo>
                    <a:lnTo>
                      <a:pt x="140" y="431"/>
                    </a:lnTo>
                    <a:lnTo>
                      <a:pt x="142" y="430"/>
                    </a:lnTo>
                    <a:lnTo>
                      <a:pt x="140" y="420"/>
                    </a:lnTo>
                    <a:lnTo>
                      <a:pt x="142" y="414"/>
                    </a:lnTo>
                    <a:lnTo>
                      <a:pt x="139" y="409"/>
                    </a:lnTo>
                    <a:lnTo>
                      <a:pt x="136" y="406"/>
                    </a:lnTo>
                    <a:lnTo>
                      <a:pt x="136" y="400"/>
                    </a:lnTo>
                    <a:lnTo>
                      <a:pt x="139" y="392"/>
                    </a:lnTo>
                    <a:lnTo>
                      <a:pt x="139" y="388"/>
                    </a:lnTo>
                    <a:lnTo>
                      <a:pt x="140" y="385"/>
                    </a:lnTo>
                    <a:lnTo>
                      <a:pt x="153" y="377"/>
                    </a:lnTo>
                    <a:lnTo>
                      <a:pt x="159" y="376"/>
                    </a:lnTo>
                    <a:lnTo>
                      <a:pt x="165" y="374"/>
                    </a:lnTo>
                    <a:lnTo>
                      <a:pt x="169" y="368"/>
                    </a:lnTo>
                    <a:lnTo>
                      <a:pt x="170" y="347"/>
                    </a:lnTo>
                    <a:lnTo>
                      <a:pt x="172" y="339"/>
                    </a:lnTo>
                    <a:lnTo>
                      <a:pt x="169" y="325"/>
                    </a:lnTo>
                    <a:lnTo>
                      <a:pt x="172" y="315"/>
                    </a:lnTo>
                    <a:lnTo>
                      <a:pt x="175" y="307"/>
                    </a:lnTo>
                    <a:lnTo>
                      <a:pt x="172" y="295"/>
                    </a:lnTo>
                    <a:lnTo>
                      <a:pt x="167" y="288"/>
                    </a:lnTo>
                    <a:lnTo>
                      <a:pt x="154" y="275"/>
                    </a:lnTo>
                    <a:lnTo>
                      <a:pt x="148" y="266"/>
                    </a:lnTo>
                    <a:lnTo>
                      <a:pt x="133" y="247"/>
                    </a:lnTo>
                    <a:lnTo>
                      <a:pt x="123" y="240"/>
                    </a:lnTo>
                    <a:lnTo>
                      <a:pt x="116" y="230"/>
                    </a:lnTo>
                    <a:lnTo>
                      <a:pt x="115" y="231"/>
                    </a:lnTo>
                    <a:lnTo>
                      <a:pt x="115" y="239"/>
                    </a:lnTo>
                    <a:lnTo>
                      <a:pt x="116" y="242"/>
                    </a:lnTo>
                    <a:lnTo>
                      <a:pt x="117" y="245"/>
                    </a:lnTo>
                    <a:lnTo>
                      <a:pt x="122" y="246"/>
                    </a:lnTo>
                    <a:lnTo>
                      <a:pt x="126" y="250"/>
                    </a:lnTo>
                    <a:lnTo>
                      <a:pt x="136" y="274"/>
                    </a:lnTo>
                    <a:lnTo>
                      <a:pt x="136" y="280"/>
                    </a:lnTo>
                    <a:lnTo>
                      <a:pt x="134" y="282"/>
                    </a:lnTo>
                    <a:lnTo>
                      <a:pt x="132" y="280"/>
                    </a:lnTo>
                    <a:lnTo>
                      <a:pt x="126" y="272"/>
                    </a:lnTo>
                    <a:lnTo>
                      <a:pt x="121" y="269"/>
                    </a:lnTo>
                    <a:lnTo>
                      <a:pt x="117" y="262"/>
                    </a:lnTo>
                    <a:lnTo>
                      <a:pt x="116" y="262"/>
                    </a:lnTo>
                    <a:lnTo>
                      <a:pt x="115" y="262"/>
                    </a:lnTo>
                    <a:lnTo>
                      <a:pt x="111" y="271"/>
                    </a:lnTo>
                    <a:lnTo>
                      <a:pt x="109" y="272"/>
                    </a:lnTo>
                    <a:lnTo>
                      <a:pt x="102" y="272"/>
                    </a:lnTo>
                    <a:lnTo>
                      <a:pt x="101" y="269"/>
                    </a:lnTo>
                    <a:lnTo>
                      <a:pt x="99" y="266"/>
                    </a:lnTo>
                    <a:lnTo>
                      <a:pt x="97" y="261"/>
                    </a:lnTo>
                    <a:lnTo>
                      <a:pt x="97" y="256"/>
                    </a:lnTo>
                    <a:lnTo>
                      <a:pt x="100" y="247"/>
                    </a:lnTo>
                    <a:lnTo>
                      <a:pt x="100" y="245"/>
                    </a:lnTo>
                    <a:lnTo>
                      <a:pt x="97" y="241"/>
                    </a:lnTo>
                    <a:lnTo>
                      <a:pt x="91" y="235"/>
                    </a:lnTo>
                    <a:lnTo>
                      <a:pt x="89" y="231"/>
                    </a:lnTo>
                    <a:lnTo>
                      <a:pt x="86" y="223"/>
                    </a:lnTo>
                    <a:lnTo>
                      <a:pt x="86" y="209"/>
                    </a:lnTo>
                    <a:lnTo>
                      <a:pt x="85" y="208"/>
                    </a:lnTo>
                    <a:lnTo>
                      <a:pt x="80" y="187"/>
                    </a:lnTo>
                    <a:lnTo>
                      <a:pt x="68" y="164"/>
                    </a:lnTo>
                    <a:lnTo>
                      <a:pt x="68" y="159"/>
                    </a:lnTo>
                    <a:lnTo>
                      <a:pt x="68" y="154"/>
                    </a:lnTo>
                    <a:lnTo>
                      <a:pt x="73" y="145"/>
                    </a:lnTo>
                    <a:lnTo>
                      <a:pt x="79" y="140"/>
                    </a:lnTo>
                    <a:lnTo>
                      <a:pt x="83" y="128"/>
                    </a:lnTo>
                    <a:lnTo>
                      <a:pt x="81" y="94"/>
                    </a:lnTo>
                    <a:lnTo>
                      <a:pt x="79" y="70"/>
                    </a:lnTo>
                    <a:lnTo>
                      <a:pt x="81" y="63"/>
                    </a:lnTo>
                    <a:lnTo>
                      <a:pt x="81" y="57"/>
                    </a:lnTo>
                    <a:lnTo>
                      <a:pt x="78" y="51"/>
                    </a:lnTo>
                    <a:lnTo>
                      <a:pt x="72" y="48"/>
                    </a:lnTo>
                    <a:lnTo>
                      <a:pt x="69" y="46"/>
                    </a:lnTo>
                    <a:lnTo>
                      <a:pt x="63" y="32"/>
                    </a:lnTo>
                    <a:lnTo>
                      <a:pt x="62" y="26"/>
                    </a:lnTo>
                    <a:lnTo>
                      <a:pt x="64" y="18"/>
                    </a:lnTo>
                    <a:lnTo>
                      <a:pt x="69" y="10"/>
                    </a:lnTo>
                    <a:lnTo>
                      <a:pt x="64" y="1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64" name="Freeform 28">
                <a:extLst>
                  <a:ext uri="{FF2B5EF4-FFF2-40B4-BE49-F238E27FC236}">
                    <a16:creationId xmlns:a16="http://schemas.microsoft.com/office/drawing/2014/main" id="{BDB3243E-4F92-4494-CA17-079DCDEC74C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989" y="2620"/>
                <a:ext cx="78" cy="156"/>
              </a:xfrm>
              <a:custGeom>
                <a:avLst/>
                <a:gdLst>
                  <a:gd name="T0" fmla="*/ 3 w 391"/>
                  <a:gd name="T1" fmla="*/ 9 h 776"/>
                  <a:gd name="T2" fmla="*/ 4 w 391"/>
                  <a:gd name="T3" fmla="*/ 9 h 776"/>
                  <a:gd name="T4" fmla="*/ 5 w 391"/>
                  <a:gd name="T5" fmla="*/ 9 h 776"/>
                  <a:gd name="T6" fmla="*/ 5 w 391"/>
                  <a:gd name="T7" fmla="*/ 8 h 776"/>
                  <a:gd name="T8" fmla="*/ 6 w 391"/>
                  <a:gd name="T9" fmla="*/ 8 h 776"/>
                  <a:gd name="T10" fmla="*/ 7 w 391"/>
                  <a:gd name="T11" fmla="*/ 9 h 776"/>
                  <a:gd name="T12" fmla="*/ 7 w 391"/>
                  <a:gd name="T13" fmla="*/ 8 h 776"/>
                  <a:gd name="T14" fmla="*/ 7 w 391"/>
                  <a:gd name="T15" fmla="*/ 7 h 776"/>
                  <a:gd name="T16" fmla="*/ 8 w 391"/>
                  <a:gd name="T17" fmla="*/ 8 h 776"/>
                  <a:gd name="T18" fmla="*/ 8 w 391"/>
                  <a:gd name="T19" fmla="*/ 7 h 776"/>
                  <a:gd name="T20" fmla="*/ 9 w 391"/>
                  <a:gd name="T21" fmla="*/ 6 h 776"/>
                  <a:gd name="T22" fmla="*/ 9 w 391"/>
                  <a:gd name="T23" fmla="*/ 6 h 776"/>
                  <a:gd name="T24" fmla="*/ 10 w 391"/>
                  <a:gd name="T25" fmla="*/ 6 h 776"/>
                  <a:gd name="T26" fmla="*/ 10 w 391"/>
                  <a:gd name="T27" fmla="*/ 5 h 776"/>
                  <a:gd name="T28" fmla="*/ 10 w 391"/>
                  <a:gd name="T29" fmla="*/ 5 h 776"/>
                  <a:gd name="T30" fmla="*/ 10 w 391"/>
                  <a:gd name="T31" fmla="*/ 3 h 776"/>
                  <a:gd name="T32" fmla="*/ 11 w 391"/>
                  <a:gd name="T33" fmla="*/ 4 h 776"/>
                  <a:gd name="T34" fmla="*/ 12 w 391"/>
                  <a:gd name="T35" fmla="*/ 3 h 776"/>
                  <a:gd name="T36" fmla="*/ 12 w 391"/>
                  <a:gd name="T37" fmla="*/ 1 h 776"/>
                  <a:gd name="T38" fmla="*/ 13 w 391"/>
                  <a:gd name="T39" fmla="*/ 0 h 776"/>
                  <a:gd name="T40" fmla="*/ 14 w 391"/>
                  <a:gd name="T41" fmla="*/ 1 h 776"/>
                  <a:gd name="T42" fmla="*/ 15 w 391"/>
                  <a:gd name="T43" fmla="*/ 2 h 776"/>
                  <a:gd name="T44" fmla="*/ 15 w 391"/>
                  <a:gd name="T45" fmla="*/ 4 h 776"/>
                  <a:gd name="T46" fmla="*/ 15 w 391"/>
                  <a:gd name="T47" fmla="*/ 6 h 776"/>
                  <a:gd name="T48" fmla="*/ 15 w 391"/>
                  <a:gd name="T49" fmla="*/ 8 h 776"/>
                  <a:gd name="T50" fmla="*/ 15 w 391"/>
                  <a:gd name="T51" fmla="*/ 8 h 776"/>
                  <a:gd name="T52" fmla="*/ 14 w 391"/>
                  <a:gd name="T53" fmla="*/ 8 h 776"/>
                  <a:gd name="T54" fmla="*/ 14 w 391"/>
                  <a:gd name="T55" fmla="*/ 10 h 776"/>
                  <a:gd name="T56" fmla="*/ 14 w 391"/>
                  <a:gd name="T57" fmla="*/ 11 h 776"/>
                  <a:gd name="T58" fmla="*/ 13 w 391"/>
                  <a:gd name="T59" fmla="*/ 15 h 776"/>
                  <a:gd name="T60" fmla="*/ 13 w 391"/>
                  <a:gd name="T61" fmla="*/ 16 h 776"/>
                  <a:gd name="T62" fmla="*/ 11 w 391"/>
                  <a:gd name="T63" fmla="*/ 21 h 776"/>
                  <a:gd name="T64" fmla="*/ 10 w 391"/>
                  <a:gd name="T65" fmla="*/ 25 h 776"/>
                  <a:gd name="T66" fmla="*/ 9 w 391"/>
                  <a:gd name="T67" fmla="*/ 28 h 776"/>
                  <a:gd name="T68" fmla="*/ 8 w 391"/>
                  <a:gd name="T69" fmla="*/ 30 h 776"/>
                  <a:gd name="T70" fmla="*/ 7 w 391"/>
                  <a:gd name="T71" fmla="*/ 30 h 776"/>
                  <a:gd name="T72" fmla="*/ 4 w 391"/>
                  <a:gd name="T73" fmla="*/ 31 h 776"/>
                  <a:gd name="T74" fmla="*/ 2 w 391"/>
                  <a:gd name="T75" fmla="*/ 30 h 776"/>
                  <a:gd name="T76" fmla="*/ 1 w 391"/>
                  <a:gd name="T77" fmla="*/ 28 h 776"/>
                  <a:gd name="T78" fmla="*/ 1 w 391"/>
                  <a:gd name="T79" fmla="*/ 26 h 776"/>
                  <a:gd name="T80" fmla="*/ 0 w 391"/>
                  <a:gd name="T81" fmla="*/ 25 h 776"/>
                  <a:gd name="T82" fmla="*/ 0 w 391"/>
                  <a:gd name="T83" fmla="*/ 23 h 776"/>
                  <a:gd name="T84" fmla="*/ 1 w 391"/>
                  <a:gd name="T85" fmla="*/ 21 h 776"/>
                  <a:gd name="T86" fmla="*/ 2 w 391"/>
                  <a:gd name="T87" fmla="*/ 20 h 776"/>
                  <a:gd name="T88" fmla="*/ 3 w 391"/>
                  <a:gd name="T89" fmla="*/ 17 h 776"/>
                  <a:gd name="T90" fmla="*/ 3 w 391"/>
                  <a:gd name="T91" fmla="*/ 16 h 776"/>
                  <a:gd name="T92" fmla="*/ 2 w 391"/>
                  <a:gd name="T93" fmla="*/ 14 h 776"/>
                  <a:gd name="T94" fmla="*/ 2 w 391"/>
                  <a:gd name="T95" fmla="*/ 11 h 77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391"/>
                  <a:gd name="T145" fmla="*/ 0 h 776"/>
                  <a:gd name="T146" fmla="*/ 391 w 391"/>
                  <a:gd name="T147" fmla="*/ 776 h 77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391" h="776">
                    <a:moveTo>
                      <a:pt x="64" y="230"/>
                    </a:moveTo>
                    <a:lnTo>
                      <a:pt x="69" y="224"/>
                    </a:lnTo>
                    <a:lnTo>
                      <a:pt x="76" y="226"/>
                    </a:lnTo>
                    <a:lnTo>
                      <a:pt x="92" y="225"/>
                    </a:lnTo>
                    <a:lnTo>
                      <a:pt x="96" y="221"/>
                    </a:lnTo>
                    <a:lnTo>
                      <a:pt x="107" y="215"/>
                    </a:lnTo>
                    <a:lnTo>
                      <a:pt x="109" y="220"/>
                    </a:lnTo>
                    <a:lnTo>
                      <a:pt x="113" y="221"/>
                    </a:lnTo>
                    <a:lnTo>
                      <a:pt x="118" y="215"/>
                    </a:lnTo>
                    <a:lnTo>
                      <a:pt x="124" y="217"/>
                    </a:lnTo>
                    <a:lnTo>
                      <a:pt x="129" y="211"/>
                    </a:lnTo>
                    <a:lnTo>
                      <a:pt x="130" y="204"/>
                    </a:lnTo>
                    <a:lnTo>
                      <a:pt x="140" y="202"/>
                    </a:lnTo>
                    <a:lnTo>
                      <a:pt x="146" y="205"/>
                    </a:lnTo>
                    <a:lnTo>
                      <a:pt x="152" y="199"/>
                    </a:lnTo>
                    <a:lnTo>
                      <a:pt x="159" y="202"/>
                    </a:lnTo>
                    <a:lnTo>
                      <a:pt x="164" y="211"/>
                    </a:lnTo>
                    <a:lnTo>
                      <a:pt x="170" y="219"/>
                    </a:lnTo>
                    <a:lnTo>
                      <a:pt x="178" y="221"/>
                    </a:lnTo>
                    <a:lnTo>
                      <a:pt x="184" y="220"/>
                    </a:lnTo>
                    <a:lnTo>
                      <a:pt x="182" y="210"/>
                    </a:lnTo>
                    <a:lnTo>
                      <a:pt x="172" y="202"/>
                    </a:lnTo>
                    <a:lnTo>
                      <a:pt x="173" y="192"/>
                    </a:lnTo>
                    <a:lnTo>
                      <a:pt x="183" y="181"/>
                    </a:lnTo>
                    <a:lnTo>
                      <a:pt x="195" y="173"/>
                    </a:lnTo>
                    <a:lnTo>
                      <a:pt x="202" y="176"/>
                    </a:lnTo>
                    <a:lnTo>
                      <a:pt x="204" y="189"/>
                    </a:lnTo>
                    <a:lnTo>
                      <a:pt x="211" y="189"/>
                    </a:lnTo>
                    <a:lnTo>
                      <a:pt x="218" y="186"/>
                    </a:lnTo>
                    <a:lnTo>
                      <a:pt x="208" y="167"/>
                    </a:lnTo>
                    <a:lnTo>
                      <a:pt x="215" y="161"/>
                    </a:lnTo>
                    <a:lnTo>
                      <a:pt x="224" y="150"/>
                    </a:lnTo>
                    <a:lnTo>
                      <a:pt x="221" y="149"/>
                    </a:lnTo>
                    <a:lnTo>
                      <a:pt x="227" y="141"/>
                    </a:lnTo>
                    <a:lnTo>
                      <a:pt x="231" y="149"/>
                    </a:lnTo>
                    <a:lnTo>
                      <a:pt x="229" y="160"/>
                    </a:lnTo>
                    <a:lnTo>
                      <a:pt x="245" y="140"/>
                    </a:lnTo>
                    <a:lnTo>
                      <a:pt x="253" y="141"/>
                    </a:lnTo>
                    <a:lnTo>
                      <a:pt x="258" y="140"/>
                    </a:lnTo>
                    <a:lnTo>
                      <a:pt x="256" y="135"/>
                    </a:lnTo>
                    <a:lnTo>
                      <a:pt x="247" y="133"/>
                    </a:lnTo>
                    <a:lnTo>
                      <a:pt x="242" y="125"/>
                    </a:lnTo>
                    <a:lnTo>
                      <a:pt x="245" y="119"/>
                    </a:lnTo>
                    <a:lnTo>
                      <a:pt x="253" y="108"/>
                    </a:lnTo>
                    <a:lnTo>
                      <a:pt x="258" y="113"/>
                    </a:lnTo>
                    <a:lnTo>
                      <a:pt x="259" y="101"/>
                    </a:lnTo>
                    <a:lnTo>
                      <a:pt x="256" y="93"/>
                    </a:lnTo>
                    <a:lnTo>
                      <a:pt x="253" y="81"/>
                    </a:lnTo>
                    <a:lnTo>
                      <a:pt x="256" y="77"/>
                    </a:lnTo>
                    <a:lnTo>
                      <a:pt x="267" y="81"/>
                    </a:lnTo>
                    <a:lnTo>
                      <a:pt x="270" y="92"/>
                    </a:lnTo>
                    <a:lnTo>
                      <a:pt x="283" y="74"/>
                    </a:lnTo>
                    <a:lnTo>
                      <a:pt x="285" y="63"/>
                    </a:lnTo>
                    <a:lnTo>
                      <a:pt x="293" y="68"/>
                    </a:lnTo>
                    <a:lnTo>
                      <a:pt x="301" y="61"/>
                    </a:lnTo>
                    <a:lnTo>
                      <a:pt x="306" y="47"/>
                    </a:lnTo>
                    <a:lnTo>
                      <a:pt x="307" y="25"/>
                    </a:lnTo>
                    <a:lnTo>
                      <a:pt x="301" y="15"/>
                    </a:lnTo>
                    <a:lnTo>
                      <a:pt x="306" y="17"/>
                    </a:lnTo>
                    <a:lnTo>
                      <a:pt x="316" y="5"/>
                    </a:lnTo>
                    <a:lnTo>
                      <a:pt x="323" y="0"/>
                    </a:lnTo>
                    <a:lnTo>
                      <a:pt x="334" y="10"/>
                    </a:lnTo>
                    <a:lnTo>
                      <a:pt x="344" y="23"/>
                    </a:lnTo>
                    <a:lnTo>
                      <a:pt x="354" y="33"/>
                    </a:lnTo>
                    <a:lnTo>
                      <a:pt x="361" y="47"/>
                    </a:lnTo>
                    <a:lnTo>
                      <a:pt x="365" y="60"/>
                    </a:lnTo>
                    <a:lnTo>
                      <a:pt x="366" y="73"/>
                    </a:lnTo>
                    <a:lnTo>
                      <a:pt x="371" y="89"/>
                    </a:lnTo>
                    <a:lnTo>
                      <a:pt x="374" y="106"/>
                    </a:lnTo>
                    <a:lnTo>
                      <a:pt x="377" y="120"/>
                    </a:lnTo>
                    <a:lnTo>
                      <a:pt x="379" y="135"/>
                    </a:lnTo>
                    <a:lnTo>
                      <a:pt x="382" y="151"/>
                    </a:lnTo>
                    <a:lnTo>
                      <a:pt x="388" y="167"/>
                    </a:lnTo>
                    <a:lnTo>
                      <a:pt x="391" y="183"/>
                    </a:lnTo>
                    <a:lnTo>
                      <a:pt x="388" y="198"/>
                    </a:lnTo>
                    <a:lnTo>
                      <a:pt x="383" y="210"/>
                    </a:lnTo>
                    <a:lnTo>
                      <a:pt x="376" y="211"/>
                    </a:lnTo>
                    <a:lnTo>
                      <a:pt x="370" y="198"/>
                    </a:lnTo>
                    <a:lnTo>
                      <a:pt x="366" y="183"/>
                    </a:lnTo>
                    <a:lnTo>
                      <a:pt x="356" y="184"/>
                    </a:lnTo>
                    <a:lnTo>
                      <a:pt x="353" y="206"/>
                    </a:lnTo>
                    <a:lnTo>
                      <a:pt x="353" y="222"/>
                    </a:lnTo>
                    <a:lnTo>
                      <a:pt x="360" y="235"/>
                    </a:lnTo>
                    <a:lnTo>
                      <a:pt x="360" y="251"/>
                    </a:lnTo>
                    <a:lnTo>
                      <a:pt x="355" y="262"/>
                    </a:lnTo>
                    <a:lnTo>
                      <a:pt x="349" y="268"/>
                    </a:lnTo>
                    <a:lnTo>
                      <a:pt x="342" y="283"/>
                    </a:lnTo>
                    <a:lnTo>
                      <a:pt x="339" y="300"/>
                    </a:lnTo>
                    <a:lnTo>
                      <a:pt x="339" y="315"/>
                    </a:lnTo>
                    <a:lnTo>
                      <a:pt x="329" y="366"/>
                    </a:lnTo>
                    <a:lnTo>
                      <a:pt x="318" y="397"/>
                    </a:lnTo>
                    <a:lnTo>
                      <a:pt x="317" y="397"/>
                    </a:lnTo>
                    <a:lnTo>
                      <a:pt x="316" y="405"/>
                    </a:lnTo>
                    <a:lnTo>
                      <a:pt x="300" y="459"/>
                    </a:lnTo>
                    <a:lnTo>
                      <a:pt x="288" y="488"/>
                    </a:lnTo>
                    <a:lnTo>
                      <a:pt x="283" y="511"/>
                    </a:lnTo>
                    <a:lnTo>
                      <a:pt x="273" y="549"/>
                    </a:lnTo>
                    <a:lnTo>
                      <a:pt x="266" y="566"/>
                    </a:lnTo>
                    <a:lnTo>
                      <a:pt x="254" y="606"/>
                    </a:lnTo>
                    <a:lnTo>
                      <a:pt x="248" y="635"/>
                    </a:lnTo>
                    <a:lnTo>
                      <a:pt x="243" y="651"/>
                    </a:lnTo>
                    <a:lnTo>
                      <a:pt x="236" y="684"/>
                    </a:lnTo>
                    <a:lnTo>
                      <a:pt x="227" y="700"/>
                    </a:lnTo>
                    <a:lnTo>
                      <a:pt x="223" y="715"/>
                    </a:lnTo>
                    <a:lnTo>
                      <a:pt x="210" y="736"/>
                    </a:lnTo>
                    <a:lnTo>
                      <a:pt x="200" y="744"/>
                    </a:lnTo>
                    <a:lnTo>
                      <a:pt x="192" y="749"/>
                    </a:lnTo>
                    <a:lnTo>
                      <a:pt x="183" y="748"/>
                    </a:lnTo>
                    <a:lnTo>
                      <a:pt x="151" y="755"/>
                    </a:lnTo>
                    <a:lnTo>
                      <a:pt x="119" y="774"/>
                    </a:lnTo>
                    <a:lnTo>
                      <a:pt x="106" y="776"/>
                    </a:lnTo>
                    <a:lnTo>
                      <a:pt x="86" y="762"/>
                    </a:lnTo>
                    <a:lnTo>
                      <a:pt x="71" y="753"/>
                    </a:lnTo>
                    <a:lnTo>
                      <a:pt x="59" y="746"/>
                    </a:lnTo>
                    <a:lnTo>
                      <a:pt x="47" y="736"/>
                    </a:lnTo>
                    <a:lnTo>
                      <a:pt x="32" y="714"/>
                    </a:lnTo>
                    <a:lnTo>
                      <a:pt x="27" y="697"/>
                    </a:lnTo>
                    <a:lnTo>
                      <a:pt x="24" y="678"/>
                    </a:lnTo>
                    <a:lnTo>
                      <a:pt x="24" y="663"/>
                    </a:lnTo>
                    <a:lnTo>
                      <a:pt x="28" y="654"/>
                    </a:lnTo>
                    <a:lnTo>
                      <a:pt x="24" y="638"/>
                    </a:lnTo>
                    <a:lnTo>
                      <a:pt x="17" y="624"/>
                    </a:lnTo>
                    <a:lnTo>
                      <a:pt x="9" y="615"/>
                    </a:lnTo>
                    <a:lnTo>
                      <a:pt x="1" y="601"/>
                    </a:lnTo>
                    <a:lnTo>
                      <a:pt x="1" y="586"/>
                    </a:lnTo>
                    <a:lnTo>
                      <a:pt x="0" y="574"/>
                    </a:lnTo>
                    <a:lnTo>
                      <a:pt x="0" y="555"/>
                    </a:lnTo>
                    <a:lnTo>
                      <a:pt x="8" y="543"/>
                    </a:lnTo>
                    <a:lnTo>
                      <a:pt x="15" y="527"/>
                    </a:lnTo>
                    <a:lnTo>
                      <a:pt x="21" y="518"/>
                    </a:lnTo>
                    <a:lnTo>
                      <a:pt x="30" y="516"/>
                    </a:lnTo>
                    <a:lnTo>
                      <a:pt x="38" y="489"/>
                    </a:lnTo>
                    <a:lnTo>
                      <a:pt x="55" y="457"/>
                    </a:lnTo>
                    <a:lnTo>
                      <a:pt x="65" y="446"/>
                    </a:lnTo>
                    <a:lnTo>
                      <a:pt x="69" y="435"/>
                    </a:lnTo>
                    <a:lnTo>
                      <a:pt x="68" y="425"/>
                    </a:lnTo>
                    <a:lnTo>
                      <a:pt x="71" y="419"/>
                    </a:lnTo>
                    <a:lnTo>
                      <a:pt x="69" y="409"/>
                    </a:lnTo>
                    <a:lnTo>
                      <a:pt x="60" y="396"/>
                    </a:lnTo>
                    <a:lnTo>
                      <a:pt x="54" y="376"/>
                    </a:lnTo>
                    <a:lnTo>
                      <a:pt x="48" y="348"/>
                    </a:lnTo>
                    <a:lnTo>
                      <a:pt x="47" y="318"/>
                    </a:lnTo>
                    <a:lnTo>
                      <a:pt x="37" y="302"/>
                    </a:lnTo>
                    <a:lnTo>
                      <a:pt x="51" y="280"/>
                    </a:lnTo>
                    <a:lnTo>
                      <a:pt x="65" y="247"/>
                    </a:lnTo>
                    <a:lnTo>
                      <a:pt x="64" y="23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grpSp>
            <p:nvGrpSpPr>
              <p:cNvPr id="165" name="Group 29">
                <a:extLst>
                  <a:ext uri="{FF2B5EF4-FFF2-40B4-BE49-F238E27FC236}">
                    <a16:creationId xmlns:a16="http://schemas.microsoft.com/office/drawing/2014/main" id="{E3F8C906-B333-E2DB-9211-539CFC9C65F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643" y="2535"/>
                <a:ext cx="138" cy="151"/>
                <a:chOff x="2643" y="2535"/>
                <a:chExt cx="138" cy="151"/>
              </a:xfrm>
              <a:grpFill/>
            </p:grpSpPr>
            <p:sp>
              <p:nvSpPr>
                <p:cNvPr id="191" name="Freeform 30">
                  <a:extLst>
                    <a:ext uri="{FF2B5EF4-FFF2-40B4-BE49-F238E27FC236}">
                      <a16:creationId xmlns:a16="http://schemas.microsoft.com/office/drawing/2014/main" id="{1E2A1C4A-4D41-262F-A9C7-E87C135B4F7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643" y="2550"/>
                  <a:ext cx="138" cy="136"/>
                </a:xfrm>
                <a:custGeom>
                  <a:avLst/>
                  <a:gdLst>
                    <a:gd name="T0" fmla="*/ 1 w 692"/>
                    <a:gd name="T1" fmla="*/ 22 h 684"/>
                    <a:gd name="T2" fmla="*/ 1 w 692"/>
                    <a:gd name="T3" fmla="*/ 20 h 684"/>
                    <a:gd name="T4" fmla="*/ 2 w 692"/>
                    <a:gd name="T5" fmla="*/ 18 h 684"/>
                    <a:gd name="T6" fmla="*/ 2 w 692"/>
                    <a:gd name="T7" fmla="*/ 17 h 684"/>
                    <a:gd name="T8" fmla="*/ 4 w 692"/>
                    <a:gd name="T9" fmla="*/ 15 h 684"/>
                    <a:gd name="T10" fmla="*/ 5 w 692"/>
                    <a:gd name="T11" fmla="*/ 13 h 684"/>
                    <a:gd name="T12" fmla="*/ 5 w 692"/>
                    <a:gd name="T13" fmla="*/ 11 h 684"/>
                    <a:gd name="T14" fmla="*/ 4 w 692"/>
                    <a:gd name="T15" fmla="*/ 9 h 684"/>
                    <a:gd name="T16" fmla="*/ 3 w 692"/>
                    <a:gd name="T17" fmla="*/ 7 h 684"/>
                    <a:gd name="T18" fmla="*/ 3 w 692"/>
                    <a:gd name="T19" fmla="*/ 5 h 684"/>
                    <a:gd name="T20" fmla="*/ 2 w 692"/>
                    <a:gd name="T21" fmla="*/ 2 h 684"/>
                    <a:gd name="T22" fmla="*/ 2 w 692"/>
                    <a:gd name="T23" fmla="*/ 1 h 684"/>
                    <a:gd name="T24" fmla="*/ 3 w 692"/>
                    <a:gd name="T25" fmla="*/ 0 h 684"/>
                    <a:gd name="T26" fmla="*/ 5 w 692"/>
                    <a:gd name="T27" fmla="*/ 0 h 684"/>
                    <a:gd name="T28" fmla="*/ 8 w 692"/>
                    <a:gd name="T29" fmla="*/ 0 h 684"/>
                    <a:gd name="T30" fmla="*/ 10 w 692"/>
                    <a:gd name="T31" fmla="*/ 0 h 684"/>
                    <a:gd name="T32" fmla="*/ 11 w 692"/>
                    <a:gd name="T33" fmla="*/ 1 h 684"/>
                    <a:gd name="T34" fmla="*/ 12 w 692"/>
                    <a:gd name="T35" fmla="*/ 3 h 684"/>
                    <a:gd name="T36" fmla="*/ 14 w 692"/>
                    <a:gd name="T37" fmla="*/ 5 h 684"/>
                    <a:gd name="T38" fmla="*/ 16 w 692"/>
                    <a:gd name="T39" fmla="*/ 5 h 684"/>
                    <a:gd name="T40" fmla="*/ 17 w 692"/>
                    <a:gd name="T41" fmla="*/ 4 h 684"/>
                    <a:gd name="T42" fmla="*/ 17 w 692"/>
                    <a:gd name="T43" fmla="*/ 3 h 684"/>
                    <a:gd name="T44" fmla="*/ 20 w 692"/>
                    <a:gd name="T45" fmla="*/ 3 h 684"/>
                    <a:gd name="T46" fmla="*/ 22 w 692"/>
                    <a:gd name="T47" fmla="*/ 5 h 684"/>
                    <a:gd name="T48" fmla="*/ 23 w 692"/>
                    <a:gd name="T49" fmla="*/ 7 h 684"/>
                    <a:gd name="T50" fmla="*/ 23 w 692"/>
                    <a:gd name="T51" fmla="*/ 9 h 684"/>
                    <a:gd name="T52" fmla="*/ 23 w 692"/>
                    <a:gd name="T53" fmla="*/ 11 h 684"/>
                    <a:gd name="T54" fmla="*/ 23 w 692"/>
                    <a:gd name="T55" fmla="*/ 12 h 684"/>
                    <a:gd name="T56" fmla="*/ 24 w 692"/>
                    <a:gd name="T57" fmla="*/ 12 h 684"/>
                    <a:gd name="T58" fmla="*/ 26 w 692"/>
                    <a:gd name="T59" fmla="*/ 11 h 684"/>
                    <a:gd name="T60" fmla="*/ 27 w 692"/>
                    <a:gd name="T61" fmla="*/ 11 h 684"/>
                    <a:gd name="T62" fmla="*/ 27 w 692"/>
                    <a:gd name="T63" fmla="*/ 11 h 684"/>
                    <a:gd name="T64" fmla="*/ 27 w 692"/>
                    <a:gd name="T65" fmla="*/ 12 h 684"/>
                    <a:gd name="T66" fmla="*/ 27 w 692"/>
                    <a:gd name="T67" fmla="*/ 14 h 684"/>
                    <a:gd name="T68" fmla="*/ 27 w 692"/>
                    <a:gd name="T69" fmla="*/ 16 h 684"/>
                    <a:gd name="T70" fmla="*/ 23 w 692"/>
                    <a:gd name="T71" fmla="*/ 18 h 684"/>
                    <a:gd name="T72" fmla="*/ 23 w 692"/>
                    <a:gd name="T73" fmla="*/ 24 h 684"/>
                    <a:gd name="T74" fmla="*/ 24 w 692"/>
                    <a:gd name="T75" fmla="*/ 25 h 684"/>
                    <a:gd name="T76" fmla="*/ 25 w 692"/>
                    <a:gd name="T77" fmla="*/ 26 h 684"/>
                    <a:gd name="T78" fmla="*/ 22 w 692"/>
                    <a:gd name="T79" fmla="*/ 27 h 684"/>
                    <a:gd name="T80" fmla="*/ 20 w 692"/>
                    <a:gd name="T81" fmla="*/ 27 h 684"/>
                    <a:gd name="T82" fmla="*/ 17 w 692"/>
                    <a:gd name="T83" fmla="*/ 26 h 684"/>
                    <a:gd name="T84" fmla="*/ 15 w 692"/>
                    <a:gd name="T85" fmla="*/ 25 h 684"/>
                    <a:gd name="T86" fmla="*/ 8 w 692"/>
                    <a:gd name="T87" fmla="*/ 25 h 684"/>
                    <a:gd name="T88" fmla="*/ 4 w 692"/>
                    <a:gd name="T89" fmla="*/ 25 h 684"/>
                    <a:gd name="T90" fmla="*/ 2 w 692"/>
                    <a:gd name="T91" fmla="*/ 24 h 684"/>
                    <a:gd name="T92" fmla="*/ 1 w 692"/>
                    <a:gd name="T93" fmla="*/ 25 h 684"/>
                    <a:gd name="T94" fmla="*/ 0 w 692"/>
                    <a:gd name="T95" fmla="*/ 24 h 684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692"/>
                    <a:gd name="T145" fmla="*/ 0 h 684"/>
                    <a:gd name="T146" fmla="*/ 692 w 692"/>
                    <a:gd name="T147" fmla="*/ 684 h 684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692" h="684">
                      <a:moveTo>
                        <a:pt x="5" y="597"/>
                      </a:moveTo>
                      <a:lnTo>
                        <a:pt x="5" y="576"/>
                      </a:lnTo>
                      <a:lnTo>
                        <a:pt x="6" y="565"/>
                      </a:lnTo>
                      <a:lnTo>
                        <a:pt x="14" y="557"/>
                      </a:lnTo>
                      <a:lnTo>
                        <a:pt x="21" y="532"/>
                      </a:lnTo>
                      <a:lnTo>
                        <a:pt x="25" y="522"/>
                      </a:lnTo>
                      <a:lnTo>
                        <a:pt x="26" y="508"/>
                      </a:lnTo>
                      <a:lnTo>
                        <a:pt x="30" y="499"/>
                      </a:lnTo>
                      <a:lnTo>
                        <a:pt x="31" y="487"/>
                      </a:lnTo>
                      <a:lnTo>
                        <a:pt x="33" y="481"/>
                      </a:lnTo>
                      <a:lnTo>
                        <a:pt x="36" y="470"/>
                      </a:lnTo>
                      <a:lnTo>
                        <a:pt x="43" y="451"/>
                      </a:lnTo>
                      <a:lnTo>
                        <a:pt x="43" y="444"/>
                      </a:lnTo>
                      <a:lnTo>
                        <a:pt x="47" y="439"/>
                      </a:lnTo>
                      <a:lnTo>
                        <a:pt x="47" y="433"/>
                      </a:lnTo>
                      <a:lnTo>
                        <a:pt x="53" y="418"/>
                      </a:lnTo>
                      <a:lnTo>
                        <a:pt x="63" y="411"/>
                      </a:lnTo>
                      <a:lnTo>
                        <a:pt x="69" y="403"/>
                      </a:lnTo>
                      <a:lnTo>
                        <a:pt x="70" y="391"/>
                      </a:lnTo>
                      <a:lnTo>
                        <a:pt x="90" y="381"/>
                      </a:lnTo>
                      <a:lnTo>
                        <a:pt x="103" y="366"/>
                      </a:lnTo>
                      <a:lnTo>
                        <a:pt x="108" y="358"/>
                      </a:lnTo>
                      <a:lnTo>
                        <a:pt x="113" y="347"/>
                      </a:lnTo>
                      <a:lnTo>
                        <a:pt x="116" y="331"/>
                      </a:lnTo>
                      <a:lnTo>
                        <a:pt x="116" y="315"/>
                      </a:lnTo>
                      <a:lnTo>
                        <a:pt x="118" y="306"/>
                      </a:lnTo>
                      <a:lnTo>
                        <a:pt x="117" y="290"/>
                      </a:lnTo>
                      <a:lnTo>
                        <a:pt x="122" y="283"/>
                      </a:lnTo>
                      <a:lnTo>
                        <a:pt x="117" y="264"/>
                      </a:lnTo>
                      <a:lnTo>
                        <a:pt x="105" y="253"/>
                      </a:lnTo>
                      <a:lnTo>
                        <a:pt x="100" y="242"/>
                      </a:lnTo>
                      <a:lnTo>
                        <a:pt x="95" y="235"/>
                      </a:lnTo>
                      <a:lnTo>
                        <a:pt x="89" y="219"/>
                      </a:lnTo>
                      <a:lnTo>
                        <a:pt x="81" y="188"/>
                      </a:lnTo>
                      <a:lnTo>
                        <a:pt x="81" y="182"/>
                      </a:lnTo>
                      <a:lnTo>
                        <a:pt x="86" y="175"/>
                      </a:lnTo>
                      <a:lnTo>
                        <a:pt x="94" y="169"/>
                      </a:lnTo>
                      <a:lnTo>
                        <a:pt x="94" y="151"/>
                      </a:lnTo>
                      <a:lnTo>
                        <a:pt x="90" y="137"/>
                      </a:lnTo>
                      <a:lnTo>
                        <a:pt x="84" y="128"/>
                      </a:lnTo>
                      <a:lnTo>
                        <a:pt x="73" y="91"/>
                      </a:lnTo>
                      <a:lnTo>
                        <a:pt x="70" y="79"/>
                      </a:lnTo>
                      <a:lnTo>
                        <a:pt x="67" y="70"/>
                      </a:lnTo>
                      <a:lnTo>
                        <a:pt x="53" y="53"/>
                      </a:lnTo>
                      <a:lnTo>
                        <a:pt x="48" y="45"/>
                      </a:lnTo>
                      <a:lnTo>
                        <a:pt x="43" y="36"/>
                      </a:lnTo>
                      <a:lnTo>
                        <a:pt x="40" y="30"/>
                      </a:lnTo>
                      <a:lnTo>
                        <a:pt x="40" y="26"/>
                      </a:lnTo>
                      <a:lnTo>
                        <a:pt x="41" y="24"/>
                      </a:lnTo>
                      <a:lnTo>
                        <a:pt x="47" y="21"/>
                      </a:lnTo>
                      <a:lnTo>
                        <a:pt x="65" y="16"/>
                      </a:lnTo>
                      <a:lnTo>
                        <a:pt x="79" y="9"/>
                      </a:lnTo>
                      <a:lnTo>
                        <a:pt x="92" y="4"/>
                      </a:lnTo>
                      <a:lnTo>
                        <a:pt x="101" y="4"/>
                      </a:lnTo>
                      <a:lnTo>
                        <a:pt x="108" y="3"/>
                      </a:lnTo>
                      <a:lnTo>
                        <a:pt x="132" y="4"/>
                      </a:lnTo>
                      <a:lnTo>
                        <a:pt x="154" y="2"/>
                      </a:lnTo>
                      <a:lnTo>
                        <a:pt x="161" y="4"/>
                      </a:lnTo>
                      <a:lnTo>
                        <a:pt x="180" y="5"/>
                      </a:lnTo>
                      <a:lnTo>
                        <a:pt x="193" y="3"/>
                      </a:lnTo>
                      <a:lnTo>
                        <a:pt x="207" y="3"/>
                      </a:lnTo>
                      <a:lnTo>
                        <a:pt x="240" y="0"/>
                      </a:lnTo>
                      <a:lnTo>
                        <a:pt x="256" y="2"/>
                      </a:lnTo>
                      <a:lnTo>
                        <a:pt x="258" y="3"/>
                      </a:lnTo>
                      <a:lnTo>
                        <a:pt x="263" y="10"/>
                      </a:lnTo>
                      <a:lnTo>
                        <a:pt x="267" y="11"/>
                      </a:lnTo>
                      <a:lnTo>
                        <a:pt x="271" y="10"/>
                      </a:lnTo>
                      <a:lnTo>
                        <a:pt x="275" y="19"/>
                      </a:lnTo>
                      <a:lnTo>
                        <a:pt x="280" y="37"/>
                      </a:lnTo>
                      <a:lnTo>
                        <a:pt x="282" y="51"/>
                      </a:lnTo>
                      <a:lnTo>
                        <a:pt x="283" y="56"/>
                      </a:lnTo>
                      <a:lnTo>
                        <a:pt x="290" y="68"/>
                      </a:lnTo>
                      <a:lnTo>
                        <a:pt x="294" y="84"/>
                      </a:lnTo>
                      <a:lnTo>
                        <a:pt x="306" y="97"/>
                      </a:lnTo>
                      <a:lnTo>
                        <a:pt x="327" y="124"/>
                      </a:lnTo>
                      <a:lnTo>
                        <a:pt x="339" y="129"/>
                      </a:lnTo>
                      <a:lnTo>
                        <a:pt x="353" y="129"/>
                      </a:lnTo>
                      <a:lnTo>
                        <a:pt x="374" y="122"/>
                      </a:lnTo>
                      <a:lnTo>
                        <a:pt x="387" y="119"/>
                      </a:lnTo>
                      <a:lnTo>
                        <a:pt x="404" y="122"/>
                      </a:lnTo>
                      <a:lnTo>
                        <a:pt x="424" y="122"/>
                      </a:lnTo>
                      <a:lnTo>
                        <a:pt x="427" y="107"/>
                      </a:lnTo>
                      <a:lnTo>
                        <a:pt x="428" y="100"/>
                      </a:lnTo>
                      <a:lnTo>
                        <a:pt x="430" y="95"/>
                      </a:lnTo>
                      <a:lnTo>
                        <a:pt x="431" y="91"/>
                      </a:lnTo>
                      <a:lnTo>
                        <a:pt x="433" y="86"/>
                      </a:lnTo>
                      <a:lnTo>
                        <a:pt x="434" y="75"/>
                      </a:lnTo>
                      <a:lnTo>
                        <a:pt x="436" y="67"/>
                      </a:lnTo>
                      <a:lnTo>
                        <a:pt x="479" y="67"/>
                      </a:lnTo>
                      <a:lnTo>
                        <a:pt x="482" y="61"/>
                      </a:lnTo>
                      <a:lnTo>
                        <a:pt x="505" y="61"/>
                      </a:lnTo>
                      <a:lnTo>
                        <a:pt x="504" y="83"/>
                      </a:lnTo>
                      <a:lnTo>
                        <a:pt x="552" y="84"/>
                      </a:lnTo>
                      <a:lnTo>
                        <a:pt x="556" y="88"/>
                      </a:lnTo>
                      <a:lnTo>
                        <a:pt x="558" y="96"/>
                      </a:lnTo>
                      <a:lnTo>
                        <a:pt x="560" y="128"/>
                      </a:lnTo>
                      <a:lnTo>
                        <a:pt x="563" y="140"/>
                      </a:lnTo>
                      <a:lnTo>
                        <a:pt x="563" y="156"/>
                      </a:lnTo>
                      <a:lnTo>
                        <a:pt x="565" y="172"/>
                      </a:lnTo>
                      <a:lnTo>
                        <a:pt x="565" y="178"/>
                      </a:lnTo>
                      <a:lnTo>
                        <a:pt x="562" y="189"/>
                      </a:lnTo>
                      <a:lnTo>
                        <a:pt x="562" y="203"/>
                      </a:lnTo>
                      <a:lnTo>
                        <a:pt x="564" y="212"/>
                      </a:lnTo>
                      <a:lnTo>
                        <a:pt x="573" y="226"/>
                      </a:lnTo>
                      <a:lnTo>
                        <a:pt x="579" y="247"/>
                      </a:lnTo>
                      <a:lnTo>
                        <a:pt x="585" y="263"/>
                      </a:lnTo>
                      <a:lnTo>
                        <a:pt x="585" y="271"/>
                      </a:lnTo>
                      <a:lnTo>
                        <a:pt x="580" y="278"/>
                      </a:lnTo>
                      <a:lnTo>
                        <a:pt x="569" y="289"/>
                      </a:lnTo>
                      <a:lnTo>
                        <a:pt x="569" y="291"/>
                      </a:lnTo>
                      <a:lnTo>
                        <a:pt x="570" y="294"/>
                      </a:lnTo>
                      <a:lnTo>
                        <a:pt x="572" y="295"/>
                      </a:lnTo>
                      <a:lnTo>
                        <a:pt x="575" y="296"/>
                      </a:lnTo>
                      <a:lnTo>
                        <a:pt x="581" y="304"/>
                      </a:lnTo>
                      <a:lnTo>
                        <a:pt x="587" y="305"/>
                      </a:lnTo>
                      <a:lnTo>
                        <a:pt x="590" y="304"/>
                      </a:lnTo>
                      <a:lnTo>
                        <a:pt x="592" y="298"/>
                      </a:lnTo>
                      <a:lnTo>
                        <a:pt x="595" y="290"/>
                      </a:lnTo>
                      <a:lnTo>
                        <a:pt x="600" y="288"/>
                      </a:lnTo>
                      <a:lnTo>
                        <a:pt x="651" y="288"/>
                      </a:lnTo>
                      <a:lnTo>
                        <a:pt x="661" y="284"/>
                      </a:lnTo>
                      <a:lnTo>
                        <a:pt x="670" y="287"/>
                      </a:lnTo>
                      <a:lnTo>
                        <a:pt x="672" y="287"/>
                      </a:lnTo>
                      <a:lnTo>
                        <a:pt x="682" y="279"/>
                      </a:lnTo>
                      <a:lnTo>
                        <a:pt x="683" y="279"/>
                      </a:lnTo>
                      <a:lnTo>
                        <a:pt x="687" y="283"/>
                      </a:lnTo>
                      <a:lnTo>
                        <a:pt x="687" y="287"/>
                      </a:lnTo>
                      <a:lnTo>
                        <a:pt x="686" y="288"/>
                      </a:lnTo>
                      <a:lnTo>
                        <a:pt x="685" y="290"/>
                      </a:lnTo>
                      <a:lnTo>
                        <a:pt x="686" y="300"/>
                      </a:lnTo>
                      <a:lnTo>
                        <a:pt x="686" y="305"/>
                      </a:lnTo>
                      <a:lnTo>
                        <a:pt x="683" y="311"/>
                      </a:lnTo>
                      <a:lnTo>
                        <a:pt x="683" y="323"/>
                      </a:lnTo>
                      <a:lnTo>
                        <a:pt x="681" y="336"/>
                      </a:lnTo>
                      <a:lnTo>
                        <a:pt x="682" y="350"/>
                      </a:lnTo>
                      <a:lnTo>
                        <a:pt x="681" y="364"/>
                      </a:lnTo>
                      <a:lnTo>
                        <a:pt x="678" y="373"/>
                      </a:lnTo>
                      <a:lnTo>
                        <a:pt x="678" y="388"/>
                      </a:lnTo>
                      <a:lnTo>
                        <a:pt x="680" y="392"/>
                      </a:lnTo>
                      <a:lnTo>
                        <a:pt x="683" y="396"/>
                      </a:lnTo>
                      <a:lnTo>
                        <a:pt x="692" y="398"/>
                      </a:lnTo>
                      <a:lnTo>
                        <a:pt x="633" y="398"/>
                      </a:lnTo>
                      <a:lnTo>
                        <a:pt x="573" y="398"/>
                      </a:lnTo>
                      <a:lnTo>
                        <a:pt x="573" y="452"/>
                      </a:lnTo>
                      <a:lnTo>
                        <a:pt x="573" y="508"/>
                      </a:lnTo>
                      <a:lnTo>
                        <a:pt x="573" y="562"/>
                      </a:lnTo>
                      <a:lnTo>
                        <a:pt x="573" y="600"/>
                      </a:lnTo>
                      <a:lnTo>
                        <a:pt x="573" y="601"/>
                      </a:lnTo>
                      <a:lnTo>
                        <a:pt x="580" y="607"/>
                      </a:lnTo>
                      <a:lnTo>
                        <a:pt x="584" y="614"/>
                      </a:lnTo>
                      <a:lnTo>
                        <a:pt x="597" y="623"/>
                      </a:lnTo>
                      <a:lnTo>
                        <a:pt x="603" y="630"/>
                      </a:lnTo>
                      <a:lnTo>
                        <a:pt x="613" y="639"/>
                      </a:lnTo>
                      <a:lnTo>
                        <a:pt x="617" y="644"/>
                      </a:lnTo>
                      <a:lnTo>
                        <a:pt x="626" y="648"/>
                      </a:lnTo>
                      <a:lnTo>
                        <a:pt x="630" y="654"/>
                      </a:lnTo>
                      <a:lnTo>
                        <a:pt x="638" y="659"/>
                      </a:lnTo>
                      <a:lnTo>
                        <a:pt x="635" y="661"/>
                      </a:lnTo>
                      <a:lnTo>
                        <a:pt x="624" y="664"/>
                      </a:lnTo>
                      <a:lnTo>
                        <a:pt x="549" y="683"/>
                      </a:lnTo>
                      <a:lnTo>
                        <a:pt x="541" y="684"/>
                      </a:lnTo>
                      <a:lnTo>
                        <a:pt x="537" y="682"/>
                      </a:lnTo>
                      <a:lnTo>
                        <a:pt x="525" y="681"/>
                      </a:lnTo>
                      <a:lnTo>
                        <a:pt x="513" y="677"/>
                      </a:lnTo>
                      <a:lnTo>
                        <a:pt x="497" y="676"/>
                      </a:lnTo>
                      <a:lnTo>
                        <a:pt x="463" y="669"/>
                      </a:lnTo>
                      <a:lnTo>
                        <a:pt x="436" y="669"/>
                      </a:lnTo>
                      <a:lnTo>
                        <a:pt x="417" y="671"/>
                      </a:lnTo>
                      <a:lnTo>
                        <a:pt x="408" y="671"/>
                      </a:lnTo>
                      <a:lnTo>
                        <a:pt x="391" y="665"/>
                      </a:lnTo>
                      <a:lnTo>
                        <a:pt x="385" y="655"/>
                      </a:lnTo>
                      <a:lnTo>
                        <a:pt x="369" y="644"/>
                      </a:lnTo>
                      <a:lnTo>
                        <a:pt x="349" y="644"/>
                      </a:lnTo>
                      <a:lnTo>
                        <a:pt x="302" y="644"/>
                      </a:lnTo>
                      <a:lnTo>
                        <a:pt x="255" y="644"/>
                      </a:lnTo>
                      <a:lnTo>
                        <a:pt x="201" y="644"/>
                      </a:lnTo>
                      <a:lnTo>
                        <a:pt x="151" y="644"/>
                      </a:lnTo>
                      <a:lnTo>
                        <a:pt x="133" y="644"/>
                      </a:lnTo>
                      <a:lnTo>
                        <a:pt x="126" y="646"/>
                      </a:lnTo>
                      <a:lnTo>
                        <a:pt x="112" y="633"/>
                      </a:lnTo>
                      <a:lnTo>
                        <a:pt x="99" y="628"/>
                      </a:lnTo>
                      <a:lnTo>
                        <a:pt x="94" y="619"/>
                      </a:lnTo>
                      <a:lnTo>
                        <a:pt x="84" y="618"/>
                      </a:lnTo>
                      <a:lnTo>
                        <a:pt x="62" y="618"/>
                      </a:lnTo>
                      <a:lnTo>
                        <a:pt x="52" y="622"/>
                      </a:lnTo>
                      <a:lnTo>
                        <a:pt x="42" y="632"/>
                      </a:lnTo>
                      <a:lnTo>
                        <a:pt x="36" y="635"/>
                      </a:lnTo>
                      <a:lnTo>
                        <a:pt x="26" y="629"/>
                      </a:lnTo>
                      <a:lnTo>
                        <a:pt x="15" y="638"/>
                      </a:lnTo>
                      <a:lnTo>
                        <a:pt x="4" y="644"/>
                      </a:lnTo>
                      <a:lnTo>
                        <a:pt x="4" y="638"/>
                      </a:lnTo>
                      <a:lnTo>
                        <a:pt x="0" y="617"/>
                      </a:lnTo>
                      <a:lnTo>
                        <a:pt x="0" y="606"/>
                      </a:lnTo>
                      <a:lnTo>
                        <a:pt x="5" y="608"/>
                      </a:lnTo>
                      <a:lnTo>
                        <a:pt x="5" y="597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rgbClr val="77E2C3">
                      <a:lumMod val="40000"/>
                      <a:lumOff val="6000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77898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313C"/>
                    </a:solidFill>
                    <a:effectLst/>
                    <a:uLnTx/>
                    <a:uFillTx/>
                    <a:latin typeface="Arial"/>
                    <a:cs typeface="+mn-cs"/>
                  </a:endParaRPr>
                </a:p>
              </p:txBody>
            </p:sp>
            <p:sp>
              <p:nvSpPr>
                <p:cNvPr id="192" name="Freeform 31">
                  <a:extLst>
                    <a:ext uri="{FF2B5EF4-FFF2-40B4-BE49-F238E27FC236}">
                      <a16:creationId xmlns:a16="http://schemas.microsoft.com/office/drawing/2014/main" id="{830EC256-7D1A-37F6-C5DD-D3506B80EA6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647" y="2535"/>
                  <a:ext cx="11" cy="16"/>
                </a:xfrm>
                <a:custGeom>
                  <a:avLst/>
                  <a:gdLst>
                    <a:gd name="T0" fmla="*/ 2 w 56"/>
                    <a:gd name="T1" fmla="*/ 1 h 78"/>
                    <a:gd name="T2" fmla="*/ 2 w 56"/>
                    <a:gd name="T3" fmla="*/ 0 h 78"/>
                    <a:gd name="T4" fmla="*/ 2 w 56"/>
                    <a:gd name="T5" fmla="*/ 0 h 78"/>
                    <a:gd name="T6" fmla="*/ 1 w 56"/>
                    <a:gd name="T7" fmla="*/ 0 h 78"/>
                    <a:gd name="T8" fmla="*/ 1 w 56"/>
                    <a:gd name="T9" fmla="*/ 1 h 78"/>
                    <a:gd name="T10" fmla="*/ 1 w 56"/>
                    <a:gd name="T11" fmla="*/ 1 h 78"/>
                    <a:gd name="T12" fmla="*/ 0 w 56"/>
                    <a:gd name="T13" fmla="*/ 1 h 78"/>
                    <a:gd name="T14" fmla="*/ 0 w 56"/>
                    <a:gd name="T15" fmla="*/ 2 h 78"/>
                    <a:gd name="T16" fmla="*/ 0 w 56"/>
                    <a:gd name="T17" fmla="*/ 2 h 78"/>
                    <a:gd name="T18" fmla="*/ 0 w 56"/>
                    <a:gd name="T19" fmla="*/ 3 h 78"/>
                    <a:gd name="T20" fmla="*/ 0 w 56"/>
                    <a:gd name="T21" fmla="*/ 3 h 78"/>
                    <a:gd name="T22" fmla="*/ 1 w 56"/>
                    <a:gd name="T23" fmla="*/ 3 h 78"/>
                    <a:gd name="T24" fmla="*/ 1 w 56"/>
                    <a:gd name="T25" fmla="*/ 3 h 78"/>
                    <a:gd name="T26" fmla="*/ 1 w 56"/>
                    <a:gd name="T27" fmla="*/ 3 h 78"/>
                    <a:gd name="T28" fmla="*/ 1 w 56"/>
                    <a:gd name="T29" fmla="*/ 2 h 78"/>
                    <a:gd name="T30" fmla="*/ 1 w 56"/>
                    <a:gd name="T31" fmla="*/ 1 h 78"/>
                    <a:gd name="T32" fmla="*/ 2 w 56"/>
                    <a:gd name="T33" fmla="*/ 1 h 78"/>
                    <a:gd name="T34" fmla="*/ 2 w 56"/>
                    <a:gd name="T35" fmla="*/ 1 h 78"/>
                    <a:gd name="T36" fmla="*/ 2 w 56"/>
                    <a:gd name="T37" fmla="*/ 1 h 78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56"/>
                    <a:gd name="T58" fmla="*/ 0 h 78"/>
                    <a:gd name="T59" fmla="*/ 56 w 56"/>
                    <a:gd name="T60" fmla="*/ 78 h 78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56" h="78">
                      <a:moveTo>
                        <a:pt x="56" y="14"/>
                      </a:moveTo>
                      <a:lnTo>
                        <a:pt x="51" y="3"/>
                      </a:lnTo>
                      <a:lnTo>
                        <a:pt x="41" y="0"/>
                      </a:lnTo>
                      <a:lnTo>
                        <a:pt x="31" y="5"/>
                      </a:lnTo>
                      <a:lnTo>
                        <a:pt x="24" y="19"/>
                      </a:lnTo>
                      <a:lnTo>
                        <a:pt x="14" y="25"/>
                      </a:lnTo>
                      <a:lnTo>
                        <a:pt x="0" y="35"/>
                      </a:lnTo>
                      <a:lnTo>
                        <a:pt x="5" y="40"/>
                      </a:lnTo>
                      <a:lnTo>
                        <a:pt x="8" y="55"/>
                      </a:lnTo>
                      <a:lnTo>
                        <a:pt x="8" y="64"/>
                      </a:lnTo>
                      <a:lnTo>
                        <a:pt x="9" y="71"/>
                      </a:lnTo>
                      <a:lnTo>
                        <a:pt x="18" y="78"/>
                      </a:lnTo>
                      <a:lnTo>
                        <a:pt x="26" y="73"/>
                      </a:lnTo>
                      <a:lnTo>
                        <a:pt x="27" y="61"/>
                      </a:lnTo>
                      <a:lnTo>
                        <a:pt x="30" y="46"/>
                      </a:lnTo>
                      <a:lnTo>
                        <a:pt x="34" y="30"/>
                      </a:lnTo>
                      <a:lnTo>
                        <a:pt x="43" y="22"/>
                      </a:lnTo>
                      <a:lnTo>
                        <a:pt x="52" y="16"/>
                      </a:lnTo>
                      <a:lnTo>
                        <a:pt x="56" y="14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rgbClr val="77E2C3">
                      <a:lumMod val="40000"/>
                      <a:lumOff val="6000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77898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313C"/>
                    </a:solidFill>
                    <a:effectLst/>
                    <a:uLnTx/>
                    <a:uFillTx/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166" name="Freeform 32">
                <a:extLst>
                  <a:ext uri="{FF2B5EF4-FFF2-40B4-BE49-F238E27FC236}">
                    <a16:creationId xmlns:a16="http://schemas.microsoft.com/office/drawing/2014/main" id="{11A09C6C-C386-9499-0028-6BBDC087199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13" y="2811"/>
                <a:ext cx="25" cy="26"/>
              </a:xfrm>
              <a:custGeom>
                <a:avLst/>
                <a:gdLst>
                  <a:gd name="T0" fmla="*/ 5 w 127"/>
                  <a:gd name="T1" fmla="*/ 2 h 131"/>
                  <a:gd name="T2" fmla="*/ 5 w 127"/>
                  <a:gd name="T3" fmla="*/ 2 h 131"/>
                  <a:gd name="T4" fmla="*/ 5 w 127"/>
                  <a:gd name="T5" fmla="*/ 2 h 131"/>
                  <a:gd name="T6" fmla="*/ 4 w 127"/>
                  <a:gd name="T7" fmla="*/ 4 h 131"/>
                  <a:gd name="T8" fmla="*/ 3 w 127"/>
                  <a:gd name="T9" fmla="*/ 4 h 131"/>
                  <a:gd name="T10" fmla="*/ 2 w 127"/>
                  <a:gd name="T11" fmla="*/ 5 h 131"/>
                  <a:gd name="T12" fmla="*/ 2 w 127"/>
                  <a:gd name="T13" fmla="*/ 5 h 131"/>
                  <a:gd name="T14" fmla="*/ 2 w 127"/>
                  <a:gd name="T15" fmla="*/ 5 h 131"/>
                  <a:gd name="T16" fmla="*/ 1 w 127"/>
                  <a:gd name="T17" fmla="*/ 4 h 131"/>
                  <a:gd name="T18" fmla="*/ 0 w 127"/>
                  <a:gd name="T19" fmla="*/ 4 h 131"/>
                  <a:gd name="T20" fmla="*/ 0 w 127"/>
                  <a:gd name="T21" fmla="*/ 3 h 131"/>
                  <a:gd name="T22" fmla="*/ 0 w 127"/>
                  <a:gd name="T23" fmla="*/ 3 h 131"/>
                  <a:gd name="T24" fmla="*/ 0 w 127"/>
                  <a:gd name="T25" fmla="*/ 2 h 131"/>
                  <a:gd name="T26" fmla="*/ 1 w 127"/>
                  <a:gd name="T27" fmla="*/ 1 h 131"/>
                  <a:gd name="T28" fmla="*/ 2 w 127"/>
                  <a:gd name="T29" fmla="*/ 1 h 131"/>
                  <a:gd name="T30" fmla="*/ 3 w 127"/>
                  <a:gd name="T31" fmla="*/ 0 h 131"/>
                  <a:gd name="T32" fmla="*/ 3 w 127"/>
                  <a:gd name="T33" fmla="*/ 0 h 131"/>
                  <a:gd name="T34" fmla="*/ 4 w 127"/>
                  <a:gd name="T35" fmla="*/ 0 h 131"/>
                  <a:gd name="T36" fmla="*/ 4 w 127"/>
                  <a:gd name="T37" fmla="*/ 1 h 131"/>
                  <a:gd name="T38" fmla="*/ 4 w 127"/>
                  <a:gd name="T39" fmla="*/ 1 h 131"/>
                  <a:gd name="T40" fmla="*/ 5 w 127"/>
                  <a:gd name="T41" fmla="*/ 2 h 131"/>
                  <a:gd name="T42" fmla="*/ 5 w 127"/>
                  <a:gd name="T43" fmla="*/ 2 h 13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127"/>
                  <a:gd name="T67" fmla="*/ 0 h 131"/>
                  <a:gd name="T68" fmla="*/ 127 w 127"/>
                  <a:gd name="T69" fmla="*/ 131 h 131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127" h="131">
                    <a:moveTo>
                      <a:pt x="125" y="52"/>
                    </a:moveTo>
                    <a:lnTo>
                      <a:pt x="127" y="49"/>
                    </a:lnTo>
                    <a:lnTo>
                      <a:pt x="126" y="58"/>
                    </a:lnTo>
                    <a:lnTo>
                      <a:pt x="103" y="98"/>
                    </a:lnTo>
                    <a:lnTo>
                      <a:pt x="73" y="109"/>
                    </a:lnTo>
                    <a:lnTo>
                      <a:pt x="63" y="125"/>
                    </a:lnTo>
                    <a:lnTo>
                      <a:pt x="55" y="129"/>
                    </a:lnTo>
                    <a:lnTo>
                      <a:pt x="43" y="131"/>
                    </a:lnTo>
                    <a:lnTo>
                      <a:pt x="23" y="113"/>
                    </a:lnTo>
                    <a:lnTo>
                      <a:pt x="11" y="100"/>
                    </a:lnTo>
                    <a:lnTo>
                      <a:pt x="5" y="88"/>
                    </a:lnTo>
                    <a:lnTo>
                      <a:pt x="0" y="74"/>
                    </a:lnTo>
                    <a:lnTo>
                      <a:pt x="2" y="61"/>
                    </a:lnTo>
                    <a:lnTo>
                      <a:pt x="28" y="27"/>
                    </a:lnTo>
                    <a:lnTo>
                      <a:pt x="40" y="16"/>
                    </a:lnTo>
                    <a:lnTo>
                      <a:pt x="68" y="1"/>
                    </a:lnTo>
                    <a:lnTo>
                      <a:pt x="83" y="0"/>
                    </a:lnTo>
                    <a:lnTo>
                      <a:pt x="95" y="6"/>
                    </a:lnTo>
                    <a:lnTo>
                      <a:pt x="105" y="18"/>
                    </a:lnTo>
                    <a:lnTo>
                      <a:pt x="113" y="29"/>
                    </a:lnTo>
                    <a:lnTo>
                      <a:pt x="121" y="42"/>
                    </a:lnTo>
                    <a:lnTo>
                      <a:pt x="125" y="5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67" name="Freeform 33">
                <a:extLst>
                  <a:ext uri="{FF2B5EF4-FFF2-40B4-BE49-F238E27FC236}">
                    <a16:creationId xmlns:a16="http://schemas.microsoft.com/office/drawing/2014/main" id="{5F77BB18-C6F4-16CB-F73B-1F628B932B6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757" y="2576"/>
                <a:ext cx="128" cy="110"/>
              </a:xfrm>
              <a:custGeom>
                <a:avLst/>
                <a:gdLst>
                  <a:gd name="T0" fmla="*/ 0 w 640"/>
                  <a:gd name="T1" fmla="*/ 13 h 552"/>
                  <a:gd name="T2" fmla="*/ 4 w 640"/>
                  <a:gd name="T3" fmla="*/ 11 h 552"/>
                  <a:gd name="T4" fmla="*/ 4 w 640"/>
                  <a:gd name="T5" fmla="*/ 9 h 552"/>
                  <a:gd name="T6" fmla="*/ 4 w 640"/>
                  <a:gd name="T7" fmla="*/ 7 h 552"/>
                  <a:gd name="T8" fmla="*/ 5 w 640"/>
                  <a:gd name="T9" fmla="*/ 6 h 552"/>
                  <a:gd name="T10" fmla="*/ 5 w 640"/>
                  <a:gd name="T11" fmla="*/ 6 h 552"/>
                  <a:gd name="T12" fmla="*/ 5 w 640"/>
                  <a:gd name="T13" fmla="*/ 7 h 552"/>
                  <a:gd name="T14" fmla="*/ 6 w 640"/>
                  <a:gd name="T15" fmla="*/ 7 h 552"/>
                  <a:gd name="T16" fmla="*/ 7 w 640"/>
                  <a:gd name="T17" fmla="*/ 7 h 552"/>
                  <a:gd name="T18" fmla="*/ 9 w 640"/>
                  <a:gd name="T19" fmla="*/ 8 h 552"/>
                  <a:gd name="T20" fmla="*/ 11 w 640"/>
                  <a:gd name="T21" fmla="*/ 8 h 552"/>
                  <a:gd name="T22" fmla="*/ 13 w 640"/>
                  <a:gd name="T23" fmla="*/ 9 h 552"/>
                  <a:gd name="T24" fmla="*/ 14 w 640"/>
                  <a:gd name="T25" fmla="*/ 10 h 552"/>
                  <a:gd name="T26" fmla="*/ 16 w 640"/>
                  <a:gd name="T27" fmla="*/ 11 h 552"/>
                  <a:gd name="T28" fmla="*/ 16 w 640"/>
                  <a:gd name="T29" fmla="*/ 11 h 552"/>
                  <a:gd name="T30" fmla="*/ 17 w 640"/>
                  <a:gd name="T31" fmla="*/ 11 h 552"/>
                  <a:gd name="T32" fmla="*/ 17 w 640"/>
                  <a:gd name="T33" fmla="*/ 9 h 552"/>
                  <a:gd name="T34" fmla="*/ 15 w 640"/>
                  <a:gd name="T35" fmla="*/ 9 h 552"/>
                  <a:gd name="T36" fmla="*/ 14 w 640"/>
                  <a:gd name="T37" fmla="*/ 8 h 552"/>
                  <a:gd name="T38" fmla="*/ 15 w 640"/>
                  <a:gd name="T39" fmla="*/ 5 h 552"/>
                  <a:gd name="T40" fmla="*/ 15 w 640"/>
                  <a:gd name="T41" fmla="*/ 3 h 552"/>
                  <a:gd name="T42" fmla="*/ 15 w 640"/>
                  <a:gd name="T43" fmla="*/ 1 h 552"/>
                  <a:gd name="T44" fmla="*/ 16 w 640"/>
                  <a:gd name="T45" fmla="*/ 1 h 552"/>
                  <a:gd name="T46" fmla="*/ 19 w 640"/>
                  <a:gd name="T47" fmla="*/ 1 h 552"/>
                  <a:gd name="T48" fmla="*/ 20 w 640"/>
                  <a:gd name="T49" fmla="*/ 1 h 552"/>
                  <a:gd name="T50" fmla="*/ 21 w 640"/>
                  <a:gd name="T51" fmla="*/ 1 h 552"/>
                  <a:gd name="T52" fmla="*/ 23 w 640"/>
                  <a:gd name="T53" fmla="*/ 2 h 552"/>
                  <a:gd name="T54" fmla="*/ 24 w 640"/>
                  <a:gd name="T55" fmla="*/ 3 h 552"/>
                  <a:gd name="T56" fmla="*/ 24 w 640"/>
                  <a:gd name="T57" fmla="*/ 3 h 552"/>
                  <a:gd name="T58" fmla="*/ 25 w 640"/>
                  <a:gd name="T59" fmla="*/ 4 h 552"/>
                  <a:gd name="T60" fmla="*/ 26 w 640"/>
                  <a:gd name="T61" fmla="*/ 6 h 552"/>
                  <a:gd name="T62" fmla="*/ 25 w 640"/>
                  <a:gd name="T63" fmla="*/ 6 h 552"/>
                  <a:gd name="T64" fmla="*/ 25 w 640"/>
                  <a:gd name="T65" fmla="*/ 8 h 552"/>
                  <a:gd name="T66" fmla="*/ 25 w 640"/>
                  <a:gd name="T67" fmla="*/ 9 h 552"/>
                  <a:gd name="T68" fmla="*/ 25 w 640"/>
                  <a:gd name="T69" fmla="*/ 10 h 552"/>
                  <a:gd name="T70" fmla="*/ 24 w 640"/>
                  <a:gd name="T71" fmla="*/ 11 h 552"/>
                  <a:gd name="T72" fmla="*/ 24 w 640"/>
                  <a:gd name="T73" fmla="*/ 12 h 552"/>
                  <a:gd name="T74" fmla="*/ 24 w 640"/>
                  <a:gd name="T75" fmla="*/ 13 h 552"/>
                  <a:gd name="T76" fmla="*/ 18 w 640"/>
                  <a:gd name="T77" fmla="*/ 15 h 552"/>
                  <a:gd name="T78" fmla="*/ 18 w 640"/>
                  <a:gd name="T79" fmla="*/ 17 h 552"/>
                  <a:gd name="T80" fmla="*/ 17 w 640"/>
                  <a:gd name="T81" fmla="*/ 17 h 552"/>
                  <a:gd name="T82" fmla="*/ 15 w 640"/>
                  <a:gd name="T83" fmla="*/ 17 h 552"/>
                  <a:gd name="T84" fmla="*/ 15 w 640"/>
                  <a:gd name="T85" fmla="*/ 18 h 552"/>
                  <a:gd name="T86" fmla="*/ 15 w 640"/>
                  <a:gd name="T87" fmla="*/ 18 h 552"/>
                  <a:gd name="T88" fmla="*/ 13 w 640"/>
                  <a:gd name="T89" fmla="*/ 19 h 552"/>
                  <a:gd name="T90" fmla="*/ 13 w 640"/>
                  <a:gd name="T91" fmla="*/ 19 h 552"/>
                  <a:gd name="T92" fmla="*/ 12 w 640"/>
                  <a:gd name="T93" fmla="*/ 20 h 552"/>
                  <a:gd name="T94" fmla="*/ 11 w 640"/>
                  <a:gd name="T95" fmla="*/ 21 h 552"/>
                  <a:gd name="T96" fmla="*/ 11 w 640"/>
                  <a:gd name="T97" fmla="*/ 22 h 552"/>
                  <a:gd name="T98" fmla="*/ 10 w 640"/>
                  <a:gd name="T99" fmla="*/ 22 h 552"/>
                  <a:gd name="T100" fmla="*/ 8 w 640"/>
                  <a:gd name="T101" fmla="*/ 22 h 552"/>
                  <a:gd name="T102" fmla="*/ 7 w 640"/>
                  <a:gd name="T103" fmla="*/ 21 h 552"/>
                  <a:gd name="T104" fmla="*/ 6 w 640"/>
                  <a:gd name="T105" fmla="*/ 21 h 552"/>
                  <a:gd name="T106" fmla="*/ 3 w 640"/>
                  <a:gd name="T107" fmla="*/ 21 h 552"/>
                  <a:gd name="T108" fmla="*/ 2 w 640"/>
                  <a:gd name="T109" fmla="*/ 20 h 552"/>
                  <a:gd name="T110" fmla="*/ 0 w 640"/>
                  <a:gd name="T111" fmla="*/ 19 h 552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640"/>
                  <a:gd name="T169" fmla="*/ 0 h 552"/>
                  <a:gd name="T170" fmla="*/ 640 w 640"/>
                  <a:gd name="T171" fmla="*/ 552 h 552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640" h="552">
                    <a:moveTo>
                      <a:pt x="0" y="468"/>
                    </a:moveTo>
                    <a:lnTo>
                      <a:pt x="0" y="430"/>
                    </a:lnTo>
                    <a:lnTo>
                      <a:pt x="0" y="376"/>
                    </a:lnTo>
                    <a:lnTo>
                      <a:pt x="0" y="320"/>
                    </a:lnTo>
                    <a:lnTo>
                      <a:pt x="0" y="266"/>
                    </a:lnTo>
                    <a:lnTo>
                      <a:pt x="60" y="266"/>
                    </a:lnTo>
                    <a:lnTo>
                      <a:pt x="119" y="266"/>
                    </a:lnTo>
                    <a:lnTo>
                      <a:pt x="110" y="264"/>
                    </a:lnTo>
                    <a:lnTo>
                      <a:pt x="107" y="260"/>
                    </a:lnTo>
                    <a:lnTo>
                      <a:pt x="105" y="256"/>
                    </a:lnTo>
                    <a:lnTo>
                      <a:pt x="105" y="241"/>
                    </a:lnTo>
                    <a:lnTo>
                      <a:pt x="108" y="232"/>
                    </a:lnTo>
                    <a:lnTo>
                      <a:pt x="109" y="218"/>
                    </a:lnTo>
                    <a:lnTo>
                      <a:pt x="108" y="204"/>
                    </a:lnTo>
                    <a:lnTo>
                      <a:pt x="110" y="191"/>
                    </a:lnTo>
                    <a:lnTo>
                      <a:pt x="110" y="179"/>
                    </a:lnTo>
                    <a:lnTo>
                      <a:pt x="113" y="173"/>
                    </a:lnTo>
                    <a:lnTo>
                      <a:pt x="113" y="168"/>
                    </a:lnTo>
                    <a:lnTo>
                      <a:pt x="112" y="158"/>
                    </a:lnTo>
                    <a:lnTo>
                      <a:pt x="113" y="156"/>
                    </a:lnTo>
                    <a:lnTo>
                      <a:pt x="114" y="155"/>
                    </a:lnTo>
                    <a:lnTo>
                      <a:pt x="114" y="151"/>
                    </a:lnTo>
                    <a:lnTo>
                      <a:pt x="110" y="147"/>
                    </a:lnTo>
                    <a:lnTo>
                      <a:pt x="120" y="145"/>
                    </a:lnTo>
                    <a:lnTo>
                      <a:pt x="124" y="145"/>
                    </a:lnTo>
                    <a:lnTo>
                      <a:pt x="126" y="146"/>
                    </a:lnTo>
                    <a:lnTo>
                      <a:pt x="132" y="156"/>
                    </a:lnTo>
                    <a:lnTo>
                      <a:pt x="132" y="168"/>
                    </a:lnTo>
                    <a:lnTo>
                      <a:pt x="134" y="173"/>
                    </a:lnTo>
                    <a:lnTo>
                      <a:pt x="137" y="173"/>
                    </a:lnTo>
                    <a:lnTo>
                      <a:pt x="151" y="167"/>
                    </a:lnTo>
                    <a:lnTo>
                      <a:pt x="156" y="166"/>
                    </a:lnTo>
                    <a:lnTo>
                      <a:pt x="162" y="166"/>
                    </a:lnTo>
                    <a:lnTo>
                      <a:pt x="173" y="161"/>
                    </a:lnTo>
                    <a:lnTo>
                      <a:pt x="179" y="169"/>
                    </a:lnTo>
                    <a:lnTo>
                      <a:pt x="183" y="178"/>
                    </a:lnTo>
                    <a:lnTo>
                      <a:pt x="188" y="184"/>
                    </a:lnTo>
                    <a:lnTo>
                      <a:pt x="201" y="190"/>
                    </a:lnTo>
                    <a:lnTo>
                      <a:pt x="213" y="198"/>
                    </a:lnTo>
                    <a:lnTo>
                      <a:pt x="231" y="205"/>
                    </a:lnTo>
                    <a:lnTo>
                      <a:pt x="243" y="206"/>
                    </a:lnTo>
                    <a:lnTo>
                      <a:pt x="252" y="204"/>
                    </a:lnTo>
                    <a:lnTo>
                      <a:pt x="264" y="199"/>
                    </a:lnTo>
                    <a:lnTo>
                      <a:pt x="274" y="196"/>
                    </a:lnTo>
                    <a:lnTo>
                      <a:pt x="279" y="198"/>
                    </a:lnTo>
                    <a:lnTo>
                      <a:pt x="298" y="216"/>
                    </a:lnTo>
                    <a:lnTo>
                      <a:pt x="312" y="222"/>
                    </a:lnTo>
                    <a:lnTo>
                      <a:pt x="323" y="226"/>
                    </a:lnTo>
                    <a:lnTo>
                      <a:pt x="334" y="227"/>
                    </a:lnTo>
                    <a:lnTo>
                      <a:pt x="341" y="233"/>
                    </a:lnTo>
                    <a:lnTo>
                      <a:pt x="346" y="245"/>
                    </a:lnTo>
                    <a:lnTo>
                      <a:pt x="350" y="252"/>
                    </a:lnTo>
                    <a:lnTo>
                      <a:pt x="363" y="264"/>
                    </a:lnTo>
                    <a:lnTo>
                      <a:pt x="377" y="272"/>
                    </a:lnTo>
                    <a:lnTo>
                      <a:pt x="387" y="276"/>
                    </a:lnTo>
                    <a:lnTo>
                      <a:pt x="397" y="277"/>
                    </a:lnTo>
                    <a:lnTo>
                      <a:pt x="400" y="277"/>
                    </a:lnTo>
                    <a:lnTo>
                      <a:pt x="406" y="275"/>
                    </a:lnTo>
                    <a:lnTo>
                      <a:pt x="410" y="274"/>
                    </a:lnTo>
                    <a:lnTo>
                      <a:pt x="411" y="275"/>
                    </a:lnTo>
                    <a:lnTo>
                      <a:pt x="416" y="282"/>
                    </a:lnTo>
                    <a:lnTo>
                      <a:pt x="420" y="283"/>
                    </a:lnTo>
                    <a:lnTo>
                      <a:pt x="424" y="283"/>
                    </a:lnTo>
                    <a:lnTo>
                      <a:pt x="426" y="281"/>
                    </a:lnTo>
                    <a:lnTo>
                      <a:pt x="426" y="274"/>
                    </a:lnTo>
                    <a:lnTo>
                      <a:pt x="425" y="266"/>
                    </a:lnTo>
                    <a:lnTo>
                      <a:pt x="424" y="231"/>
                    </a:lnTo>
                    <a:lnTo>
                      <a:pt x="421" y="223"/>
                    </a:lnTo>
                    <a:lnTo>
                      <a:pt x="415" y="222"/>
                    </a:lnTo>
                    <a:lnTo>
                      <a:pt x="406" y="227"/>
                    </a:lnTo>
                    <a:lnTo>
                      <a:pt x="395" y="225"/>
                    </a:lnTo>
                    <a:lnTo>
                      <a:pt x="383" y="225"/>
                    </a:lnTo>
                    <a:lnTo>
                      <a:pt x="376" y="220"/>
                    </a:lnTo>
                    <a:lnTo>
                      <a:pt x="366" y="207"/>
                    </a:lnTo>
                    <a:lnTo>
                      <a:pt x="360" y="201"/>
                    </a:lnTo>
                    <a:lnTo>
                      <a:pt x="358" y="199"/>
                    </a:lnTo>
                    <a:lnTo>
                      <a:pt x="357" y="189"/>
                    </a:lnTo>
                    <a:lnTo>
                      <a:pt x="360" y="182"/>
                    </a:lnTo>
                    <a:lnTo>
                      <a:pt x="362" y="170"/>
                    </a:lnTo>
                    <a:lnTo>
                      <a:pt x="377" y="131"/>
                    </a:lnTo>
                    <a:lnTo>
                      <a:pt x="378" y="124"/>
                    </a:lnTo>
                    <a:lnTo>
                      <a:pt x="379" y="99"/>
                    </a:lnTo>
                    <a:lnTo>
                      <a:pt x="377" y="85"/>
                    </a:lnTo>
                    <a:lnTo>
                      <a:pt x="370" y="66"/>
                    </a:lnTo>
                    <a:lnTo>
                      <a:pt x="370" y="56"/>
                    </a:lnTo>
                    <a:lnTo>
                      <a:pt x="372" y="53"/>
                    </a:lnTo>
                    <a:lnTo>
                      <a:pt x="374" y="44"/>
                    </a:lnTo>
                    <a:lnTo>
                      <a:pt x="379" y="37"/>
                    </a:lnTo>
                    <a:lnTo>
                      <a:pt x="387" y="23"/>
                    </a:lnTo>
                    <a:lnTo>
                      <a:pt x="389" y="21"/>
                    </a:lnTo>
                    <a:lnTo>
                      <a:pt x="394" y="17"/>
                    </a:lnTo>
                    <a:lnTo>
                      <a:pt x="397" y="17"/>
                    </a:lnTo>
                    <a:lnTo>
                      <a:pt x="406" y="13"/>
                    </a:lnTo>
                    <a:lnTo>
                      <a:pt x="468" y="0"/>
                    </a:lnTo>
                    <a:lnTo>
                      <a:pt x="471" y="6"/>
                    </a:lnTo>
                    <a:lnTo>
                      <a:pt x="470" y="13"/>
                    </a:lnTo>
                    <a:lnTo>
                      <a:pt x="471" y="22"/>
                    </a:lnTo>
                    <a:lnTo>
                      <a:pt x="475" y="23"/>
                    </a:lnTo>
                    <a:lnTo>
                      <a:pt x="483" y="24"/>
                    </a:lnTo>
                    <a:lnTo>
                      <a:pt x="494" y="33"/>
                    </a:lnTo>
                    <a:lnTo>
                      <a:pt x="502" y="22"/>
                    </a:lnTo>
                    <a:lnTo>
                      <a:pt x="508" y="21"/>
                    </a:lnTo>
                    <a:lnTo>
                      <a:pt x="516" y="23"/>
                    </a:lnTo>
                    <a:lnTo>
                      <a:pt x="526" y="32"/>
                    </a:lnTo>
                    <a:lnTo>
                      <a:pt x="530" y="39"/>
                    </a:lnTo>
                    <a:lnTo>
                      <a:pt x="538" y="43"/>
                    </a:lnTo>
                    <a:lnTo>
                      <a:pt x="546" y="45"/>
                    </a:lnTo>
                    <a:lnTo>
                      <a:pt x="575" y="57"/>
                    </a:lnTo>
                    <a:lnTo>
                      <a:pt x="586" y="61"/>
                    </a:lnTo>
                    <a:lnTo>
                      <a:pt x="597" y="61"/>
                    </a:lnTo>
                    <a:lnTo>
                      <a:pt x="599" y="64"/>
                    </a:lnTo>
                    <a:lnTo>
                      <a:pt x="603" y="67"/>
                    </a:lnTo>
                    <a:lnTo>
                      <a:pt x="602" y="70"/>
                    </a:lnTo>
                    <a:lnTo>
                      <a:pt x="602" y="75"/>
                    </a:lnTo>
                    <a:lnTo>
                      <a:pt x="603" y="76"/>
                    </a:lnTo>
                    <a:lnTo>
                      <a:pt x="605" y="82"/>
                    </a:lnTo>
                    <a:lnTo>
                      <a:pt x="614" y="82"/>
                    </a:lnTo>
                    <a:lnTo>
                      <a:pt x="621" y="91"/>
                    </a:lnTo>
                    <a:lnTo>
                      <a:pt x="623" y="96"/>
                    </a:lnTo>
                    <a:lnTo>
                      <a:pt x="626" y="107"/>
                    </a:lnTo>
                    <a:lnTo>
                      <a:pt x="632" y="112"/>
                    </a:lnTo>
                    <a:lnTo>
                      <a:pt x="635" y="130"/>
                    </a:lnTo>
                    <a:lnTo>
                      <a:pt x="639" y="132"/>
                    </a:lnTo>
                    <a:lnTo>
                      <a:pt x="640" y="139"/>
                    </a:lnTo>
                    <a:lnTo>
                      <a:pt x="640" y="142"/>
                    </a:lnTo>
                    <a:lnTo>
                      <a:pt x="631" y="147"/>
                    </a:lnTo>
                    <a:lnTo>
                      <a:pt x="629" y="148"/>
                    </a:lnTo>
                    <a:lnTo>
                      <a:pt x="625" y="151"/>
                    </a:lnTo>
                    <a:lnTo>
                      <a:pt x="624" y="161"/>
                    </a:lnTo>
                    <a:lnTo>
                      <a:pt x="625" y="169"/>
                    </a:lnTo>
                    <a:lnTo>
                      <a:pt x="619" y="186"/>
                    </a:lnTo>
                    <a:lnTo>
                      <a:pt x="620" y="194"/>
                    </a:lnTo>
                    <a:lnTo>
                      <a:pt x="621" y="209"/>
                    </a:lnTo>
                    <a:lnTo>
                      <a:pt x="619" y="223"/>
                    </a:lnTo>
                    <a:lnTo>
                      <a:pt x="620" y="226"/>
                    </a:lnTo>
                    <a:lnTo>
                      <a:pt x="624" y="231"/>
                    </a:lnTo>
                    <a:lnTo>
                      <a:pt x="629" y="233"/>
                    </a:lnTo>
                    <a:lnTo>
                      <a:pt x="630" y="239"/>
                    </a:lnTo>
                    <a:lnTo>
                      <a:pt x="627" y="242"/>
                    </a:lnTo>
                    <a:lnTo>
                      <a:pt x="619" y="243"/>
                    </a:lnTo>
                    <a:lnTo>
                      <a:pt x="613" y="248"/>
                    </a:lnTo>
                    <a:lnTo>
                      <a:pt x="608" y="249"/>
                    </a:lnTo>
                    <a:lnTo>
                      <a:pt x="607" y="250"/>
                    </a:lnTo>
                    <a:lnTo>
                      <a:pt x="603" y="265"/>
                    </a:lnTo>
                    <a:lnTo>
                      <a:pt x="603" y="280"/>
                    </a:lnTo>
                    <a:lnTo>
                      <a:pt x="598" y="295"/>
                    </a:lnTo>
                    <a:lnTo>
                      <a:pt x="591" y="302"/>
                    </a:lnTo>
                    <a:lnTo>
                      <a:pt x="589" y="306"/>
                    </a:lnTo>
                    <a:lnTo>
                      <a:pt x="592" y="314"/>
                    </a:lnTo>
                    <a:lnTo>
                      <a:pt x="597" y="315"/>
                    </a:lnTo>
                    <a:lnTo>
                      <a:pt x="600" y="323"/>
                    </a:lnTo>
                    <a:lnTo>
                      <a:pt x="608" y="322"/>
                    </a:lnTo>
                    <a:lnTo>
                      <a:pt x="612" y="324"/>
                    </a:lnTo>
                    <a:lnTo>
                      <a:pt x="612" y="325"/>
                    </a:lnTo>
                    <a:lnTo>
                      <a:pt x="603" y="326"/>
                    </a:lnTo>
                    <a:lnTo>
                      <a:pt x="438" y="383"/>
                    </a:lnTo>
                    <a:lnTo>
                      <a:pt x="446" y="399"/>
                    </a:lnTo>
                    <a:lnTo>
                      <a:pt x="448" y="411"/>
                    </a:lnTo>
                    <a:lnTo>
                      <a:pt x="453" y="414"/>
                    </a:lnTo>
                    <a:lnTo>
                      <a:pt x="452" y="416"/>
                    </a:lnTo>
                    <a:lnTo>
                      <a:pt x="444" y="415"/>
                    </a:lnTo>
                    <a:lnTo>
                      <a:pt x="436" y="417"/>
                    </a:lnTo>
                    <a:lnTo>
                      <a:pt x="430" y="416"/>
                    </a:lnTo>
                    <a:lnTo>
                      <a:pt x="424" y="414"/>
                    </a:lnTo>
                    <a:lnTo>
                      <a:pt x="420" y="414"/>
                    </a:lnTo>
                    <a:lnTo>
                      <a:pt x="408" y="420"/>
                    </a:lnTo>
                    <a:lnTo>
                      <a:pt x="392" y="421"/>
                    </a:lnTo>
                    <a:lnTo>
                      <a:pt x="385" y="425"/>
                    </a:lnTo>
                    <a:lnTo>
                      <a:pt x="378" y="432"/>
                    </a:lnTo>
                    <a:lnTo>
                      <a:pt x="372" y="432"/>
                    </a:lnTo>
                    <a:lnTo>
                      <a:pt x="366" y="435"/>
                    </a:lnTo>
                    <a:lnTo>
                      <a:pt x="365" y="442"/>
                    </a:lnTo>
                    <a:lnTo>
                      <a:pt x="365" y="451"/>
                    </a:lnTo>
                    <a:lnTo>
                      <a:pt x="366" y="455"/>
                    </a:lnTo>
                    <a:lnTo>
                      <a:pt x="365" y="459"/>
                    </a:lnTo>
                    <a:lnTo>
                      <a:pt x="363" y="464"/>
                    </a:lnTo>
                    <a:lnTo>
                      <a:pt x="362" y="468"/>
                    </a:lnTo>
                    <a:lnTo>
                      <a:pt x="354" y="468"/>
                    </a:lnTo>
                    <a:lnTo>
                      <a:pt x="342" y="467"/>
                    </a:lnTo>
                    <a:lnTo>
                      <a:pt x="336" y="469"/>
                    </a:lnTo>
                    <a:lnTo>
                      <a:pt x="334" y="473"/>
                    </a:lnTo>
                    <a:lnTo>
                      <a:pt x="331" y="473"/>
                    </a:lnTo>
                    <a:lnTo>
                      <a:pt x="324" y="482"/>
                    </a:lnTo>
                    <a:lnTo>
                      <a:pt x="315" y="481"/>
                    </a:lnTo>
                    <a:lnTo>
                      <a:pt x="312" y="482"/>
                    </a:lnTo>
                    <a:lnTo>
                      <a:pt x="309" y="485"/>
                    </a:lnTo>
                    <a:lnTo>
                      <a:pt x="307" y="490"/>
                    </a:lnTo>
                    <a:lnTo>
                      <a:pt x="303" y="491"/>
                    </a:lnTo>
                    <a:lnTo>
                      <a:pt x="297" y="503"/>
                    </a:lnTo>
                    <a:lnTo>
                      <a:pt x="287" y="513"/>
                    </a:lnTo>
                    <a:lnTo>
                      <a:pt x="285" y="518"/>
                    </a:lnTo>
                    <a:lnTo>
                      <a:pt x="285" y="524"/>
                    </a:lnTo>
                    <a:lnTo>
                      <a:pt x="280" y="529"/>
                    </a:lnTo>
                    <a:lnTo>
                      <a:pt x="276" y="532"/>
                    </a:lnTo>
                    <a:lnTo>
                      <a:pt x="270" y="541"/>
                    </a:lnTo>
                    <a:lnTo>
                      <a:pt x="264" y="549"/>
                    </a:lnTo>
                    <a:lnTo>
                      <a:pt x="259" y="549"/>
                    </a:lnTo>
                    <a:lnTo>
                      <a:pt x="252" y="552"/>
                    </a:lnTo>
                    <a:lnTo>
                      <a:pt x="247" y="551"/>
                    </a:lnTo>
                    <a:lnTo>
                      <a:pt x="245" y="546"/>
                    </a:lnTo>
                    <a:lnTo>
                      <a:pt x="241" y="544"/>
                    </a:lnTo>
                    <a:lnTo>
                      <a:pt x="233" y="545"/>
                    </a:lnTo>
                    <a:lnTo>
                      <a:pt x="228" y="544"/>
                    </a:lnTo>
                    <a:lnTo>
                      <a:pt x="211" y="546"/>
                    </a:lnTo>
                    <a:lnTo>
                      <a:pt x="198" y="541"/>
                    </a:lnTo>
                    <a:lnTo>
                      <a:pt x="179" y="543"/>
                    </a:lnTo>
                    <a:lnTo>
                      <a:pt x="174" y="543"/>
                    </a:lnTo>
                    <a:lnTo>
                      <a:pt x="172" y="539"/>
                    </a:lnTo>
                    <a:lnTo>
                      <a:pt x="164" y="537"/>
                    </a:lnTo>
                    <a:lnTo>
                      <a:pt x="157" y="524"/>
                    </a:lnTo>
                    <a:lnTo>
                      <a:pt x="153" y="521"/>
                    </a:lnTo>
                    <a:lnTo>
                      <a:pt x="139" y="518"/>
                    </a:lnTo>
                    <a:lnTo>
                      <a:pt x="118" y="518"/>
                    </a:lnTo>
                    <a:lnTo>
                      <a:pt x="115" y="514"/>
                    </a:lnTo>
                    <a:lnTo>
                      <a:pt x="72" y="525"/>
                    </a:lnTo>
                    <a:lnTo>
                      <a:pt x="65" y="527"/>
                    </a:lnTo>
                    <a:lnTo>
                      <a:pt x="57" y="522"/>
                    </a:lnTo>
                    <a:lnTo>
                      <a:pt x="53" y="516"/>
                    </a:lnTo>
                    <a:lnTo>
                      <a:pt x="44" y="512"/>
                    </a:lnTo>
                    <a:lnTo>
                      <a:pt x="40" y="507"/>
                    </a:lnTo>
                    <a:lnTo>
                      <a:pt x="30" y="498"/>
                    </a:lnTo>
                    <a:lnTo>
                      <a:pt x="24" y="491"/>
                    </a:lnTo>
                    <a:lnTo>
                      <a:pt x="11" y="482"/>
                    </a:lnTo>
                    <a:lnTo>
                      <a:pt x="7" y="475"/>
                    </a:lnTo>
                    <a:lnTo>
                      <a:pt x="0" y="469"/>
                    </a:lnTo>
                    <a:lnTo>
                      <a:pt x="0" y="46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68" name="Freeform 34">
                <a:extLst>
                  <a:ext uri="{FF2B5EF4-FFF2-40B4-BE49-F238E27FC236}">
                    <a16:creationId xmlns:a16="http://schemas.microsoft.com/office/drawing/2014/main" id="{72C13060-8D89-7E69-59D6-1863F6F7D8F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792" y="2659"/>
                <a:ext cx="85" cy="81"/>
              </a:xfrm>
              <a:custGeom>
                <a:avLst/>
                <a:gdLst>
                  <a:gd name="T0" fmla="*/ 8 w 428"/>
                  <a:gd name="T1" fmla="*/ 2 h 405"/>
                  <a:gd name="T2" fmla="*/ 8 w 428"/>
                  <a:gd name="T3" fmla="*/ 3 h 405"/>
                  <a:gd name="T4" fmla="*/ 8 w 428"/>
                  <a:gd name="T5" fmla="*/ 3 h 405"/>
                  <a:gd name="T6" fmla="*/ 7 w 428"/>
                  <a:gd name="T7" fmla="*/ 3 h 405"/>
                  <a:gd name="T8" fmla="*/ 7 w 428"/>
                  <a:gd name="T9" fmla="*/ 3 h 405"/>
                  <a:gd name="T10" fmla="*/ 7 w 428"/>
                  <a:gd name="T11" fmla="*/ 3 h 405"/>
                  <a:gd name="T12" fmla="*/ 7 w 428"/>
                  <a:gd name="T13" fmla="*/ 3 h 405"/>
                  <a:gd name="T14" fmla="*/ 6 w 428"/>
                  <a:gd name="T15" fmla="*/ 3 h 405"/>
                  <a:gd name="T16" fmla="*/ 6 w 428"/>
                  <a:gd name="T17" fmla="*/ 3 h 405"/>
                  <a:gd name="T18" fmla="*/ 6 w 428"/>
                  <a:gd name="T19" fmla="*/ 3 h 405"/>
                  <a:gd name="T20" fmla="*/ 6 w 428"/>
                  <a:gd name="T21" fmla="*/ 3 h 405"/>
                  <a:gd name="T22" fmla="*/ 6 w 428"/>
                  <a:gd name="T23" fmla="*/ 4 h 405"/>
                  <a:gd name="T24" fmla="*/ 5 w 428"/>
                  <a:gd name="T25" fmla="*/ 4 h 405"/>
                  <a:gd name="T26" fmla="*/ 5 w 428"/>
                  <a:gd name="T27" fmla="*/ 4 h 405"/>
                  <a:gd name="T28" fmla="*/ 5 w 428"/>
                  <a:gd name="T29" fmla="*/ 5 h 405"/>
                  <a:gd name="T30" fmla="*/ 4 w 428"/>
                  <a:gd name="T31" fmla="*/ 5 h 405"/>
                  <a:gd name="T32" fmla="*/ 4 w 428"/>
                  <a:gd name="T33" fmla="*/ 5 h 405"/>
                  <a:gd name="T34" fmla="*/ 3 w 428"/>
                  <a:gd name="T35" fmla="*/ 6 h 405"/>
                  <a:gd name="T36" fmla="*/ 3 w 428"/>
                  <a:gd name="T37" fmla="*/ 5 h 405"/>
                  <a:gd name="T38" fmla="*/ 2 w 428"/>
                  <a:gd name="T39" fmla="*/ 5 h 405"/>
                  <a:gd name="T40" fmla="*/ 2 w 428"/>
                  <a:gd name="T41" fmla="*/ 5 h 405"/>
                  <a:gd name="T42" fmla="*/ 0 w 428"/>
                  <a:gd name="T43" fmla="*/ 5 h 405"/>
                  <a:gd name="T44" fmla="*/ 0 w 428"/>
                  <a:gd name="T45" fmla="*/ 5 h 405"/>
                  <a:gd name="T46" fmla="*/ 0 w 428"/>
                  <a:gd name="T47" fmla="*/ 6 h 405"/>
                  <a:gd name="T48" fmla="*/ 1 w 428"/>
                  <a:gd name="T49" fmla="*/ 7 h 405"/>
                  <a:gd name="T50" fmla="*/ 1 w 428"/>
                  <a:gd name="T51" fmla="*/ 8 h 405"/>
                  <a:gd name="T52" fmla="*/ 3 w 428"/>
                  <a:gd name="T53" fmla="*/ 10 h 405"/>
                  <a:gd name="T54" fmla="*/ 4 w 428"/>
                  <a:gd name="T55" fmla="*/ 10 h 405"/>
                  <a:gd name="T56" fmla="*/ 5 w 428"/>
                  <a:gd name="T57" fmla="*/ 11 h 405"/>
                  <a:gd name="T58" fmla="*/ 6 w 428"/>
                  <a:gd name="T59" fmla="*/ 12 h 405"/>
                  <a:gd name="T60" fmla="*/ 6 w 428"/>
                  <a:gd name="T61" fmla="*/ 14 h 405"/>
                  <a:gd name="T62" fmla="*/ 7 w 428"/>
                  <a:gd name="T63" fmla="*/ 14 h 405"/>
                  <a:gd name="T64" fmla="*/ 8 w 428"/>
                  <a:gd name="T65" fmla="*/ 14 h 405"/>
                  <a:gd name="T66" fmla="*/ 9 w 428"/>
                  <a:gd name="T67" fmla="*/ 15 h 405"/>
                  <a:gd name="T68" fmla="*/ 9 w 428"/>
                  <a:gd name="T69" fmla="*/ 15 h 405"/>
                  <a:gd name="T70" fmla="*/ 11 w 428"/>
                  <a:gd name="T71" fmla="*/ 15 h 405"/>
                  <a:gd name="T72" fmla="*/ 12 w 428"/>
                  <a:gd name="T73" fmla="*/ 15 h 405"/>
                  <a:gd name="T74" fmla="*/ 13 w 428"/>
                  <a:gd name="T75" fmla="*/ 16 h 405"/>
                  <a:gd name="T76" fmla="*/ 14 w 428"/>
                  <a:gd name="T77" fmla="*/ 16 h 405"/>
                  <a:gd name="T78" fmla="*/ 14 w 428"/>
                  <a:gd name="T79" fmla="*/ 16 h 405"/>
                  <a:gd name="T80" fmla="*/ 14 w 428"/>
                  <a:gd name="T81" fmla="*/ 15 h 405"/>
                  <a:gd name="T82" fmla="*/ 15 w 428"/>
                  <a:gd name="T83" fmla="*/ 14 h 405"/>
                  <a:gd name="T84" fmla="*/ 16 w 428"/>
                  <a:gd name="T85" fmla="*/ 13 h 405"/>
                  <a:gd name="T86" fmla="*/ 17 w 428"/>
                  <a:gd name="T87" fmla="*/ 10 h 405"/>
                  <a:gd name="T88" fmla="*/ 16 w 428"/>
                  <a:gd name="T89" fmla="*/ 8 h 405"/>
                  <a:gd name="T90" fmla="*/ 17 w 428"/>
                  <a:gd name="T91" fmla="*/ 7 h 405"/>
                  <a:gd name="T92" fmla="*/ 17 w 428"/>
                  <a:gd name="T93" fmla="*/ 6 h 405"/>
                  <a:gd name="T94" fmla="*/ 17 w 428"/>
                  <a:gd name="T95" fmla="*/ 4 h 405"/>
                  <a:gd name="T96" fmla="*/ 16 w 428"/>
                  <a:gd name="T97" fmla="*/ 3 h 405"/>
                  <a:gd name="T98" fmla="*/ 16 w 428"/>
                  <a:gd name="T99" fmla="*/ 2 h 405"/>
                  <a:gd name="T100" fmla="*/ 14 w 428"/>
                  <a:gd name="T101" fmla="*/ 1 h 405"/>
                  <a:gd name="T102" fmla="*/ 13 w 428"/>
                  <a:gd name="T103" fmla="*/ 1 h 405"/>
                  <a:gd name="T104" fmla="*/ 11 w 428"/>
                  <a:gd name="T105" fmla="*/ 1 h 405"/>
                  <a:gd name="T106" fmla="*/ 11 w 428"/>
                  <a:gd name="T107" fmla="*/ 0 h 405"/>
                  <a:gd name="T108" fmla="*/ 10 w 428"/>
                  <a:gd name="T109" fmla="*/ 0 h 405"/>
                  <a:gd name="T110" fmla="*/ 10 w 428"/>
                  <a:gd name="T111" fmla="*/ 0 h 405"/>
                  <a:gd name="T112" fmla="*/ 9 w 428"/>
                  <a:gd name="T113" fmla="*/ 0 h 405"/>
                  <a:gd name="T114" fmla="*/ 8 w 428"/>
                  <a:gd name="T115" fmla="*/ 0 h 405"/>
                  <a:gd name="T116" fmla="*/ 8 w 428"/>
                  <a:gd name="T117" fmla="*/ 1 h 405"/>
                  <a:gd name="T118" fmla="*/ 8 w 428"/>
                  <a:gd name="T119" fmla="*/ 1 h 405"/>
                  <a:gd name="T120" fmla="*/ 8 w 428"/>
                  <a:gd name="T121" fmla="*/ 2 h 405"/>
                  <a:gd name="T122" fmla="*/ 8 w 428"/>
                  <a:gd name="T123" fmla="*/ 2 h 40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428"/>
                  <a:gd name="T187" fmla="*/ 0 h 405"/>
                  <a:gd name="T188" fmla="*/ 428 w 428"/>
                  <a:gd name="T189" fmla="*/ 405 h 405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428" h="405">
                    <a:moveTo>
                      <a:pt x="190" y="54"/>
                    </a:moveTo>
                    <a:lnTo>
                      <a:pt x="202" y="60"/>
                    </a:lnTo>
                    <a:lnTo>
                      <a:pt x="202" y="64"/>
                    </a:lnTo>
                    <a:lnTo>
                      <a:pt x="198" y="66"/>
                    </a:lnTo>
                    <a:lnTo>
                      <a:pt x="195" y="70"/>
                    </a:lnTo>
                    <a:lnTo>
                      <a:pt x="193" y="70"/>
                    </a:lnTo>
                    <a:lnTo>
                      <a:pt x="184" y="66"/>
                    </a:lnTo>
                    <a:lnTo>
                      <a:pt x="179" y="66"/>
                    </a:lnTo>
                    <a:lnTo>
                      <a:pt x="177" y="67"/>
                    </a:lnTo>
                    <a:lnTo>
                      <a:pt x="175" y="71"/>
                    </a:lnTo>
                    <a:lnTo>
                      <a:pt x="172" y="72"/>
                    </a:lnTo>
                    <a:lnTo>
                      <a:pt x="169" y="70"/>
                    </a:lnTo>
                    <a:lnTo>
                      <a:pt x="167" y="70"/>
                    </a:lnTo>
                    <a:lnTo>
                      <a:pt x="164" y="72"/>
                    </a:lnTo>
                    <a:lnTo>
                      <a:pt x="159" y="75"/>
                    </a:lnTo>
                    <a:lnTo>
                      <a:pt x="156" y="78"/>
                    </a:lnTo>
                    <a:lnTo>
                      <a:pt x="155" y="81"/>
                    </a:lnTo>
                    <a:lnTo>
                      <a:pt x="156" y="83"/>
                    </a:lnTo>
                    <a:lnTo>
                      <a:pt x="155" y="84"/>
                    </a:lnTo>
                    <a:lnTo>
                      <a:pt x="153" y="86"/>
                    </a:lnTo>
                    <a:lnTo>
                      <a:pt x="151" y="83"/>
                    </a:lnTo>
                    <a:lnTo>
                      <a:pt x="143" y="87"/>
                    </a:lnTo>
                    <a:lnTo>
                      <a:pt x="140" y="91"/>
                    </a:lnTo>
                    <a:lnTo>
                      <a:pt x="140" y="93"/>
                    </a:lnTo>
                    <a:lnTo>
                      <a:pt x="135" y="96"/>
                    </a:lnTo>
                    <a:lnTo>
                      <a:pt x="130" y="100"/>
                    </a:lnTo>
                    <a:lnTo>
                      <a:pt x="126" y="107"/>
                    </a:lnTo>
                    <a:lnTo>
                      <a:pt x="121" y="110"/>
                    </a:lnTo>
                    <a:lnTo>
                      <a:pt x="121" y="113"/>
                    </a:lnTo>
                    <a:lnTo>
                      <a:pt x="115" y="115"/>
                    </a:lnTo>
                    <a:lnTo>
                      <a:pt x="110" y="123"/>
                    </a:lnTo>
                    <a:lnTo>
                      <a:pt x="103" y="129"/>
                    </a:lnTo>
                    <a:lnTo>
                      <a:pt x="98" y="127"/>
                    </a:lnTo>
                    <a:lnTo>
                      <a:pt x="92" y="135"/>
                    </a:lnTo>
                    <a:lnTo>
                      <a:pt x="87" y="135"/>
                    </a:lnTo>
                    <a:lnTo>
                      <a:pt x="80" y="138"/>
                    </a:lnTo>
                    <a:lnTo>
                      <a:pt x="75" y="137"/>
                    </a:lnTo>
                    <a:lnTo>
                      <a:pt x="73" y="132"/>
                    </a:lnTo>
                    <a:lnTo>
                      <a:pt x="69" y="130"/>
                    </a:lnTo>
                    <a:lnTo>
                      <a:pt x="61" y="131"/>
                    </a:lnTo>
                    <a:lnTo>
                      <a:pt x="56" y="130"/>
                    </a:lnTo>
                    <a:lnTo>
                      <a:pt x="39" y="132"/>
                    </a:lnTo>
                    <a:lnTo>
                      <a:pt x="26" y="127"/>
                    </a:lnTo>
                    <a:lnTo>
                      <a:pt x="7" y="129"/>
                    </a:lnTo>
                    <a:lnTo>
                      <a:pt x="2" y="129"/>
                    </a:lnTo>
                    <a:lnTo>
                      <a:pt x="0" y="125"/>
                    </a:lnTo>
                    <a:lnTo>
                      <a:pt x="0" y="134"/>
                    </a:lnTo>
                    <a:lnTo>
                      <a:pt x="3" y="140"/>
                    </a:lnTo>
                    <a:lnTo>
                      <a:pt x="16" y="162"/>
                    </a:lnTo>
                    <a:lnTo>
                      <a:pt x="27" y="172"/>
                    </a:lnTo>
                    <a:lnTo>
                      <a:pt x="28" y="183"/>
                    </a:lnTo>
                    <a:lnTo>
                      <a:pt x="35" y="197"/>
                    </a:lnTo>
                    <a:lnTo>
                      <a:pt x="48" y="216"/>
                    </a:lnTo>
                    <a:lnTo>
                      <a:pt x="77" y="247"/>
                    </a:lnTo>
                    <a:lnTo>
                      <a:pt x="94" y="250"/>
                    </a:lnTo>
                    <a:lnTo>
                      <a:pt x="107" y="260"/>
                    </a:lnTo>
                    <a:lnTo>
                      <a:pt x="116" y="274"/>
                    </a:lnTo>
                    <a:lnTo>
                      <a:pt x="129" y="279"/>
                    </a:lnTo>
                    <a:lnTo>
                      <a:pt x="140" y="287"/>
                    </a:lnTo>
                    <a:lnTo>
                      <a:pt x="140" y="308"/>
                    </a:lnTo>
                    <a:lnTo>
                      <a:pt x="143" y="328"/>
                    </a:lnTo>
                    <a:lnTo>
                      <a:pt x="150" y="341"/>
                    </a:lnTo>
                    <a:lnTo>
                      <a:pt x="158" y="350"/>
                    </a:lnTo>
                    <a:lnTo>
                      <a:pt x="167" y="355"/>
                    </a:lnTo>
                    <a:lnTo>
                      <a:pt x="180" y="357"/>
                    </a:lnTo>
                    <a:lnTo>
                      <a:pt x="193" y="357"/>
                    </a:lnTo>
                    <a:lnTo>
                      <a:pt x="206" y="363"/>
                    </a:lnTo>
                    <a:lnTo>
                      <a:pt x="216" y="367"/>
                    </a:lnTo>
                    <a:lnTo>
                      <a:pt x="227" y="376"/>
                    </a:lnTo>
                    <a:lnTo>
                      <a:pt x="239" y="371"/>
                    </a:lnTo>
                    <a:lnTo>
                      <a:pt x="248" y="373"/>
                    </a:lnTo>
                    <a:lnTo>
                      <a:pt x="271" y="380"/>
                    </a:lnTo>
                    <a:lnTo>
                      <a:pt x="283" y="383"/>
                    </a:lnTo>
                    <a:lnTo>
                      <a:pt x="296" y="380"/>
                    </a:lnTo>
                    <a:lnTo>
                      <a:pt x="308" y="382"/>
                    </a:lnTo>
                    <a:lnTo>
                      <a:pt x="329" y="388"/>
                    </a:lnTo>
                    <a:lnTo>
                      <a:pt x="344" y="403"/>
                    </a:lnTo>
                    <a:lnTo>
                      <a:pt x="349" y="404"/>
                    </a:lnTo>
                    <a:lnTo>
                      <a:pt x="350" y="405"/>
                    </a:lnTo>
                    <a:lnTo>
                      <a:pt x="351" y="404"/>
                    </a:lnTo>
                    <a:lnTo>
                      <a:pt x="351" y="389"/>
                    </a:lnTo>
                    <a:lnTo>
                      <a:pt x="355" y="377"/>
                    </a:lnTo>
                    <a:lnTo>
                      <a:pt x="361" y="367"/>
                    </a:lnTo>
                    <a:lnTo>
                      <a:pt x="372" y="360"/>
                    </a:lnTo>
                    <a:lnTo>
                      <a:pt x="379" y="352"/>
                    </a:lnTo>
                    <a:lnTo>
                      <a:pt x="398" y="318"/>
                    </a:lnTo>
                    <a:lnTo>
                      <a:pt x="405" y="287"/>
                    </a:lnTo>
                    <a:lnTo>
                      <a:pt x="422" y="251"/>
                    </a:lnTo>
                    <a:lnTo>
                      <a:pt x="419" y="224"/>
                    </a:lnTo>
                    <a:lnTo>
                      <a:pt x="414" y="211"/>
                    </a:lnTo>
                    <a:lnTo>
                      <a:pt x="412" y="194"/>
                    </a:lnTo>
                    <a:lnTo>
                      <a:pt x="422" y="175"/>
                    </a:lnTo>
                    <a:lnTo>
                      <a:pt x="424" y="167"/>
                    </a:lnTo>
                    <a:lnTo>
                      <a:pt x="428" y="151"/>
                    </a:lnTo>
                    <a:lnTo>
                      <a:pt x="427" y="140"/>
                    </a:lnTo>
                    <a:lnTo>
                      <a:pt x="428" y="105"/>
                    </a:lnTo>
                    <a:lnTo>
                      <a:pt x="424" y="83"/>
                    </a:lnTo>
                    <a:lnTo>
                      <a:pt x="420" y="73"/>
                    </a:lnTo>
                    <a:lnTo>
                      <a:pt x="419" y="60"/>
                    </a:lnTo>
                    <a:lnTo>
                      <a:pt x="410" y="50"/>
                    </a:lnTo>
                    <a:lnTo>
                      <a:pt x="379" y="39"/>
                    </a:lnTo>
                    <a:lnTo>
                      <a:pt x="351" y="27"/>
                    </a:lnTo>
                    <a:lnTo>
                      <a:pt x="336" y="23"/>
                    </a:lnTo>
                    <a:lnTo>
                      <a:pt x="322" y="19"/>
                    </a:lnTo>
                    <a:lnTo>
                      <a:pt x="299" y="21"/>
                    </a:lnTo>
                    <a:lnTo>
                      <a:pt x="281" y="19"/>
                    </a:lnTo>
                    <a:lnTo>
                      <a:pt x="281" y="0"/>
                    </a:lnTo>
                    <a:lnTo>
                      <a:pt x="280" y="2"/>
                    </a:lnTo>
                    <a:lnTo>
                      <a:pt x="272" y="1"/>
                    </a:lnTo>
                    <a:lnTo>
                      <a:pt x="264" y="3"/>
                    </a:lnTo>
                    <a:lnTo>
                      <a:pt x="258" y="2"/>
                    </a:lnTo>
                    <a:lnTo>
                      <a:pt x="252" y="0"/>
                    </a:lnTo>
                    <a:lnTo>
                      <a:pt x="248" y="0"/>
                    </a:lnTo>
                    <a:lnTo>
                      <a:pt x="236" y="6"/>
                    </a:lnTo>
                    <a:lnTo>
                      <a:pt x="220" y="7"/>
                    </a:lnTo>
                    <a:lnTo>
                      <a:pt x="213" y="11"/>
                    </a:lnTo>
                    <a:lnTo>
                      <a:pt x="206" y="18"/>
                    </a:lnTo>
                    <a:lnTo>
                      <a:pt x="200" y="18"/>
                    </a:lnTo>
                    <a:lnTo>
                      <a:pt x="194" y="21"/>
                    </a:lnTo>
                    <a:lnTo>
                      <a:pt x="193" y="28"/>
                    </a:lnTo>
                    <a:lnTo>
                      <a:pt x="193" y="37"/>
                    </a:lnTo>
                    <a:lnTo>
                      <a:pt x="194" y="41"/>
                    </a:lnTo>
                    <a:lnTo>
                      <a:pt x="193" y="45"/>
                    </a:lnTo>
                    <a:lnTo>
                      <a:pt x="191" y="50"/>
                    </a:lnTo>
                    <a:lnTo>
                      <a:pt x="190" y="5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69" name="Freeform 35">
                <a:extLst>
                  <a:ext uri="{FF2B5EF4-FFF2-40B4-BE49-F238E27FC236}">
                    <a16:creationId xmlns:a16="http://schemas.microsoft.com/office/drawing/2014/main" id="{4A5EB05C-6A00-F523-C081-87065BD0FD9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643" y="2673"/>
                <a:ext cx="147" cy="145"/>
              </a:xfrm>
              <a:custGeom>
                <a:avLst/>
                <a:gdLst>
                  <a:gd name="T0" fmla="*/ 10 w 734"/>
                  <a:gd name="T1" fmla="*/ 1 h 722"/>
                  <a:gd name="T2" fmla="*/ 5 w 734"/>
                  <a:gd name="T3" fmla="*/ 1 h 722"/>
                  <a:gd name="T4" fmla="*/ 4 w 734"/>
                  <a:gd name="T5" fmla="*/ 0 h 722"/>
                  <a:gd name="T6" fmla="*/ 2 w 734"/>
                  <a:gd name="T7" fmla="*/ 0 h 722"/>
                  <a:gd name="T8" fmla="*/ 1 w 734"/>
                  <a:gd name="T9" fmla="*/ 1 h 722"/>
                  <a:gd name="T10" fmla="*/ 0 w 734"/>
                  <a:gd name="T11" fmla="*/ 1 h 722"/>
                  <a:gd name="T12" fmla="*/ 0 w 734"/>
                  <a:gd name="T13" fmla="*/ 3 h 722"/>
                  <a:gd name="T14" fmla="*/ 1 w 734"/>
                  <a:gd name="T15" fmla="*/ 4 h 722"/>
                  <a:gd name="T16" fmla="*/ 1 w 734"/>
                  <a:gd name="T17" fmla="*/ 5 h 722"/>
                  <a:gd name="T18" fmla="*/ 2 w 734"/>
                  <a:gd name="T19" fmla="*/ 6 h 722"/>
                  <a:gd name="T20" fmla="*/ 2 w 734"/>
                  <a:gd name="T21" fmla="*/ 7 h 722"/>
                  <a:gd name="T22" fmla="*/ 3 w 734"/>
                  <a:gd name="T23" fmla="*/ 8 h 722"/>
                  <a:gd name="T24" fmla="*/ 4 w 734"/>
                  <a:gd name="T25" fmla="*/ 10 h 722"/>
                  <a:gd name="T26" fmla="*/ 5 w 734"/>
                  <a:gd name="T27" fmla="*/ 11 h 722"/>
                  <a:gd name="T28" fmla="*/ 6 w 734"/>
                  <a:gd name="T29" fmla="*/ 13 h 722"/>
                  <a:gd name="T30" fmla="*/ 6 w 734"/>
                  <a:gd name="T31" fmla="*/ 15 h 722"/>
                  <a:gd name="T32" fmla="*/ 6 w 734"/>
                  <a:gd name="T33" fmla="*/ 17 h 722"/>
                  <a:gd name="T34" fmla="*/ 7 w 734"/>
                  <a:gd name="T35" fmla="*/ 19 h 722"/>
                  <a:gd name="T36" fmla="*/ 7 w 734"/>
                  <a:gd name="T37" fmla="*/ 21 h 722"/>
                  <a:gd name="T38" fmla="*/ 7 w 734"/>
                  <a:gd name="T39" fmla="*/ 22 h 722"/>
                  <a:gd name="T40" fmla="*/ 8 w 734"/>
                  <a:gd name="T41" fmla="*/ 24 h 722"/>
                  <a:gd name="T42" fmla="*/ 9 w 734"/>
                  <a:gd name="T43" fmla="*/ 26 h 722"/>
                  <a:gd name="T44" fmla="*/ 10 w 734"/>
                  <a:gd name="T45" fmla="*/ 28 h 722"/>
                  <a:gd name="T46" fmla="*/ 11 w 734"/>
                  <a:gd name="T47" fmla="*/ 28 h 722"/>
                  <a:gd name="T48" fmla="*/ 11 w 734"/>
                  <a:gd name="T49" fmla="*/ 28 h 722"/>
                  <a:gd name="T50" fmla="*/ 13 w 734"/>
                  <a:gd name="T51" fmla="*/ 28 h 722"/>
                  <a:gd name="T52" fmla="*/ 14 w 734"/>
                  <a:gd name="T53" fmla="*/ 29 h 722"/>
                  <a:gd name="T54" fmla="*/ 16 w 734"/>
                  <a:gd name="T55" fmla="*/ 29 h 722"/>
                  <a:gd name="T56" fmla="*/ 17 w 734"/>
                  <a:gd name="T57" fmla="*/ 28 h 722"/>
                  <a:gd name="T58" fmla="*/ 18 w 734"/>
                  <a:gd name="T59" fmla="*/ 26 h 722"/>
                  <a:gd name="T60" fmla="*/ 18 w 734"/>
                  <a:gd name="T61" fmla="*/ 18 h 722"/>
                  <a:gd name="T62" fmla="*/ 18 w 734"/>
                  <a:gd name="T63" fmla="*/ 12 h 722"/>
                  <a:gd name="T64" fmla="*/ 20 w 734"/>
                  <a:gd name="T65" fmla="*/ 8 h 722"/>
                  <a:gd name="T66" fmla="*/ 21 w 734"/>
                  <a:gd name="T67" fmla="*/ 3 h 722"/>
                  <a:gd name="T68" fmla="*/ 25 w 734"/>
                  <a:gd name="T69" fmla="*/ 3 h 722"/>
                  <a:gd name="T70" fmla="*/ 26 w 734"/>
                  <a:gd name="T71" fmla="*/ 3 h 722"/>
                  <a:gd name="T72" fmla="*/ 27 w 734"/>
                  <a:gd name="T73" fmla="*/ 3 h 722"/>
                  <a:gd name="T74" fmla="*/ 29 w 734"/>
                  <a:gd name="T75" fmla="*/ 2 h 722"/>
                  <a:gd name="T76" fmla="*/ 29 w 734"/>
                  <a:gd name="T77" fmla="*/ 2 h 722"/>
                  <a:gd name="T78" fmla="*/ 28 w 734"/>
                  <a:gd name="T79" fmla="*/ 1 h 722"/>
                  <a:gd name="T80" fmla="*/ 25 w 734"/>
                  <a:gd name="T81" fmla="*/ 2 h 722"/>
                  <a:gd name="T82" fmla="*/ 22 w 734"/>
                  <a:gd name="T83" fmla="*/ 3 h 722"/>
                  <a:gd name="T84" fmla="*/ 21 w 734"/>
                  <a:gd name="T85" fmla="*/ 3 h 722"/>
                  <a:gd name="T86" fmla="*/ 18 w 734"/>
                  <a:gd name="T87" fmla="*/ 2 h 722"/>
                  <a:gd name="T88" fmla="*/ 16 w 734"/>
                  <a:gd name="T89" fmla="*/ 2 h 722"/>
                  <a:gd name="T90" fmla="*/ 15 w 734"/>
                  <a:gd name="T91" fmla="*/ 1 h 722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734"/>
                  <a:gd name="T139" fmla="*/ 0 h 722"/>
                  <a:gd name="T140" fmla="*/ 734 w 734"/>
                  <a:gd name="T141" fmla="*/ 722 h 722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734" h="722">
                    <a:moveTo>
                      <a:pt x="346" y="26"/>
                    </a:moveTo>
                    <a:lnTo>
                      <a:pt x="299" y="26"/>
                    </a:lnTo>
                    <a:lnTo>
                      <a:pt x="252" y="26"/>
                    </a:lnTo>
                    <a:lnTo>
                      <a:pt x="198" y="26"/>
                    </a:lnTo>
                    <a:lnTo>
                      <a:pt x="148" y="26"/>
                    </a:lnTo>
                    <a:lnTo>
                      <a:pt x="130" y="26"/>
                    </a:lnTo>
                    <a:lnTo>
                      <a:pt x="123" y="28"/>
                    </a:lnTo>
                    <a:lnTo>
                      <a:pt x="109" y="15"/>
                    </a:lnTo>
                    <a:lnTo>
                      <a:pt x="96" y="10"/>
                    </a:lnTo>
                    <a:lnTo>
                      <a:pt x="91" y="1"/>
                    </a:lnTo>
                    <a:lnTo>
                      <a:pt x="81" y="0"/>
                    </a:lnTo>
                    <a:lnTo>
                      <a:pt x="59" y="0"/>
                    </a:lnTo>
                    <a:lnTo>
                      <a:pt x="49" y="4"/>
                    </a:lnTo>
                    <a:lnTo>
                      <a:pt x="39" y="14"/>
                    </a:lnTo>
                    <a:lnTo>
                      <a:pt x="33" y="17"/>
                    </a:lnTo>
                    <a:lnTo>
                      <a:pt x="23" y="11"/>
                    </a:lnTo>
                    <a:lnTo>
                      <a:pt x="12" y="20"/>
                    </a:lnTo>
                    <a:lnTo>
                      <a:pt x="1" y="26"/>
                    </a:lnTo>
                    <a:lnTo>
                      <a:pt x="0" y="49"/>
                    </a:lnTo>
                    <a:lnTo>
                      <a:pt x="0" y="55"/>
                    </a:lnTo>
                    <a:lnTo>
                      <a:pt x="3" y="64"/>
                    </a:lnTo>
                    <a:lnTo>
                      <a:pt x="3" y="74"/>
                    </a:lnTo>
                    <a:lnTo>
                      <a:pt x="12" y="92"/>
                    </a:lnTo>
                    <a:lnTo>
                      <a:pt x="17" y="100"/>
                    </a:lnTo>
                    <a:lnTo>
                      <a:pt x="19" y="102"/>
                    </a:lnTo>
                    <a:lnTo>
                      <a:pt x="28" y="108"/>
                    </a:lnTo>
                    <a:lnTo>
                      <a:pt x="34" y="117"/>
                    </a:lnTo>
                    <a:lnTo>
                      <a:pt x="38" y="127"/>
                    </a:lnTo>
                    <a:lnTo>
                      <a:pt x="44" y="134"/>
                    </a:lnTo>
                    <a:lnTo>
                      <a:pt x="46" y="139"/>
                    </a:lnTo>
                    <a:lnTo>
                      <a:pt x="55" y="150"/>
                    </a:lnTo>
                    <a:lnTo>
                      <a:pt x="56" y="157"/>
                    </a:lnTo>
                    <a:lnTo>
                      <a:pt x="62" y="168"/>
                    </a:lnTo>
                    <a:lnTo>
                      <a:pt x="65" y="176"/>
                    </a:lnTo>
                    <a:lnTo>
                      <a:pt x="81" y="202"/>
                    </a:lnTo>
                    <a:lnTo>
                      <a:pt x="82" y="209"/>
                    </a:lnTo>
                    <a:lnTo>
                      <a:pt x="86" y="215"/>
                    </a:lnTo>
                    <a:lnTo>
                      <a:pt x="88" y="224"/>
                    </a:lnTo>
                    <a:lnTo>
                      <a:pt x="96" y="238"/>
                    </a:lnTo>
                    <a:lnTo>
                      <a:pt x="110" y="263"/>
                    </a:lnTo>
                    <a:lnTo>
                      <a:pt x="116" y="273"/>
                    </a:lnTo>
                    <a:lnTo>
                      <a:pt x="118" y="278"/>
                    </a:lnTo>
                    <a:lnTo>
                      <a:pt x="121" y="288"/>
                    </a:lnTo>
                    <a:lnTo>
                      <a:pt x="141" y="312"/>
                    </a:lnTo>
                    <a:lnTo>
                      <a:pt x="150" y="331"/>
                    </a:lnTo>
                    <a:lnTo>
                      <a:pt x="151" y="334"/>
                    </a:lnTo>
                    <a:lnTo>
                      <a:pt x="152" y="350"/>
                    </a:lnTo>
                    <a:lnTo>
                      <a:pt x="151" y="369"/>
                    </a:lnTo>
                    <a:lnTo>
                      <a:pt x="152" y="406"/>
                    </a:lnTo>
                    <a:lnTo>
                      <a:pt x="151" y="424"/>
                    </a:lnTo>
                    <a:lnTo>
                      <a:pt x="153" y="435"/>
                    </a:lnTo>
                    <a:lnTo>
                      <a:pt x="157" y="445"/>
                    </a:lnTo>
                    <a:lnTo>
                      <a:pt x="162" y="458"/>
                    </a:lnTo>
                    <a:lnTo>
                      <a:pt x="172" y="477"/>
                    </a:lnTo>
                    <a:lnTo>
                      <a:pt x="173" y="484"/>
                    </a:lnTo>
                    <a:lnTo>
                      <a:pt x="171" y="498"/>
                    </a:lnTo>
                    <a:lnTo>
                      <a:pt x="172" y="521"/>
                    </a:lnTo>
                    <a:lnTo>
                      <a:pt x="174" y="531"/>
                    </a:lnTo>
                    <a:lnTo>
                      <a:pt x="182" y="546"/>
                    </a:lnTo>
                    <a:lnTo>
                      <a:pt x="179" y="555"/>
                    </a:lnTo>
                    <a:lnTo>
                      <a:pt x="182" y="559"/>
                    </a:lnTo>
                    <a:lnTo>
                      <a:pt x="185" y="569"/>
                    </a:lnTo>
                    <a:lnTo>
                      <a:pt x="188" y="589"/>
                    </a:lnTo>
                    <a:lnTo>
                      <a:pt x="191" y="600"/>
                    </a:lnTo>
                    <a:lnTo>
                      <a:pt x="194" y="622"/>
                    </a:lnTo>
                    <a:lnTo>
                      <a:pt x="214" y="646"/>
                    </a:lnTo>
                    <a:lnTo>
                      <a:pt x="222" y="665"/>
                    </a:lnTo>
                    <a:lnTo>
                      <a:pt x="233" y="676"/>
                    </a:lnTo>
                    <a:lnTo>
                      <a:pt x="243" y="683"/>
                    </a:lnTo>
                    <a:lnTo>
                      <a:pt x="256" y="698"/>
                    </a:lnTo>
                    <a:lnTo>
                      <a:pt x="261" y="698"/>
                    </a:lnTo>
                    <a:lnTo>
                      <a:pt x="264" y="700"/>
                    </a:lnTo>
                    <a:lnTo>
                      <a:pt x="269" y="699"/>
                    </a:lnTo>
                    <a:lnTo>
                      <a:pt x="272" y="697"/>
                    </a:lnTo>
                    <a:lnTo>
                      <a:pt x="279" y="689"/>
                    </a:lnTo>
                    <a:lnTo>
                      <a:pt x="285" y="678"/>
                    </a:lnTo>
                    <a:lnTo>
                      <a:pt x="297" y="677"/>
                    </a:lnTo>
                    <a:lnTo>
                      <a:pt x="323" y="695"/>
                    </a:lnTo>
                    <a:lnTo>
                      <a:pt x="323" y="708"/>
                    </a:lnTo>
                    <a:lnTo>
                      <a:pt x="334" y="720"/>
                    </a:lnTo>
                    <a:lnTo>
                      <a:pt x="350" y="722"/>
                    </a:lnTo>
                    <a:lnTo>
                      <a:pt x="365" y="717"/>
                    </a:lnTo>
                    <a:lnTo>
                      <a:pt x="384" y="717"/>
                    </a:lnTo>
                    <a:lnTo>
                      <a:pt x="393" y="720"/>
                    </a:lnTo>
                    <a:lnTo>
                      <a:pt x="405" y="720"/>
                    </a:lnTo>
                    <a:lnTo>
                      <a:pt x="421" y="705"/>
                    </a:lnTo>
                    <a:lnTo>
                      <a:pt x="435" y="695"/>
                    </a:lnTo>
                    <a:lnTo>
                      <a:pt x="446" y="693"/>
                    </a:lnTo>
                    <a:lnTo>
                      <a:pt x="452" y="689"/>
                    </a:lnTo>
                    <a:lnTo>
                      <a:pt x="452" y="633"/>
                    </a:lnTo>
                    <a:lnTo>
                      <a:pt x="452" y="574"/>
                    </a:lnTo>
                    <a:lnTo>
                      <a:pt x="452" y="515"/>
                    </a:lnTo>
                    <a:lnTo>
                      <a:pt x="452" y="460"/>
                    </a:lnTo>
                    <a:lnTo>
                      <a:pt x="452" y="407"/>
                    </a:lnTo>
                    <a:lnTo>
                      <a:pt x="452" y="349"/>
                    </a:lnTo>
                    <a:lnTo>
                      <a:pt x="452" y="295"/>
                    </a:lnTo>
                    <a:lnTo>
                      <a:pt x="507" y="295"/>
                    </a:lnTo>
                    <a:lnTo>
                      <a:pt x="507" y="257"/>
                    </a:lnTo>
                    <a:lnTo>
                      <a:pt x="507" y="200"/>
                    </a:lnTo>
                    <a:lnTo>
                      <a:pt x="507" y="144"/>
                    </a:lnTo>
                    <a:lnTo>
                      <a:pt x="507" y="91"/>
                    </a:lnTo>
                    <a:lnTo>
                      <a:pt x="512" y="86"/>
                    </a:lnTo>
                    <a:lnTo>
                      <a:pt x="592" y="71"/>
                    </a:lnTo>
                    <a:lnTo>
                      <a:pt x="609" y="68"/>
                    </a:lnTo>
                    <a:lnTo>
                      <a:pt x="615" y="68"/>
                    </a:lnTo>
                    <a:lnTo>
                      <a:pt x="632" y="69"/>
                    </a:lnTo>
                    <a:lnTo>
                      <a:pt x="643" y="73"/>
                    </a:lnTo>
                    <a:lnTo>
                      <a:pt x="650" y="85"/>
                    </a:lnTo>
                    <a:lnTo>
                      <a:pt x="653" y="100"/>
                    </a:lnTo>
                    <a:lnTo>
                      <a:pt x="659" y="92"/>
                    </a:lnTo>
                    <a:lnTo>
                      <a:pt x="668" y="81"/>
                    </a:lnTo>
                    <a:lnTo>
                      <a:pt x="684" y="69"/>
                    </a:lnTo>
                    <a:lnTo>
                      <a:pt x="711" y="63"/>
                    </a:lnTo>
                    <a:lnTo>
                      <a:pt x="716" y="57"/>
                    </a:lnTo>
                    <a:lnTo>
                      <a:pt x="723" y="52"/>
                    </a:lnTo>
                    <a:lnTo>
                      <a:pt x="734" y="51"/>
                    </a:lnTo>
                    <a:lnTo>
                      <a:pt x="727" y="38"/>
                    </a:lnTo>
                    <a:lnTo>
                      <a:pt x="723" y="35"/>
                    </a:lnTo>
                    <a:lnTo>
                      <a:pt x="709" y="32"/>
                    </a:lnTo>
                    <a:lnTo>
                      <a:pt x="688" y="32"/>
                    </a:lnTo>
                    <a:lnTo>
                      <a:pt x="685" y="28"/>
                    </a:lnTo>
                    <a:lnTo>
                      <a:pt x="642" y="39"/>
                    </a:lnTo>
                    <a:lnTo>
                      <a:pt x="635" y="41"/>
                    </a:lnTo>
                    <a:lnTo>
                      <a:pt x="632" y="43"/>
                    </a:lnTo>
                    <a:lnTo>
                      <a:pt x="621" y="46"/>
                    </a:lnTo>
                    <a:lnTo>
                      <a:pt x="546" y="65"/>
                    </a:lnTo>
                    <a:lnTo>
                      <a:pt x="538" y="66"/>
                    </a:lnTo>
                    <a:lnTo>
                      <a:pt x="534" y="64"/>
                    </a:lnTo>
                    <a:lnTo>
                      <a:pt x="522" y="63"/>
                    </a:lnTo>
                    <a:lnTo>
                      <a:pt x="510" y="59"/>
                    </a:lnTo>
                    <a:lnTo>
                      <a:pt x="494" y="58"/>
                    </a:lnTo>
                    <a:lnTo>
                      <a:pt x="460" y="51"/>
                    </a:lnTo>
                    <a:lnTo>
                      <a:pt x="433" y="51"/>
                    </a:lnTo>
                    <a:lnTo>
                      <a:pt x="414" y="53"/>
                    </a:lnTo>
                    <a:lnTo>
                      <a:pt x="405" y="53"/>
                    </a:lnTo>
                    <a:lnTo>
                      <a:pt x="388" y="47"/>
                    </a:lnTo>
                    <a:lnTo>
                      <a:pt x="382" y="37"/>
                    </a:lnTo>
                    <a:lnTo>
                      <a:pt x="366" y="26"/>
                    </a:lnTo>
                    <a:lnTo>
                      <a:pt x="346" y="2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70" name="Freeform 36">
                <a:extLst>
                  <a:ext uri="{FF2B5EF4-FFF2-40B4-BE49-F238E27FC236}">
                    <a16:creationId xmlns:a16="http://schemas.microsoft.com/office/drawing/2014/main" id="{2008660F-B549-C594-BAB7-6C1EAFAB7D6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45" y="2602"/>
                <a:ext cx="117" cy="187"/>
              </a:xfrm>
              <a:custGeom>
                <a:avLst/>
                <a:gdLst>
                  <a:gd name="T0" fmla="*/ 23 w 586"/>
                  <a:gd name="T1" fmla="*/ 0 h 937"/>
                  <a:gd name="T2" fmla="*/ 23 w 586"/>
                  <a:gd name="T3" fmla="*/ 2 h 937"/>
                  <a:gd name="T4" fmla="*/ 23 w 586"/>
                  <a:gd name="T5" fmla="*/ 5 h 937"/>
                  <a:gd name="T6" fmla="*/ 23 w 586"/>
                  <a:gd name="T7" fmla="*/ 7 h 937"/>
                  <a:gd name="T8" fmla="*/ 23 w 586"/>
                  <a:gd name="T9" fmla="*/ 8 h 937"/>
                  <a:gd name="T10" fmla="*/ 23 w 586"/>
                  <a:gd name="T11" fmla="*/ 9 h 937"/>
                  <a:gd name="T12" fmla="*/ 23 w 586"/>
                  <a:gd name="T13" fmla="*/ 10 h 937"/>
                  <a:gd name="T14" fmla="*/ 23 w 586"/>
                  <a:gd name="T15" fmla="*/ 11 h 937"/>
                  <a:gd name="T16" fmla="*/ 21 w 586"/>
                  <a:gd name="T17" fmla="*/ 13 h 937"/>
                  <a:gd name="T18" fmla="*/ 20 w 586"/>
                  <a:gd name="T19" fmla="*/ 14 h 937"/>
                  <a:gd name="T20" fmla="*/ 18 w 586"/>
                  <a:gd name="T21" fmla="*/ 15 h 937"/>
                  <a:gd name="T22" fmla="*/ 15 w 586"/>
                  <a:gd name="T23" fmla="*/ 17 h 937"/>
                  <a:gd name="T24" fmla="*/ 14 w 586"/>
                  <a:gd name="T25" fmla="*/ 18 h 937"/>
                  <a:gd name="T26" fmla="*/ 13 w 586"/>
                  <a:gd name="T27" fmla="*/ 19 h 937"/>
                  <a:gd name="T28" fmla="*/ 11 w 586"/>
                  <a:gd name="T29" fmla="*/ 21 h 937"/>
                  <a:gd name="T30" fmla="*/ 10 w 586"/>
                  <a:gd name="T31" fmla="*/ 23 h 937"/>
                  <a:gd name="T32" fmla="*/ 11 w 586"/>
                  <a:gd name="T33" fmla="*/ 24 h 937"/>
                  <a:gd name="T34" fmla="*/ 12 w 586"/>
                  <a:gd name="T35" fmla="*/ 27 h 937"/>
                  <a:gd name="T36" fmla="*/ 12 w 586"/>
                  <a:gd name="T37" fmla="*/ 29 h 937"/>
                  <a:gd name="T38" fmla="*/ 12 w 586"/>
                  <a:gd name="T39" fmla="*/ 30 h 937"/>
                  <a:gd name="T40" fmla="*/ 11 w 586"/>
                  <a:gd name="T41" fmla="*/ 32 h 937"/>
                  <a:gd name="T42" fmla="*/ 8 w 586"/>
                  <a:gd name="T43" fmla="*/ 34 h 937"/>
                  <a:gd name="T44" fmla="*/ 6 w 586"/>
                  <a:gd name="T45" fmla="*/ 34 h 937"/>
                  <a:gd name="T46" fmla="*/ 5 w 586"/>
                  <a:gd name="T47" fmla="*/ 36 h 937"/>
                  <a:gd name="T48" fmla="*/ 6 w 586"/>
                  <a:gd name="T49" fmla="*/ 36 h 937"/>
                  <a:gd name="T50" fmla="*/ 4 w 586"/>
                  <a:gd name="T51" fmla="*/ 36 h 937"/>
                  <a:gd name="T52" fmla="*/ 4 w 586"/>
                  <a:gd name="T53" fmla="*/ 30 h 937"/>
                  <a:gd name="T54" fmla="*/ 3 w 586"/>
                  <a:gd name="T55" fmla="*/ 27 h 937"/>
                  <a:gd name="T56" fmla="*/ 5 w 586"/>
                  <a:gd name="T57" fmla="*/ 25 h 937"/>
                  <a:gd name="T58" fmla="*/ 6 w 586"/>
                  <a:gd name="T59" fmla="*/ 20 h 937"/>
                  <a:gd name="T60" fmla="*/ 6 w 586"/>
                  <a:gd name="T61" fmla="*/ 18 h 937"/>
                  <a:gd name="T62" fmla="*/ 6 w 586"/>
                  <a:gd name="T63" fmla="*/ 15 h 937"/>
                  <a:gd name="T64" fmla="*/ 5 w 586"/>
                  <a:gd name="T65" fmla="*/ 13 h 937"/>
                  <a:gd name="T66" fmla="*/ 1 w 586"/>
                  <a:gd name="T67" fmla="*/ 12 h 937"/>
                  <a:gd name="T68" fmla="*/ 0 w 586"/>
                  <a:gd name="T69" fmla="*/ 11 h 937"/>
                  <a:gd name="T70" fmla="*/ 7 w 586"/>
                  <a:gd name="T71" fmla="*/ 8 h 937"/>
                  <a:gd name="T72" fmla="*/ 8 w 586"/>
                  <a:gd name="T73" fmla="*/ 9 h 937"/>
                  <a:gd name="T74" fmla="*/ 10 w 586"/>
                  <a:gd name="T75" fmla="*/ 9 h 937"/>
                  <a:gd name="T76" fmla="*/ 10 w 586"/>
                  <a:gd name="T77" fmla="*/ 11 h 937"/>
                  <a:gd name="T78" fmla="*/ 9 w 586"/>
                  <a:gd name="T79" fmla="*/ 12 h 937"/>
                  <a:gd name="T80" fmla="*/ 10 w 586"/>
                  <a:gd name="T81" fmla="*/ 13 h 937"/>
                  <a:gd name="T82" fmla="*/ 11 w 586"/>
                  <a:gd name="T83" fmla="*/ 14 h 937"/>
                  <a:gd name="T84" fmla="*/ 11 w 586"/>
                  <a:gd name="T85" fmla="*/ 15 h 937"/>
                  <a:gd name="T86" fmla="*/ 12 w 586"/>
                  <a:gd name="T87" fmla="*/ 14 h 937"/>
                  <a:gd name="T88" fmla="*/ 11 w 586"/>
                  <a:gd name="T89" fmla="*/ 13 h 937"/>
                  <a:gd name="T90" fmla="*/ 12 w 586"/>
                  <a:gd name="T91" fmla="*/ 13 h 937"/>
                  <a:gd name="T92" fmla="*/ 13 w 586"/>
                  <a:gd name="T93" fmla="*/ 11 h 937"/>
                  <a:gd name="T94" fmla="*/ 13 w 586"/>
                  <a:gd name="T95" fmla="*/ 10 h 937"/>
                  <a:gd name="T96" fmla="*/ 12 w 586"/>
                  <a:gd name="T97" fmla="*/ 8 h 937"/>
                  <a:gd name="T98" fmla="*/ 11 w 586"/>
                  <a:gd name="T99" fmla="*/ 7 h 937"/>
                  <a:gd name="T100" fmla="*/ 10 w 586"/>
                  <a:gd name="T101" fmla="*/ 5 h 937"/>
                  <a:gd name="T102" fmla="*/ 11 w 586"/>
                  <a:gd name="T103" fmla="*/ 3 h 937"/>
                  <a:gd name="T104" fmla="*/ 13 w 586"/>
                  <a:gd name="T105" fmla="*/ 2 h 937"/>
                  <a:gd name="T106" fmla="*/ 14 w 586"/>
                  <a:gd name="T107" fmla="*/ 3 h 937"/>
                  <a:gd name="T108" fmla="*/ 15 w 586"/>
                  <a:gd name="T109" fmla="*/ 2 h 937"/>
                  <a:gd name="T110" fmla="*/ 17 w 586"/>
                  <a:gd name="T111" fmla="*/ 2 h 937"/>
                  <a:gd name="T112" fmla="*/ 19 w 586"/>
                  <a:gd name="T113" fmla="*/ 2 h 937"/>
                  <a:gd name="T114" fmla="*/ 22 w 586"/>
                  <a:gd name="T115" fmla="*/ 1 h 937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586"/>
                  <a:gd name="T175" fmla="*/ 0 h 937"/>
                  <a:gd name="T176" fmla="*/ 586 w 586"/>
                  <a:gd name="T177" fmla="*/ 937 h 937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586" h="937">
                    <a:moveTo>
                      <a:pt x="580" y="0"/>
                    </a:moveTo>
                    <a:lnTo>
                      <a:pt x="584" y="2"/>
                    </a:lnTo>
                    <a:lnTo>
                      <a:pt x="586" y="7"/>
                    </a:lnTo>
                    <a:lnTo>
                      <a:pt x="584" y="10"/>
                    </a:lnTo>
                    <a:lnTo>
                      <a:pt x="585" y="27"/>
                    </a:lnTo>
                    <a:lnTo>
                      <a:pt x="583" y="33"/>
                    </a:lnTo>
                    <a:lnTo>
                      <a:pt x="578" y="42"/>
                    </a:lnTo>
                    <a:lnTo>
                      <a:pt x="570" y="56"/>
                    </a:lnTo>
                    <a:lnTo>
                      <a:pt x="567" y="70"/>
                    </a:lnTo>
                    <a:lnTo>
                      <a:pt x="568" y="95"/>
                    </a:lnTo>
                    <a:lnTo>
                      <a:pt x="570" y="113"/>
                    </a:lnTo>
                    <a:lnTo>
                      <a:pt x="572" y="128"/>
                    </a:lnTo>
                    <a:lnTo>
                      <a:pt x="565" y="133"/>
                    </a:lnTo>
                    <a:lnTo>
                      <a:pt x="568" y="142"/>
                    </a:lnTo>
                    <a:lnTo>
                      <a:pt x="570" y="142"/>
                    </a:lnTo>
                    <a:lnTo>
                      <a:pt x="569" y="176"/>
                    </a:lnTo>
                    <a:lnTo>
                      <a:pt x="572" y="196"/>
                    </a:lnTo>
                    <a:lnTo>
                      <a:pt x="570" y="205"/>
                    </a:lnTo>
                    <a:lnTo>
                      <a:pt x="574" y="208"/>
                    </a:lnTo>
                    <a:lnTo>
                      <a:pt x="578" y="205"/>
                    </a:lnTo>
                    <a:lnTo>
                      <a:pt x="581" y="212"/>
                    </a:lnTo>
                    <a:lnTo>
                      <a:pt x="575" y="220"/>
                    </a:lnTo>
                    <a:lnTo>
                      <a:pt x="580" y="220"/>
                    </a:lnTo>
                    <a:lnTo>
                      <a:pt x="585" y="224"/>
                    </a:lnTo>
                    <a:lnTo>
                      <a:pt x="585" y="232"/>
                    </a:lnTo>
                    <a:lnTo>
                      <a:pt x="580" y="242"/>
                    </a:lnTo>
                    <a:lnTo>
                      <a:pt x="576" y="253"/>
                    </a:lnTo>
                    <a:lnTo>
                      <a:pt x="568" y="263"/>
                    </a:lnTo>
                    <a:lnTo>
                      <a:pt x="575" y="265"/>
                    </a:lnTo>
                    <a:lnTo>
                      <a:pt x="574" y="274"/>
                    </a:lnTo>
                    <a:lnTo>
                      <a:pt x="573" y="280"/>
                    </a:lnTo>
                    <a:lnTo>
                      <a:pt x="564" y="285"/>
                    </a:lnTo>
                    <a:lnTo>
                      <a:pt x="547" y="305"/>
                    </a:lnTo>
                    <a:lnTo>
                      <a:pt x="543" y="313"/>
                    </a:lnTo>
                    <a:lnTo>
                      <a:pt x="526" y="323"/>
                    </a:lnTo>
                    <a:lnTo>
                      <a:pt x="532" y="328"/>
                    </a:lnTo>
                    <a:lnTo>
                      <a:pt x="527" y="337"/>
                    </a:lnTo>
                    <a:lnTo>
                      <a:pt x="517" y="344"/>
                    </a:lnTo>
                    <a:lnTo>
                      <a:pt x="505" y="351"/>
                    </a:lnTo>
                    <a:lnTo>
                      <a:pt x="497" y="355"/>
                    </a:lnTo>
                    <a:lnTo>
                      <a:pt x="490" y="366"/>
                    </a:lnTo>
                    <a:lnTo>
                      <a:pt x="477" y="373"/>
                    </a:lnTo>
                    <a:lnTo>
                      <a:pt x="460" y="373"/>
                    </a:lnTo>
                    <a:lnTo>
                      <a:pt x="447" y="378"/>
                    </a:lnTo>
                    <a:lnTo>
                      <a:pt x="403" y="398"/>
                    </a:lnTo>
                    <a:lnTo>
                      <a:pt x="375" y="420"/>
                    </a:lnTo>
                    <a:lnTo>
                      <a:pt x="373" y="430"/>
                    </a:lnTo>
                    <a:lnTo>
                      <a:pt x="368" y="434"/>
                    </a:lnTo>
                    <a:lnTo>
                      <a:pt x="360" y="435"/>
                    </a:lnTo>
                    <a:lnTo>
                      <a:pt x="355" y="436"/>
                    </a:lnTo>
                    <a:lnTo>
                      <a:pt x="361" y="442"/>
                    </a:lnTo>
                    <a:lnTo>
                      <a:pt x="345" y="462"/>
                    </a:lnTo>
                    <a:lnTo>
                      <a:pt x="338" y="473"/>
                    </a:lnTo>
                    <a:lnTo>
                      <a:pt x="333" y="470"/>
                    </a:lnTo>
                    <a:lnTo>
                      <a:pt x="330" y="461"/>
                    </a:lnTo>
                    <a:lnTo>
                      <a:pt x="323" y="477"/>
                    </a:lnTo>
                    <a:lnTo>
                      <a:pt x="315" y="480"/>
                    </a:lnTo>
                    <a:lnTo>
                      <a:pt x="305" y="493"/>
                    </a:lnTo>
                    <a:lnTo>
                      <a:pt x="287" y="512"/>
                    </a:lnTo>
                    <a:lnTo>
                      <a:pt x="273" y="521"/>
                    </a:lnTo>
                    <a:lnTo>
                      <a:pt x="266" y="529"/>
                    </a:lnTo>
                    <a:lnTo>
                      <a:pt x="255" y="533"/>
                    </a:lnTo>
                    <a:lnTo>
                      <a:pt x="252" y="563"/>
                    </a:lnTo>
                    <a:lnTo>
                      <a:pt x="253" y="572"/>
                    </a:lnTo>
                    <a:lnTo>
                      <a:pt x="267" y="582"/>
                    </a:lnTo>
                    <a:lnTo>
                      <a:pt x="271" y="588"/>
                    </a:lnTo>
                    <a:lnTo>
                      <a:pt x="272" y="597"/>
                    </a:lnTo>
                    <a:lnTo>
                      <a:pt x="273" y="598"/>
                    </a:lnTo>
                    <a:lnTo>
                      <a:pt x="274" y="608"/>
                    </a:lnTo>
                    <a:lnTo>
                      <a:pt x="287" y="642"/>
                    </a:lnTo>
                    <a:lnTo>
                      <a:pt x="288" y="662"/>
                    </a:lnTo>
                    <a:lnTo>
                      <a:pt x="289" y="667"/>
                    </a:lnTo>
                    <a:lnTo>
                      <a:pt x="295" y="662"/>
                    </a:lnTo>
                    <a:lnTo>
                      <a:pt x="299" y="666"/>
                    </a:lnTo>
                    <a:lnTo>
                      <a:pt x="299" y="688"/>
                    </a:lnTo>
                    <a:lnTo>
                      <a:pt x="295" y="725"/>
                    </a:lnTo>
                    <a:lnTo>
                      <a:pt x="283" y="771"/>
                    </a:lnTo>
                    <a:lnTo>
                      <a:pt x="285" y="782"/>
                    </a:lnTo>
                    <a:lnTo>
                      <a:pt x="289" y="774"/>
                    </a:lnTo>
                    <a:lnTo>
                      <a:pt x="295" y="764"/>
                    </a:lnTo>
                    <a:lnTo>
                      <a:pt x="295" y="768"/>
                    </a:lnTo>
                    <a:lnTo>
                      <a:pt x="293" y="781"/>
                    </a:lnTo>
                    <a:lnTo>
                      <a:pt x="288" y="792"/>
                    </a:lnTo>
                    <a:lnTo>
                      <a:pt x="273" y="811"/>
                    </a:lnTo>
                    <a:lnTo>
                      <a:pt x="258" y="822"/>
                    </a:lnTo>
                    <a:lnTo>
                      <a:pt x="240" y="829"/>
                    </a:lnTo>
                    <a:lnTo>
                      <a:pt x="228" y="830"/>
                    </a:lnTo>
                    <a:lnTo>
                      <a:pt x="192" y="843"/>
                    </a:lnTo>
                    <a:lnTo>
                      <a:pt x="183" y="849"/>
                    </a:lnTo>
                    <a:lnTo>
                      <a:pt x="176" y="855"/>
                    </a:lnTo>
                    <a:lnTo>
                      <a:pt x="166" y="861"/>
                    </a:lnTo>
                    <a:lnTo>
                      <a:pt x="156" y="863"/>
                    </a:lnTo>
                    <a:lnTo>
                      <a:pt x="151" y="868"/>
                    </a:lnTo>
                    <a:lnTo>
                      <a:pt x="144" y="881"/>
                    </a:lnTo>
                    <a:lnTo>
                      <a:pt x="135" y="893"/>
                    </a:lnTo>
                    <a:lnTo>
                      <a:pt x="134" y="893"/>
                    </a:lnTo>
                    <a:lnTo>
                      <a:pt x="142" y="900"/>
                    </a:lnTo>
                    <a:lnTo>
                      <a:pt x="148" y="910"/>
                    </a:lnTo>
                    <a:lnTo>
                      <a:pt x="154" y="905"/>
                    </a:lnTo>
                    <a:lnTo>
                      <a:pt x="158" y="899"/>
                    </a:lnTo>
                    <a:lnTo>
                      <a:pt x="154" y="937"/>
                    </a:lnTo>
                    <a:lnTo>
                      <a:pt x="148" y="936"/>
                    </a:lnTo>
                    <a:lnTo>
                      <a:pt x="112" y="936"/>
                    </a:lnTo>
                    <a:lnTo>
                      <a:pt x="110" y="908"/>
                    </a:lnTo>
                    <a:lnTo>
                      <a:pt x="110" y="887"/>
                    </a:lnTo>
                    <a:lnTo>
                      <a:pt x="108" y="879"/>
                    </a:lnTo>
                    <a:lnTo>
                      <a:pt x="105" y="786"/>
                    </a:lnTo>
                    <a:lnTo>
                      <a:pt x="92" y="742"/>
                    </a:lnTo>
                    <a:lnTo>
                      <a:pt x="86" y="710"/>
                    </a:lnTo>
                    <a:lnTo>
                      <a:pt x="84" y="689"/>
                    </a:lnTo>
                    <a:lnTo>
                      <a:pt x="85" y="688"/>
                    </a:lnTo>
                    <a:lnTo>
                      <a:pt x="85" y="673"/>
                    </a:lnTo>
                    <a:lnTo>
                      <a:pt x="89" y="661"/>
                    </a:lnTo>
                    <a:lnTo>
                      <a:pt x="95" y="651"/>
                    </a:lnTo>
                    <a:lnTo>
                      <a:pt x="106" y="644"/>
                    </a:lnTo>
                    <a:lnTo>
                      <a:pt x="113" y="636"/>
                    </a:lnTo>
                    <a:lnTo>
                      <a:pt x="132" y="602"/>
                    </a:lnTo>
                    <a:lnTo>
                      <a:pt x="139" y="571"/>
                    </a:lnTo>
                    <a:lnTo>
                      <a:pt x="156" y="535"/>
                    </a:lnTo>
                    <a:lnTo>
                      <a:pt x="153" y="508"/>
                    </a:lnTo>
                    <a:lnTo>
                      <a:pt x="148" y="495"/>
                    </a:lnTo>
                    <a:lnTo>
                      <a:pt x="146" y="478"/>
                    </a:lnTo>
                    <a:lnTo>
                      <a:pt x="156" y="459"/>
                    </a:lnTo>
                    <a:lnTo>
                      <a:pt x="158" y="451"/>
                    </a:lnTo>
                    <a:lnTo>
                      <a:pt x="162" y="435"/>
                    </a:lnTo>
                    <a:lnTo>
                      <a:pt x="161" y="424"/>
                    </a:lnTo>
                    <a:lnTo>
                      <a:pt x="162" y="389"/>
                    </a:lnTo>
                    <a:lnTo>
                      <a:pt x="158" y="367"/>
                    </a:lnTo>
                    <a:lnTo>
                      <a:pt x="154" y="357"/>
                    </a:lnTo>
                    <a:lnTo>
                      <a:pt x="153" y="344"/>
                    </a:lnTo>
                    <a:lnTo>
                      <a:pt x="144" y="334"/>
                    </a:lnTo>
                    <a:lnTo>
                      <a:pt x="113" y="323"/>
                    </a:lnTo>
                    <a:lnTo>
                      <a:pt x="85" y="311"/>
                    </a:lnTo>
                    <a:lnTo>
                      <a:pt x="70" y="307"/>
                    </a:lnTo>
                    <a:lnTo>
                      <a:pt x="56" y="303"/>
                    </a:lnTo>
                    <a:lnTo>
                      <a:pt x="33" y="305"/>
                    </a:lnTo>
                    <a:lnTo>
                      <a:pt x="15" y="303"/>
                    </a:lnTo>
                    <a:lnTo>
                      <a:pt x="15" y="284"/>
                    </a:lnTo>
                    <a:lnTo>
                      <a:pt x="10" y="281"/>
                    </a:lnTo>
                    <a:lnTo>
                      <a:pt x="8" y="269"/>
                    </a:lnTo>
                    <a:lnTo>
                      <a:pt x="0" y="253"/>
                    </a:lnTo>
                    <a:lnTo>
                      <a:pt x="165" y="196"/>
                    </a:lnTo>
                    <a:lnTo>
                      <a:pt x="174" y="195"/>
                    </a:lnTo>
                    <a:lnTo>
                      <a:pt x="175" y="198"/>
                    </a:lnTo>
                    <a:lnTo>
                      <a:pt x="181" y="200"/>
                    </a:lnTo>
                    <a:lnTo>
                      <a:pt x="188" y="216"/>
                    </a:lnTo>
                    <a:lnTo>
                      <a:pt x="198" y="226"/>
                    </a:lnTo>
                    <a:lnTo>
                      <a:pt x="202" y="226"/>
                    </a:lnTo>
                    <a:lnTo>
                      <a:pt x="210" y="224"/>
                    </a:lnTo>
                    <a:lnTo>
                      <a:pt x="240" y="220"/>
                    </a:lnTo>
                    <a:lnTo>
                      <a:pt x="244" y="221"/>
                    </a:lnTo>
                    <a:lnTo>
                      <a:pt x="247" y="226"/>
                    </a:lnTo>
                    <a:lnTo>
                      <a:pt x="251" y="239"/>
                    </a:lnTo>
                    <a:lnTo>
                      <a:pt x="252" y="247"/>
                    </a:lnTo>
                    <a:lnTo>
                      <a:pt x="253" y="265"/>
                    </a:lnTo>
                    <a:lnTo>
                      <a:pt x="251" y="273"/>
                    </a:lnTo>
                    <a:lnTo>
                      <a:pt x="245" y="280"/>
                    </a:lnTo>
                    <a:lnTo>
                      <a:pt x="246" y="286"/>
                    </a:lnTo>
                    <a:lnTo>
                      <a:pt x="240" y="291"/>
                    </a:lnTo>
                    <a:lnTo>
                      <a:pt x="236" y="302"/>
                    </a:lnTo>
                    <a:lnTo>
                      <a:pt x="240" y="306"/>
                    </a:lnTo>
                    <a:lnTo>
                      <a:pt x="245" y="322"/>
                    </a:lnTo>
                    <a:lnTo>
                      <a:pt x="248" y="325"/>
                    </a:lnTo>
                    <a:lnTo>
                      <a:pt x="252" y="327"/>
                    </a:lnTo>
                    <a:lnTo>
                      <a:pt x="255" y="332"/>
                    </a:lnTo>
                    <a:lnTo>
                      <a:pt x="263" y="341"/>
                    </a:lnTo>
                    <a:lnTo>
                      <a:pt x="268" y="348"/>
                    </a:lnTo>
                    <a:lnTo>
                      <a:pt x="272" y="350"/>
                    </a:lnTo>
                    <a:lnTo>
                      <a:pt x="279" y="351"/>
                    </a:lnTo>
                    <a:lnTo>
                      <a:pt x="283" y="356"/>
                    </a:lnTo>
                    <a:lnTo>
                      <a:pt x="283" y="360"/>
                    </a:lnTo>
                    <a:lnTo>
                      <a:pt x="278" y="366"/>
                    </a:lnTo>
                    <a:lnTo>
                      <a:pt x="279" y="368"/>
                    </a:lnTo>
                    <a:lnTo>
                      <a:pt x="291" y="368"/>
                    </a:lnTo>
                    <a:lnTo>
                      <a:pt x="293" y="367"/>
                    </a:lnTo>
                    <a:lnTo>
                      <a:pt x="291" y="357"/>
                    </a:lnTo>
                    <a:lnTo>
                      <a:pt x="293" y="351"/>
                    </a:lnTo>
                    <a:lnTo>
                      <a:pt x="290" y="346"/>
                    </a:lnTo>
                    <a:lnTo>
                      <a:pt x="287" y="343"/>
                    </a:lnTo>
                    <a:lnTo>
                      <a:pt x="287" y="337"/>
                    </a:lnTo>
                    <a:lnTo>
                      <a:pt x="290" y="329"/>
                    </a:lnTo>
                    <a:lnTo>
                      <a:pt x="290" y="325"/>
                    </a:lnTo>
                    <a:lnTo>
                      <a:pt x="291" y="322"/>
                    </a:lnTo>
                    <a:lnTo>
                      <a:pt x="304" y="314"/>
                    </a:lnTo>
                    <a:lnTo>
                      <a:pt x="310" y="313"/>
                    </a:lnTo>
                    <a:lnTo>
                      <a:pt x="316" y="311"/>
                    </a:lnTo>
                    <a:lnTo>
                      <a:pt x="320" y="305"/>
                    </a:lnTo>
                    <a:lnTo>
                      <a:pt x="321" y="284"/>
                    </a:lnTo>
                    <a:lnTo>
                      <a:pt x="323" y="276"/>
                    </a:lnTo>
                    <a:lnTo>
                      <a:pt x="320" y="262"/>
                    </a:lnTo>
                    <a:lnTo>
                      <a:pt x="323" y="252"/>
                    </a:lnTo>
                    <a:lnTo>
                      <a:pt x="326" y="244"/>
                    </a:lnTo>
                    <a:lnTo>
                      <a:pt x="323" y="232"/>
                    </a:lnTo>
                    <a:lnTo>
                      <a:pt x="318" y="225"/>
                    </a:lnTo>
                    <a:lnTo>
                      <a:pt x="305" y="212"/>
                    </a:lnTo>
                    <a:lnTo>
                      <a:pt x="299" y="203"/>
                    </a:lnTo>
                    <a:lnTo>
                      <a:pt x="284" y="184"/>
                    </a:lnTo>
                    <a:lnTo>
                      <a:pt x="274" y="177"/>
                    </a:lnTo>
                    <a:lnTo>
                      <a:pt x="267" y="167"/>
                    </a:lnTo>
                    <a:lnTo>
                      <a:pt x="266" y="167"/>
                    </a:lnTo>
                    <a:lnTo>
                      <a:pt x="263" y="156"/>
                    </a:lnTo>
                    <a:lnTo>
                      <a:pt x="263" y="146"/>
                    </a:lnTo>
                    <a:lnTo>
                      <a:pt x="262" y="138"/>
                    </a:lnTo>
                    <a:lnTo>
                      <a:pt x="262" y="123"/>
                    </a:lnTo>
                    <a:lnTo>
                      <a:pt x="258" y="115"/>
                    </a:lnTo>
                    <a:lnTo>
                      <a:pt x="258" y="107"/>
                    </a:lnTo>
                    <a:lnTo>
                      <a:pt x="262" y="92"/>
                    </a:lnTo>
                    <a:lnTo>
                      <a:pt x="269" y="76"/>
                    </a:lnTo>
                    <a:lnTo>
                      <a:pt x="273" y="58"/>
                    </a:lnTo>
                    <a:lnTo>
                      <a:pt x="314" y="59"/>
                    </a:lnTo>
                    <a:lnTo>
                      <a:pt x="317" y="58"/>
                    </a:lnTo>
                    <a:lnTo>
                      <a:pt x="323" y="53"/>
                    </a:lnTo>
                    <a:lnTo>
                      <a:pt x="331" y="53"/>
                    </a:lnTo>
                    <a:lnTo>
                      <a:pt x="338" y="55"/>
                    </a:lnTo>
                    <a:lnTo>
                      <a:pt x="344" y="61"/>
                    </a:lnTo>
                    <a:lnTo>
                      <a:pt x="349" y="65"/>
                    </a:lnTo>
                    <a:lnTo>
                      <a:pt x="354" y="66"/>
                    </a:lnTo>
                    <a:lnTo>
                      <a:pt x="361" y="64"/>
                    </a:lnTo>
                    <a:lnTo>
                      <a:pt x="370" y="64"/>
                    </a:lnTo>
                    <a:lnTo>
                      <a:pt x="381" y="56"/>
                    </a:lnTo>
                    <a:lnTo>
                      <a:pt x="412" y="58"/>
                    </a:lnTo>
                    <a:lnTo>
                      <a:pt x="419" y="58"/>
                    </a:lnTo>
                    <a:lnTo>
                      <a:pt x="423" y="56"/>
                    </a:lnTo>
                    <a:lnTo>
                      <a:pt x="436" y="43"/>
                    </a:lnTo>
                    <a:lnTo>
                      <a:pt x="450" y="42"/>
                    </a:lnTo>
                    <a:lnTo>
                      <a:pt x="459" y="39"/>
                    </a:lnTo>
                    <a:lnTo>
                      <a:pt x="472" y="45"/>
                    </a:lnTo>
                    <a:lnTo>
                      <a:pt x="482" y="45"/>
                    </a:lnTo>
                    <a:lnTo>
                      <a:pt x="490" y="44"/>
                    </a:lnTo>
                    <a:lnTo>
                      <a:pt x="524" y="32"/>
                    </a:lnTo>
                    <a:lnTo>
                      <a:pt x="543" y="27"/>
                    </a:lnTo>
                    <a:lnTo>
                      <a:pt x="547" y="25"/>
                    </a:lnTo>
                    <a:lnTo>
                      <a:pt x="562" y="11"/>
                    </a:lnTo>
                    <a:lnTo>
                      <a:pt x="576" y="1"/>
                    </a:lnTo>
                    <a:lnTo>
                      <a:pt x="580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71" name="Freeform 37">
                <a:extLst>
                  <a:ext uri="{FF2B5EF4-FFF2-40B4-BE49-F238E27FC236}">
                    <a16:creationId xmlns:a16="http://schemas.microsoft.com/office/drawing/2014/main" id="{E0F3DAF8-1FFE-A498-0D54-0EEA3A62CCB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733" y="2683"/>
                <a:ext cx="104" cy="107"/>
              </a:xfrm>
              <a:custGeom>
                <a:avLst/>
                <a:gdLst>
                  <a:gd name="T0" fmla="*/ 0 w 518"/>
                  <a:gd name="T1" fmla="*/ 14 h 534"/>
                  <a:gd name="T2" fmla="*/ 0 w 518"/>
                  <a:gd name="T3" fmla="*/ 10 h 534"/>
                  <a:gd name="T4" fmla="*/ 2 w 518"/>
                  <a:gd name="T5" fmla="*/ 8 h 534"/>
                  <a:gd name="T6" fmla="*/ 2 w 518"/>
                  <a:gd name="T7" fmla="*/ 4 h 534"/>
                  <a:gd name="T8" fmla="*/ 2 w 518"/>
                  <a:gd name="T9" fmla="*/ 1 h 534"/>
                  <a:gd name="T10" fmla="*/ 6 w 518"/>
                  <a:gd name="T11" fmla="*/ 1 h 534"/>
                  <a:gd name="T12" fmla="*/ 7 w 518"/>
                  <a:gd name="T13" fmla="*/ 1 h 534"/>
                  <a:gd name="T14" fmla="*/ 8 w 518"/>
                  <a:gd name="T15" fmla="*/ 1 h 534"/>
                  <a:gd name="T16" fmla="*/ 8 w 518"/>
                  <a:gd name="T17" fmla="*/ 2 h 534"/>
                  <a:gd name="T18" fmla="*/ 9 w 518"/>
                  <a:gd name="T19" fmla="*/ 1 h 534"/>
                  <a:gd name="T20" fmla="*/ 11 w 518"/>
                  <a:gd name="T21" fmla="*/ 0 h 534"/>
                  <a:gd name="T22" fmla="*/ 11 w 518"/>
                  <a:gd name="T23" fmla="*/ 0 h 534"/>
                  <a:gd name="T24" fmla="*/ 12 w 518"/>
                  <a:gd name="T25" fmla="*/ 0 h 534"/>
                  <a:gd name="T26" fmla="*/ 12 w 518"/>
                  <a:gd name="T27" fmla="*/ 2 h 534"/>
                  <a:gd name="T28" fmla="*/ 13 w 518"/>
                  <a:gd name="T29" fmla="*/ 2 h 534"/>
                  <a:gd name="T30" fmla="*/ 14 w 518"/>
                  <a:gd name="T31" fmla="*/ 4 h 534"/>
                  <a:gd name="T32" fmla="*/ 15 w 518"/>
                  <a:gd name="T33" fmla="*/ 5 h 534"/>
                  <a:gd name="T34" fmla="*/ 16 w 518"/>
                  <a:gd name="T35" fmla="*/ 6 h 534"/>
                  <a:gd name="T36" fmla="*/ 17 w 518"/>
                  <a:gd name="T37" fmla="*/ 7 h 534"/>
                  <a:gd name="T38" fmla="*/ 17 w 518"/>
                  <a:gd name="T39" fmla="*/ 8 h 534"/>
                  <a:gd name="T40" fmla="*/ 18 w 518"/>
                  <a:gd name="T41" fmla="*/ 9 h 534"/>
                  <a:gd name="T42" fmla="*/ 19 w 518"/>
                  <a:gd name="T43" fmla="*/ 9 h 534"/>
                  <a:gd name="T44" fmla="*/ 20 w 518"/>
                  <a:gd name="T45" fmla="*/ 10 h 534"/>
                  <a:gd name="T46" fmla="*/ 21 w 518"/>
                  <a:gd name="T47" fmla="*/ 10 h 534"/>
                  <a:gd name="T48" fmla="*/ 20 w 518"/>
                  <a:gd name="T49" fmla="*/ 10 h 534"/>
                  <a:gd name="T50" fmla="*/ 18 w 518"/>
                  <a:gd name="T51" fmla="*/ 12 h 534"/>
                  <a:gd name="T52" fmla="*/ 17 w 518"/>
                  <a:gd name="T53" fmla="*/ 13 h 534"/>
                  <a:gd name="T54" fmla="*/ 16 w 518"/>
                  <a:gd name="T55" fmla="*/ 14 h 534"/>
                  <a:gd name="T56" fmla="*/ 14 w 518"/>
                  <a:gd name="T57" fmla="*/ 16 h 534"/>
                  <a:gd name="T58" fmla="*/ 13 w 518"/>
                  <a:gd name="T59" fmla="*/ 18 h 534"/>
                  <a:gd name="T60" fmla="*/ 12 w 518"/>
                  <a:gd name="T61" fmla="*/ 18 h 534"/>
                  <a:gd name="T62" fmla="*/ 11 w 518"/>
                  <a:gd name="T63" fmla="*/ 19 h 534"/>
                  <a:gd name="T64" fmla="*/ 9 w 518"/>
                  <a:gd name="T65" fmla="*/ 18 h 534"/>
                  <a:gd name="T66" fmla="*/ 8 w 518"/>
                  <a:gd name="T67" fmla="*/ 18 h 534"/>
                  <a:gd name="T68" fmla="*/ 7 w 518"/>
                  <a:gd name="T69" fmla="*/ 19 h 534"/>
                  <a:gd name="T70" fmla="*/ 6 w 518"/>
                  <a:gd name="T71" fmla="*/ 19 h 534"/>
                  <a:gd name="T72" fmla="*/ 6 w 518"/>
                  <a:gd name="T73" fmla="*/ 20 h 534"/>
                  <a:gd name="T74" fmla="*/ 5 w 518"/>
                  <a:gd name="T75" fmla="*/ 21 h 534"/>
                  <a:gd name="T76" fmla="*/ 3 w 518"/>
                  <a:gd name="T77" fmla="*/ 21 h 534"/>
                  <a:gd name="T78" fmla="*/ 2 w 518"/>
                  <a:gd name="T79" fmla="*/ 21 h 534"/>
                  <a:gd name="T80" fmla="*/ 2 w 518"/>
                  <a:gd name="T81" fmla="*/ 20 h 534"/>
                  <a:gd name="T82" fmla="*/ 2 w 518"/>
                  <a:gd name="T83" fmla="*/ 19 h 534"/>
                  <a:gd name="T84" fmla="*/ 2 w 518"/>
                  <a:gd name="T85" fmla="*/ 18 h 534"/>
                  <a:gd name="T86" fmla="*/ 1 w 518"/>
                  <a:gd name="T87" fmla="*/ 17 h 534"/>
                  <a:gd name="T88" fmla="*/ 0 w 518"/>
                  <a:gd name="T89" fmla="*/ 17 h 534"/>
                  <a:gd name="T90" fmla="*/ 0 w 518"/>
                  <a:gd name="T91" fmla="*/ 16 h 534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518"/>
                  <a:gd name="T139" fmla="*/ 0 h 534"/>
                  <a:gd name="T140" fmla="*/ 518 w 518"/>
                  <a:gd name="T141" fmla="*/ 534 h 534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518" h="534">
                    <a:moveTo>
                      <a:pt x="0" y="409"/>
                    </a:moveTo>
                    <a:lnTo>
                      <a:pt x="0" y="356"/>
                    </a:lnTo>
                    <a:lnTo>
                      <a:pt x="0" y="298"/>
                    </a:lnTo>
                    <a:lnTo>
                      <a:pt x="0" y="244"/>
                    </a:lnTo>
                    <a:lnTo>
                      <a:pt x="56" y="244"/>
                    </a:lnTo>
                    <a:lnTo>
                      <a:pt x="56" y="206"/>
                    </a:lnTo>
                    <a:lnTo>
                      <a:pt x="56" y="149"/>
                    </a:lnTo>
                    <a:lnTo>
                      <a:pt x="56" y="93"/>
                    </a:lnTo>
                    <a:lnTo>
                      <a:pt x="56" y="40"/>
                    </a:lnTo>
                    <a:lnTo>
                      <a:pt x="61" y="35"/>
                    </a:lnTo>
                    <a:lnTo>
                      <a:pt x="141" y="20"/>
                    </a:lnTo>
                    <a:lnTo>
                      <a:pt x="158" y="17"/>
                    </a:lnTo>
                    <a:lnTo>
                      <a:pt x="164" y="17"/>
                    </a:lnTo>
                    <a:lnTo>
                      <a:pt x="181" y="18"/>
                    </a:lnTo>
                    <a:lnTo>
                      <a:pt x="192" y="22"/>
                    </a:lnTo>
                    <a:lnTo>
                      <a:pt x="199" y="34"/>
                    </a:lnTo>
                    <a:lnTo>
                      <a:pt x="202" y="49"/>
                    </a:lnTo>
                    <a:lnTo>
                      <a:pt x="208" y="41"/>
                    </a:lnTo>
                    <a:lnTo>
                      <a:pt x="217" y="30"/>
                    </a:lnTo>
                    <a:lnTo>
                      <a:pt x="233" y="18"/>
                    </a:lnTo>
                    <a:lnTo>
                      <a:pt x="260" y="12"/>
                    </a:lnTo>
                    <a:lnTo>
                      <a:pt x="265" y="6"/>
                    </a:lnTo>
                    <a:lnTo>
                      <a:pt x="272" y="1"/>
                    </a:lnTo>
                    <a:lnTo>
                      <a:pt x="283" y="0"/>
                    </a:lnTo>
                    <a:lnTo>
                      <a:pt x="291" y="2"/>
                    </a:lnTo>
                    <a:lnTo>
                      <a:pt x="291" y="11"/>
                    </a:lnTo>
                    <a:lnTo>
                      <a:pt x="294" y="17"/>
                    </a:lnTo>
                    <a:lnTo>
                      <a:pt x="307" y="39"/>
                    </a:lnTo>
                    <a:lnTo>
                      <a:pt x="317" y="49"/>
                    </a:lnTo>
                    <a:lnTo>
                      <a:pt x="319" y="60"/>
                    </a:lnTo>
                    <a:lnTo>
                      <a:pt x="325" y="74"/>
                    </a:lnTo>
                    <a:lnTo>
                      <a:pt x="339" y="93"/>
                    </a:lnTo>
                    <a:lnTo>
                      <a:pt x="368" y="124"/>
                    </a:lnTo>
                    <a:lnTo>
                      <a:pt x="385" y="127"/>
                    </a:lnTo>
                    <a:lnTo>
                      <a:pt x="398" y="137"/>
                    </a:lnTo>
                    <a:lnTo>
                      <a:pt x="407" y="151"/>
                    </a:lnTo>
                    <a:lnTo>
                      <a:pt x="420" y="154"/>
                    </a:lnTo>
                    <a:lnTo>
                      <a:pt x="431" y="164"/>
                    </a:lnTo>
                    <a:lnTo>
                      <a:pt x="431" y="185"/>
                    </a:lnTo>
                    <a:lnTo>
                      <a:pt x="434" y="205"/>
                    </a:lnTo>
                    <a:lnTo>
                      <a:pt x="441" y="218"/>
                    </a:lnTo>
                    <a:lnTo>
                      <a:pt x="449" y="227"/>
                    </a:lnTo>
                    <a:lnTo>
                      <a:pt x="458" y="232"/>
                    </a:lnTo>
                    <a:lnTo>
                      <a:pt x="470" y="234"/>
                    </a:lnTo>
                    <a:lnTo>
                      <a:pt x="484" y="234"/>
                    </a:lnTo>
                    <a:lnTo>
                      <a:pt x="497" y="240"/>
                    </a:lnTo>
                    <a:lnTo>
                      <a:pt x="507" y="244"/>
                    </a:lnTo>
                    <a:lnTo>
                      <a:pt x="518" y="253"/>
                    </a:lnTo>
                    <a:lnTo>
                      <a:pt x="517" y="256"/>
                    </a:lnTo>
                    <a:lnTo>
                      <a:pt x="506" y="261"/>
                    </a:lnTo>
                    <a:lnTo>
                      <a:pt x="492" y="270"/>
                    </a:lnTo>
                    <a:lnTo>
                      <a:pt x="454" y="288"/>
                    </a:lnTo>
                    <a:lnTo>
                      <a:pt x="438" y="305"/>
                    </a:lnTo>
                    <a:lnTo>
                      <a:pt x="418" y="318"/>
                    </a:lnTo>
                    <a:lnTo>
                      <a:pt x="399" y="336"/>
                    </a:lnTo>
                    <a:lnTo>
                      <a:pt x="388" y="352"/>
                    </a:lnTo>
                    <a:lnTo>
                      <a:pt x="371" y="377"/>
                    </a:lnTo>
                    <a:lnTo>
                      <a:pt x="344" y="396"/>
                    </a:lnTo>
                    <a:lnTo>
                      <a:pt x="329" y="415"/>
                    </a:lnTo>
                    <a:lnTo>
                      <a:pt x="314" y="449"/>
                    </a:lnTo>
                    <a:lnTo>
                      <a:pt x="309" y="455"/>
                    </a:lnTo>
                    <a:lnTo>
                      <a:pt x="301" y="459"/>
                    </a:lnTo>
                    <a:lnTo>
                      <a:pt x="290" y="460"/>
                    </a:lnTo>
                    <a:lnTo>
                      <a:pt x="265" y="466"/>
                    </a:lnTo>
                    <a:lnTo>
                      <a:pt x="250" y="465"/>
                    </a:lnTo>
                    <a:lnTo>
                      <a:pt x="227" y="452"/>
                    </a:lnTo>
                    <a:lnTo>
                      <a:pt x="215" y="447"/>
                    </a:lnTo>
                    <a:lnTo>
                      <a:pt x="201" y="445"/>
                    </a:lnTo>
                    <a:lnTo>
                      <a:pt x="189" y="449"/>
                    </a:lnTo>
                    <a:lnTo>
                      <a:pt x="170" y="469"/>
                    </a:lnTo>
                    <a:lnTo>
                      <a:pt x="163" y="477"/>
                    </a:lnTo>
                    <a:lnTo>
                      <a:pt x="161" y="485"/>
                    </a:lnTo>
                    <a:lnTo>
                      <a:pt x="152" y="496"/>
                    </a:lnTo>
                    <a:lnTo>
                      <a:pt x="140" y="503"/>
                    </a:lnTo>
                    <a:lnTo>
                      <a:pt x="135" y="508"/>
                    </a:lnTo>
                    <a:lnTo>
                      <a:pt x="125" y="525"/>
                    </a:lnTo>
                    <a:lnTo>
                      <a:pt x="90" y="534"/>
                    </a:lnTo>
                    <a:lnTo>
                      <a:pt x="72" y="533"/>
                    </a:lnTo>
                    <a:lnTo>
                      <a:pt x="56" y="530"/>
                    </a:lnTo>
                    <a:lnTo>
                      <a:pt x="46" y="528"/>
                    </a:lnTo>
                    <a:lnTo>
                      <a:pt x="43" y="519"/>
                    </a:lnTo>
                    <a:lnTo>
                      <a:pt x="50" y="498"/>
                    </a:lnTo>
                    <a:lnTo>
                      <a:pt x="52" y="485"/>
                    </a:lnTo>
                    <a:lnTo>
                      <a:pt x="52" y="479"/>
                    </a:lnTo>
                    <a:lnTo>
                      <a:pt x="51" y="461"/>
                    </a:lnTo>
                    <a:lnTo>
                      <a:pt x="44" y="449"/>
                    </a:lnTo>
                    <a:lnTo>
                      <a:pt x="30" y="438"/>
                    </a:lnTo>
                    <a:lnTo>
                      <a:pt x="25" y="429"/>
                    </a:lnTo>
                    <a:lnTo>
                      <a:pt x="13" y="418"/>
                    </a:lnTo>
                    <a:lnTo>
                      <a:pt x="11" y="415"/>
                    </a:lnTo>
                    <a:lnTo>
                      <a:pt x="5" y="409"/>
                    </a:lnTo>
                    <a:lnTo>
                      <a:pt x="0" y="40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72" name="Freeform 38">
                <a:extLst>
                  <a:ext uri="{FF2B5EF4-FFF2-40B4-BE49-F238E27FC236}">
                    <a16:creationId xmlns:a16="http://schemas.microsoft.com/office/drawing/2014/main" id="{9EE32E35-68C3-6E0E-8BDB-1BE15B36133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51" y="2347"/>
                <a:ext cx="81" cy="61"/>
              </a:xfrm>
              <a:custGeom>
                <a:avLst/>
                <a:gdLst>
                  <a:gd name="T0" fmla="*/ 7 w 404"/>
                  <a:gd name="T1" fmla="*/ 1 h 307"/>
                  <a:gd name="T2" fmla="*/ 6 w 404"/>
                  <a:gd name="T3" fmla="*/ 1 h 307"/>
                  <a:gd name="T4" fmla="*/ 5 w 404"/>
                  <a:gd name="T5" fmla="*/ 0 h 307"/>
                  <a:gd name="T6" fmla="*/ 4 w 404"/>
                  <a:gd name="T7" fmla="*/ 0 h 307"/>
                  <a:gd name="T8" fmla="*/ 3 w 404"/>
                  <a:gd name="T9" fmla="*/ 1 h 307"/>
                  <a:gd name="T10" fmla="*/ 3 w 404"/>
                  <a:gd name="T11" fmla="*/ 1 h 307"/>
                  <a:gd name="T12" fmla="*/ 3 w 404"/>
                  <a:gd name="T13" fmla="*/ 2 h 307"/>
                  <a:gd name="T14" fmla="*/ 1 w 404"/>
                  <a:gd name="T15" fmla="*/ 3 h 307"/>
                  <a:gd name="T16" fmla="*/ 0 w 404"/>
                  <a:gd name="T17" fmla="*/ 4 h 307"/>
                  <a:gd name="T18" fmla="*/ 1 w 404"/>
                  <a:gd name="T19" fmla="*/ 4 h 307"/>
                  <a:gd name="T20" fmla="*/ 1 w 404"/>
                  <a:gd name="T21" fmla="*/ 5 h 307"/>
                  <a:gd name="T22" fmla="*/ 3 w 404"/>
                  <a:gd name="T23" fmla="*/ 6 h 307"/>
                  <a:gd name="T24" fmla="*/ 4 w 404"/>
                  <a:gd name="T25" fmla="*/ 8 h 307"/>
                  <a:gd name="T26" fmla="*/ 4 w 404"/>
                  <a:gd name="T27" fmla="*/ 8 h 307"/>
                  <a:gd name="T28" fmla="*/ 5 w 404"/>
                  <a:gd name="T29" fmla="*/ 8 h 307"/>
                  <a:gd name="T30" fmla="*/ 6 w 404"/>
                  <a:gd name="T31" fmla="*/ 7 h 307"/>
                  <a:gd name="T32" fmla="*/ 6 w 404"/>
                  <a:gd name="T33" fmla="*/ 6 h 307"/>
                  <a:gd name="T34" fmla="*/ 8 w 404"/>
                  <a:gd name="T35" fmla="*/ 6 h 307"/>
                  <a:gd name="T36" fmla="*/ 9 w 404"/>
                  <a:gd name="T37" fmla="*/ 7 h 307"/>
                  <a:gd name="T38" fmla="*/ 10 w 404"/>
                  <a:gd name="T39" fmla="*/ 7 h 307"/>
                  <a:gd name="T40" fmla="*/ 10 w 404"/>
                  <a:gd name="T41" fmla="*/ 8 h 307"/>
                  <a:gd name="T42" fmla="*/ 10 w 404"/>
                  <a:gd name="T43" fmla="*/ 9 h 307"/>
                  <a:gd name="T44" fmla="*/ 10 w 404"/>
                  <a:gd name="T45" fmla="*/ 9 h 307"/>
                  <a:gd name="T46" fmla="*/ 11 w 404"/>
                  <a:gd name="T47" fmla="*/ 10 h 307"/>
                  <a:gd name="T48" fmla="*/ 11 w 404"/>
                  <a:gd name="T49" fmla="*/ 9 h 307"/>
                  <a:gd name="T50" fmla="*/ 12 w 404"/>
                  <a:gd name="T51" fmla="*/ 9 h 307"/>
                  <a:gd name="T52" fmla="*/ 13 w 404"/>
                  <a:gd name="T53" fmla="*/ 11 h 307"/>
                  <a:gd name="T54" fmla="*/ 12 w 404"/>
                  <a:gd name="T55" fmla="*/ 12 h 307"/>
                  <a:gd name="T56" fmla="*/ 13 w 404"/>
                  <a:gd name="T57" fmla="*/ 12 h 307"/>
                  <a:gd name="T58" fmla="*/ 14 w 404"/>
                  <a:gd name="T59" fmla="*/ 12 h 307"/>
                  <a:gd name="T60" fmla="*/ 15 w 404"/>
                  <a:gd name="T61" fmla="*/ 11 h 307"/>
                  <a:gd name="T62" fmla="*/ 15 w 404"/>
                  <a:gd name="T63" fmla="*/ 10 h 307"/>
                  <a:gd name="T64" fmla="*/ 15 w 404"/>
                  <a:gd name="T65" fmla="*/ 10 h 307"/>
                  <a:gd name="T66" fmla="*/ 15 w 404"/>
                  <a:gd name="T67" fmla="*/ 9 h 307"/>
                  <a:gd name="T68" fmla="*/ 16 w 404"/>
                  <a:gd name="T69" fmla="*/ 9 h 307"/>
                  <a:gd name="T70" fmla="*/ 16 w 404"/>
                  <a:gd name="T71" fmla="*/ 9 h 307"/>
                  <a:gd name="T72" fmla="*/ 16 w 404"/>
                  <a:gd name="T73" fmla="*/ 9 h 307"/>
                  <a:gd name="T74" fmla="*/ 16 w 404"/>
                  <a:gd name="T75" fmla="*/ 8 h 307"/>
                  <a:gd name="T76" fmla="*/ 15 w 404"/>
                  <a:gd name="T77" fmla="*/ 7 h 307"/>
                  <a:gd name="T78" fmla="*/ 15 w 404"/>
                  <a:gd name="T79" fmla="*/ 6 h 307"/>
                  <a:gd name="T80" fmla="*/ 15 w 404"/>
                  <a:gd name="T81" fmla="*/ 5 h 307"/>
                  <a:gd name="T82" fmla="*/ 15 w 404"/>
                  <a:gd name="T83" fmla="*/ 4 h 307"/>
                  <a:gd name="T84" fmla="*/ 14 w 404"/>
                  <a:gd name="T85" fmla="*/ 4 h 307"/>
                  <a:gd name="T86" fmla="*/ 15 w 404"/>
                  <a:gd name="T87" fmla="*/ 3 h 307"/>
                  <a:gd name="T88" fmla="*/ 14 w 404"/>
                  <a:gd name="T89" fmla="*/ 3 h 307"/>
                  <a:gd name="T90" fmla="*/ 14 w 404"/>
                  <a:gd name="T91" fmla="*/ 2 h 307"/>
                  <a:gd name="T92" fmla="*/ 13 w 404"/>
                  <a:gd name="T93" fmla="*/ 1 h 307"/>
                  <a:gd name="T94" fmla="*/ 13 w 404"/>
                  <a:gd name="T95" fmla="*/ 0 h 307"/>
                  <a:gd name="T96" fmla="*/ 13 w 404"/>
                  <a:gd name="T97" fmla="*/ 0 h 307"/>
                  <a:gd name="T98" fmla="*/ 12 w 404"/>
                  <a:gd name="T99" fmla="*/ 2 h 307"/>
                  <a:gd name="T100" fmla="*/ 10 w 404"/>
                  <a:gd name="T101" fmla="*/ 1 h 307"/>
                  <a:gd name="T102" fmla="*/ 9 w 404"/>
                  <a:gd name="T103" fmla="*/ 1 h 307"/>
                  <a:gd name="T104" fmla="*/ 8 w 404"/>
                  <a:gd name="T105" fmla="*/ 2 h 307"/>
                  <a:gd name="T106" fmla="*/ 8 w 404"/>
                  <a:gd name="T107" fmla="*/ 1 h 30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404"/>
                  <a:gd name="T163" fmla="*/ 0 h 307"/>
                  <a:gd name="T164" fmla="*/ 404 w 404"/>
                  <a:gd name="T165" fmla="*/ 307 h 307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404" h="307">
                    <a:moveTo>
                      <a:pt x="205" y="15"/>
                    </a:moveTo>
                    <a:lnTo>
                      <a:pt x="195" y="15"/>
                    </a:lnTo>
                    <a:lnTo>
                      <a:pt x="189" y="18"/>
                    </a:lnTo>
                    <a:lnTo>
                      <a:pt x="185" y="18"/>
                    </a:lnTo>
                    <a:lnTo>
                      <a:pt x="174" y="17"/>
                    </a:lnTo>
                    <a:lnTo>
                      <a:pt x="172" y="18"/>
                    </a:lnTo>
                    <a:lnTo>
                      <a:pt x="165" y="18"/>
                    </a:lnTo>
                    <a:lnTo>
                      <a:pt x="157" y="20"/>
                    </a:lnTo>
                    <a:lnTo>
                      <a:pt x="151" y="20"/>
                    </a:lnTo>
                    <a:lnTo>
                      <a:pt x="146" y="18"/>
                    </a:lnTo>
                    <a:lnTo>
                      <a:pt x="142" y="18"/>
                    </a:lnTo>
                    <a:lnTo>
                      <a:pt x="135" y="15"/>
                    </a:lnTo>
                    <a:lnTo>
                      <a:pt x="128" y="15"/>
                    </a:lnTo>
                    <a:lnTo>
                      <a:pt x="122" y="9"/>
                    </a:lnTo>
                    <a:lnTo>
                      <a:pt x="119" y="11"/>
                    </a:lnTo>
                    <a:lnTo>
                      <a:pt x="119" y="14"/>
                    </a:lnTo>
                    <a:lnTo>
                      <a:pt x="112" y="13"/>
                    </a:lnTo>
                    <a:lnTo>
                      <a:pt x="112" y="7"/>
                    </a:lnTo>
                    <a:lnTo>
                      <a:pt x="109" y="4"/>
                    </a:lnTo>
                    <a:lnTo>
                      <a:pt x="101" y="3"/>
                    </a:lnTo>
                    <a:lnTo>
                      <a:pt x="95" y="4"/>
                    </a:lnTo>
                    <a:lnTo>
                      <a:pt x="90" y="1"/>
                    </a:lnTo>
                    <a:lnTo>
                      <a:pt x="76" y="0"/>
                    </a:lnTo>
                    <a:lnTo>
                      <a:pt x="76" y="7"/>
                    </a:lnTo>
                    <a:lnTo>
                      <a:pt x="80" y="14"/>
                    </a:lnTo>
                    <a:lnTo>
                      <a:pt x="80" y="18"/>
                    </a:lnTo>
                    <a:lnTo>
                      <a:pt x="77" y="24"/>
                    </a:lnTo>
                    <a:lnTo>
                      <a:pt x="75" y="25"/>
                    </a:lnTo>
                    <a:lnTo>
                      <a:pt x="69" y="25"/>
                    </a:lnTo>
                    <a:lnTo>
                      <a:pt x="67" y="27"/>
                    </a:lnTo>
                    <a:lnTo>
                      <a:pt x="65" y="30"/>
                    </a:lnTo>
                    <a:lnTo>
                      <a:pt x="71" y="34"/>
                    </a:lnTo>
                    <a:lnTo>
                      <a:pt x="74" y="39"/>
                    </a:lnTo>
                    <a:lnTo>
                      <a:pt x="75" y="57"/>
                    </a:lnTo>
                    <a:lnTo>
                      <a:pt x="69" y="57"/>
                    </a:lnTo>
                    <a:lnTo>
                      <a:pt x="65" y="60"/>
                    </a:lnTo>
                    <a:lnTo>
                      <a:pt x="45" y="60"/>
                    </a:lnTo>
                    <a:lnTo>
                      <a:pt x="28" y="67"/>
                    </a:lnTo>
                    <a:lnTo>
                      <a:pt x="21" y="73"/>
                    </a:lnTo>
                    <a:lnTo>
                      <a:pt x="17" y="81"/>
                    </a:lnTo>
                    <a:lnTo>
                      <a:pt x="13" y="89"/>
                    </a:lnTo>
                    <a:lnTo>
                      <a:pt x="11" y="93"/>
                    </a:lnTo>
                    <a:lnTo>
                      <a:pt x="6" y="97"/>
                    </a:lnTo>
                    <a:lnTo>
                      <a:pt x="0" y="99"/>
                    </a:lnTo>
                    <a:lnTo>
                      <a:pt x="1" y="109"/>
                    </a:lnTo>
                    <a:lnTo>
                      <a:pt x="5" y="110"/>
                    </a:lnTo>
                    <a:lnTo>
                      <a:pt x="7" y="110"/>
                    </a:lnTo>
                    <a:lnTo>
                      <a:pt x="10" y="109"/>
                    </a:lnTo>
                    <a:lnTo>
                      <a:pt x="13" y="101"/>
                    </a:lnTo>
                    <a:lnTo>
                      <a:pt x="17" y="100"/>
                    </a:lnTo>
                    <a:lnTo>
                      <a:pt x="21" y="114"/>
                    </a:lnTo>
                    <a:lnTo>
                      <a:pt x="29" y="115"/>
                    </a:lnTo>
                    <a:lnTo>
                      <a:pt x="31" y="116"/>
                    </a:lnTo>
                    <a:lnTo>
                      <a:pt x="31" y="128"/>
                    </a:lnTo>
                    <a:lnTo>
                      <a:pt x="36" y="141"/>
                    </a:lnTo>
                    <a:lnTo>
                      <a:pt x="39" y="146"/>
                    </a:lnTo>
                    <a:lnTo>
                      <a:pt x="47" y="148"/>
                    </a:lnTo>
                    <a:lnTo>
                      <a:pt x="55" y="154"/>
                    </a:lnTo>
                    <a:lnTo>
                      <a:pt x="66" y="159"/>
                    </a:lnTo>
                    <a:lnTo>
                      <a:pt x="74" y="168"/>
                    </a:lnTo>
                    <a:lnTo>
                      <a:pt x="75" y="179"/>
                    </a:lnTo>
                    <a:lnTo>
                      <a:pt x="83" y="183"/>
                    </a:lnTo>
                    <a:lnTo>
                      <a:pt x="86" y="187"/>
                    </a:lnTo>
                    <a:lnTo>
                      <a:pt x="88" y="190"/>
                    </a:lnTo>
                    <a:lnTo>
                      <a:pt x="88" y="192"/>
                    </a:lnTo>
                    <a:lnTo>
                      <a:pt x="93" y="195"/>
                    </a:lnTo>
                    <a:lnTo>
                      <a:pt x="97" y="200"/>
                    </a:lnTo>
                    <a:lnTo>
                      <a:pt x="98" y="201"/>
                    </a:lnTo>
                    <a:lnTo>
                      <a:pt x="104" y="203"/>
                    </a:lnTo>
                    <a:lnTo>
                      <a:pt x="110" y="203"/>
                    </a:lnTo>
                    <a:lnTo>
                      <a:pt x="113" y="202"/>
                    </a:lnTo>
                    <a:lnTo>
                      <a:pt x="115" y="201"/>
                    </a:lnTo>
                    <a:lnTo>
                      <a:pt x="119" y="191"/>
                    </a:lnTo>
                    <a:lnTo>
                      <a:pt x="124" y="191"/>
                    </a:lnTo>
                    <a:lnTo>
                      <a:pt x="128" y="189"/>
                    </a:lnTo>
                    <a:lnTo>
                      <a:pt x="128" y="184"/>
                    </a:lnTo>
                    <a:lnTo>
                      <a:pt x="133" y="183"/>
                    </a:lnTo>
                    <a:lnTo>
                      <a:pt x="139" y="175"/>
                    </a:lnTo>
                    <a:lnTo>
                      <a:pt x="142" y="168"/>
                    </a:lnTo>
                    <a:lnTo>
                      <a:pt x="141" y="159"/>
                    </a:lnTo>
                    <a:lnTo>
                      <a:pt x="145" y="158"/>
                    </a:lnTo>
                    <a:lnTo>
                      <a:pt x="153" y="157"/>
                    </a:lnTo>
                    <a:lnTo>
                      <a:pt x="157" y="159"/>
                    </a:lnTo>
                    <a:lnTo>
                      <a:pt x="161" y="159"/>
                    </a:lnTo>
                    <a:lnTo>
                      <a:pt x="166" y="157"/>
                    </a:lnTo>
                    <a:lnTo>
                      <a:pt x="172" y="157"/>
                    </a:lnTo>
                    <a:lnTo>
                      <a:pt x="172" y="152"/>
                    </a:lnTo>
                    <a:lnTo>
                      <a:pt x="198" y="152"/>
                    </a:lnTo>
                    <a:lnTo>
                      <a:pt x="211" y="153"/>
                    </a:lnTo>
                    <a:lnTo>
                      <a:pt x="215" y="160"/>
                    </a:lnTo>
                    <a:lnTo>
                      <a:pt x="221" y="164"/>
                    </a:lnTo>
                    <a:lnTo>
                      <a:pt x="225" y="169"/>
                    </a:lnTo>
                    <a:lnTo>
                      <a:pt x="230" y="173"/>
                    </a:lnTo>
                    <a:lnTo>
                      <a:pt x="230" y="175"/>
                    </a:lnTo>
                    <a:lnTo>
                      <a:pt x="232" y="179"/>
                    </a:lnTo>
                    <a:lnTo>
                      <a:pt x="231" y="181"/>
                    </a:lnTo>
                    <a:lnTo>
                      <a:pt x="231" y="184"/>
                    </a:lnTo>
                    <a:lnTo>
                      <a:pt x="238" y="186"/>
                    </a:lnTo>
                    <a:lnTo>
                      <a:pt x="241" y="187"/>
                    </a:lnTo>
                    <a:lnTo>
                      <a:pt x="241" y="190"/>
                    </a:lnTo>
                    <a:lnTo>
                      <a:pt x="239" y="192"/>
                    </a:lnTo>
                    <a:lnTo>
                      <a:pt x="241" y="197"/>
                    </a:lnTo>
                    <a:lnTo>
                      <a:pt x="239" y="197"/>
                    </a:lnTo>
                    <a:lnTo>
                      <a:pt x="241" y="202"/>
                    </a:lnTo>
                    <a:lnTo>
                      <a:pt x="242" y="205"/>
                    </a:lnTo>
                    <a:lnTo>
                      <a:pt x="247" y="208"/>
                    </a:lnTo>
                    <a:lnTo>
                      <a:pt x="248" y="212"/>
                    </a:lnTo>
                    <a:lnTo>
                      <a:pt x="251" y="222"/>
                    </a:lnTo>
                    <a:lnTo>
                      <a:pt x="249" y="223"/>
                    </a:lnTo>
                    <a:lnTo>
                      <a:pt x="244" y="226"/>
                    </a:lnTo>
                    <a:lnTo>
                      <a:pt x="242" y="237"/>
                    </a:lnTo>
                    <a:lnTo>
                      <a:pt x="239" y="242"/>
                    </a:lnTo>
                    <a:lnTo>
                      <a:pt x="239" y="244"/>
                    </a:lnTo>
                    <a:lnTo>
                      <a:pt x="252" y="239"/>
                    </a:lnTo>
                    <a:lnTo>
                      <a:pt x="258" y="234"/>
                    </a:lnTo>
                    <a:lnTo>
                      <a:pt x="259" y="234"/>
                    </a:lnTo>
                    <a:lnTo>
                      <a:pt x="260" y="237"/>
                    </a:lnTo>
                    <a:lnTo>
                      <a:pt x="260" y="240"/>
                    </a:lnTo>
                    <a:lnTo>
                      <a:pt x="264" y="240"/>
                    </a:lnTo>
                    <a:lnTo>
                      <a:pt x="266" y="234"/>
                    </a:lnTo>
                    <a:lnTo>
                      <a:pt x="270" y="232"/>
                    </a:lnTo>
                    <a:lnTo>
                      <a:pt x="274" y="233"/>
                    </a:lnTo>
                    <a:lnTo>
                      <a:pt x="280" y="238"/>
                    </a:lnTo>
                    <a:lnTo>
                      <a:pt x="281" y="238"/>
                    </a:lnTo>
                    <a:lnTo>
                      <a:pt x="284" y="235"/>
                    </a:lnTo>
                    <a:lnTo>
                      <a:pt x="292" y="233"/>
                    </a:lnTo>
                    <a:lnTo>
                      <a:pt x="295" y="234"/>
                    </a:lnTo>
                    <a:lnTo>
                      <a:pt x="295" y="235"/>
                    </a:lnTo>
                    <a:lnTo>
                      <a:pt x="297" y="239"/>
                    </a:lnTo>
                    <a:lnTo>
                      <a:pt x="305" y="244"/>
                    </a:lnTo>
                    <a:lnTo>
                      <a:pt x="305" y="251"/>
                    </a:lnTo>
                    <a:lnTo>
                      <a:pt x="309" y="257"/>
                    </a:lnTo>
                    <a:lnTo>
                      <a:pt x="311" y="271"/>
                    </a:lnTo>
                    <a:lnTo>
                      <a:pt x="313" y="273"/>
                    </a:lnTo>
                    <a:lnTo>
                      <a:pt x="312" y="288"/>
                    </a:lnTo>
                    <a:lnTo>
                      <a:pt x="309" y="292"/>
                    </a:lnTo>
                    <a:lnTo>
                      <a:pt x="306" y="294"/>
                    </a:lnTo>
                    <a:lnTo>
                      <a:pt x="305" y="297"/>
                    </a:lnTo>
                    <a:lnTo>
                      <a:pt x="306" y="298"/>
                    </a:lnTo>
                    <a:lnTo>
                      <a:pt x="311" y="298"/>
                    </a:lnTo>
                    <a:lnTo>
                      <a:pt x="314" y="294"/>
                    </a:lnTo>
                    <a:lnTo>
                      <a:pt x="317" y="296"/>
                    </a:lnTo>
                    <a:lnTo>
                      <a:pt x="322" y="299"/>
                    </a:lnTo>
                    <a:lnTo>
                      <a:pt x="327" y="307"/>
                    </a:lnTo>
                    <a:lnTo>
                      <a:pt x="332" y="305"/>
                    </a:lnTo>
                    <a:lnTo>
                      <a:pt x="334" y="303"/>
                    </a:lnTo>
                    <a:lnTo>
                      <a:pt x="341" y="302"/>
                    </a:lnTo>
                    <a:lnTo>
                      <a:pt x="343" y="298"/>
                    </a:lnTo>
                    <a:lnTo>
                      <a:pt x="348" y="292"/>
                    </a:lnTo>
                    <a:lnTo>
                      <a:pt x="348" y="283"/>
                    </a:lnTo>
                    <a:lnTo>
                      <a:pt x="351" y="281"/>
                    </a:lnTo>
                    <a:lnTo>
                      <a:pt x="357" y="282"/>
                    </a:lnTo>
                    <a:lnTo>
                      <a:pt x="361" y="288"/>
                    </a:lnTo>
                    <a:lnTo>
                      <a:pt x="365" y="286"/>
                    </a:lnTo>
                    <a:lnTo>
                      <a:pt x="378" y="287"/>
                    </a:lnTo>
                    <a:lnTo>
                      <a:pt x="378" y="282"/>
                    </a:lnTo>
                    <a:lnTo>
                      <a:pt x="383" y="276"/>
                    </a:lnTo>
                    <a:lnTo>
                      <a:pt x="383" y="267"/>
                    </a:lnTo>
                    <a:lnTo>
                      <a:pt x="384" y="262"/>
                    </a:lnTo>
                    <a:lnTo>
                      <a:pt x="389" y="260"/>
                    </a:lnTo>
                    <a:lnTo>
                      <a:pt x="388" y="257"/>
                    </a:lnTo>
                    <a:lnTo>
                      <a:pt x="386" y="257"/>
                    </a:lnTo>
                    <a:lnTo>
                      <a:pt x="387" y="255"/>
                    </a:lnTo>
                    <a:lnTo>
                      <a:pt x="386" y="251"/>
                    </a:lnTo>
                    <a:lnTo>
                      <a:pt x="382" y="251"/>
                    </a:lnTo>
                    <a:lnTo>
                      <a:pt x="376" y="251"/>
                    </a:lnTo>
                    <a:lnTo>
                      <a:pt x="373" y="249"/>
                    </a:lnTo>
                    <a:lnTo>
                      <a:pt x="376" y="244"/>
                    </a:lnTo>
                    <a:lnTo>
                      <a:pt x="375" y="239"/>
                    </a:lnTo>
                    <a:lnTo>
                      <a:pt x="373" y="239"/>
                    </a:lnTo>
                    <a:lnTo>
                      <a:pt x="373" y="238"/>
                    </a:lnTo>
                    <a:lnTo>
                      <a:pt x="382" y="234"/>
                    </a:lnTo>
                    <a:lnTo>
                      <a:pt x="391" y="235"/>
                    </a:lnTo>
                    <a:lnTo>
                      <a:pt x="394" y="239"/>
                    </a:lnTo>
                    <a:lnTo>
                      <a:pt x="397" y="239"/>
                    </a:lnTo>
                    <a:lnTo>
                      <a:pt x="400" y="238"/>
                    </a:lnTo>
                    <a:lnTo>
                      <a:pt x="403" y="244"/>
                    </a:lnTo>
                    <a:lnTo>
                      <a:pt x="404" y="244"/>
                    </a:lnTo>
                    <a:lnTo>
                      <a:pt x="403" y="235"/>
                    </a:lnTo>
                    <a:lnTo>
                      <a:pt x="403" y="230"/>
                    </a:lnTo>
                    <a:lnTo>
                      <a:pt x="400" y="227"/>
                    </a:lnTo>
                    <a:lnTo>
                      <a:pt x="400" y="221"/>
                    </a:lnTo>
                    <a:lnTo>
                      <a:pt x="397" y="221"/>
                    </a:lnTo>
                    <a:lnTo>
                      <a:pt x="393" y="219"/>
                    </a:lnTo>
                    <a:lnTo>
                      <a:pt x="391" y="219"/>
                    </a:lnTo>
                    <a:lnTo>
                      <a:pt x="394" y="211"/>
                    </a:lnTo>
                    <a:lnTo>
                      <a:pt x="398" y="207"/>
                    </a:lnTo>
                    <a:lnTo>
                      <a:pt x="400" y="206"/>
                    </a:lnTo>
                    <a:lnTo>
                      <a:pt x="400" y="203"/>
                    </a:lnTo>
                    <a:lnTo>
                      <a:pt x="397" y="199"/>
                    </a:lnTo>
                    <a:lnTo>
                      <a:pt x="393" y="200"/>
                    </a:lnTo>
                    <a:lnTo>
                      <a:pt x="394" y="186"/>
                    </a:lnTo>
                    <a:lnTo>
                      <a:pt x="387" y="186"/>
                    </a:lnTo>
                    <a:lnTo>
                      <a:pt x="380" y="183"/>
                    </a:lnTo>
                    <a:lnTo>
                      <a:pt x="380" y="180"/>
                    </a:lnTo>
                    <a:lnTo>
                      <a:pt x="380" y="163"/>
                    </a:lnTo>
                    <a:lnTo>
                      <a:pt x="378" y="154"/>
                    </a:lnTo>
                    <a:lnTo>
                      <a:pt x="381" y="152"/>
                    </a:lnTo>
                    <a:lnTo>
                      <a:pt x="382" y="149"/>
                    </a:lnTo>
                    <a:lnTo>
                      <a:pt x="388" y="142"/>
                    </a:lnTo>
                    <a:lnTo>
                      <a:pt x="389" y="140"/>
                    </a:lnTo>
                    <a:lnTo>
                      <a:pt x="389" y="137"/>
                    </a:lnTo>
                    <a:lnTo>
                      <a:pt x="387" y="133"/>
                    </a:lnTo>
                    <a:lnTo>
                      <a:pt x="382" y="131"/>
                    </a:lnTo>
                    <a:lnTo>
                      <a:pt x="380" y="126"/>
                    </a:lnTo>
                    <a:lnTo>
                      <a:pt x="375" y="126"/>
                    </a:lnTo>
                    <a:lnTo>
                      <a:pt x="371" y="120"/>
                    </a:lnTo>
                    <a:lnTo>
                      <a:pt x="370" y="97"/>
                    </a:lnTo>
                    <a:lnTo>
                      <a:pt x="370" y="93"/>
                    </a:lnTo>
                    <a:lnTo>
                      <a:pt x="365" y="92"/>
                    </a:lnTo>
                    <a:lnTo>
                      <a:pt x="360" y="92"/>
                    </a:lnTo>
                    <a:lnTo>
                      <a:pt x="354" y="99"/>
                    </a:lnTo>
                    <a:lnTo>
                      <a:pt x="351" y="99"/>
                    </a:lnTo>
                    <a:lnTo>
                      <a:pt x="351" y="92"/>
                    </a:lnTo>
                    <a:lnTo>
                      <a:pt x="352" y="89"/>
                    </a:lnTo>
                    <a:lnTo>
                      <a:pt x="357" y="88"/>
                    </a:lnTo>
                    <a:lnTo>
                      <a:pt x="357" y="83"/>
                    </a:lnTo>
                    <a:lnTo>
                      <a:pt x="361" y="83"/>
                    </a:lnTo>
                    <a:lnTo>
                      <a:pt x="364" y="79"/>
                    </a:lnTo>
                    <a:lnTo>
                      <a:pt x="367" y="79"/>
                    </a:lnTo>
                    <a:lnTo>
                      <a:pt x="367" y="73"/>
                    </a:lnTo>
                    <a:lnTo>
                      <a:pt x="366" y="72"/>
                    </a:lnTo>
                    <a:lnTo>
                      <a:pt x="361" y="72"/>
                    </a:lnTo>
                    <a:lnTo>
                      <a:pt x="357" y="70"/>
                    </a:lnTo>
                    <a:lnTo>
                      <a:pt x="354" y="67"/>
                    </a:lnTo>
                    <a:lnTo>
                      <a:pt x="349" y="57"/>
                    </a:lnTo>
                    <a:lnTo>
                      <a:pt x="344" y="60"/>
                    </a:lnTo>
                    <a:lnTo>
                      <a:pt x="343" y="58"/>
                    </a:lnTo>
                    <a:lnTo>
                      <a:pt x="343" y="41"/>
                    </a:lnTo>
                    <a:lnTo>
                      <a:pt x="341" y="36"/>
                    </a:lnTo>
                    <a:lnTo>
                      <a:pt x="339" y="36"/>
                    </a:lnTo>
                    <a:lnTo>
                      <a:pt x="339" y="30"/>
                    </a:lnTo>
                    <a:lnTo>
                      <a:pt x="338" y="28"/>
                    </a:lnTo>
                    <a:lnTo>
                      <a:pt x="334" y="28"/>
                    </a:lnTo>
                    <a:lnTo>
                      <a:pt x="333" y="28"/>
                    </a:lnTo>
                    <a:lnTo>
                      <a:pt x="334" y="15"/>
                    </a:lnTo>
                    <a:lnTo>
                      <a:pt x="334" y="14"/>
                    </a:lnTo>
                    <a:lnTo>
                      <a:pt x="330" y="12"/>
                    </a:lnTo>
                    <a:lnTo>
                      <a:pt x="328" y="12"/>
                    </a:lnTo>
                    <a:lnTo>
                      <a:pt x="324" y="15"/>
                    </a:lnTo>
                    <a:lnTo>
                      <a:pt x="323" y="15"/>
                    </a:lnTo>
                    <a:lnTo>
                      <a:pt x="316" y="11"/>
                    </a:lnTo>
                    <a:lnTo>
                      <a:pt x="313" y="11"/>
                    </a:lnTo>
                    <a:lnTo>
                      <a:pt x="312" y="12"/>
                    </a:lnTo>
                    <a:lnTo>
                      <a:pt x="312" y="20"/>
                    </a:lnTo>
                    <a:lnTo>
                      <a:pt x="309" y="24"/>
                    </a:lnTo>
                    <a:lnTo>
                      <a:pt x="296" y="28"/>
                    </a:lnTo>
                    <a:lnTo>
                      <a:pt x="296" y="34"/>
                    </a:lnTo>
                    <a:lnTo>
                      <a:pt x="294" y="38"/>
                    </a:lnTo>
                    <a:lnTo>
                      <a:pt x="280" y="34"/>
                    </a:lnTo>
                    <a:lnTo>
                      <a:pt x="270" y="28"/>
                    </a:lnTo>
                    <a:lnTo>
                      <a:pt x="262" y="27"/>
                    </a:lnTo>
                    <a:lnTo>
                      <a:pt x="259" y="27"/>
                    </a:lnTo>
                    <a:lnTo>
                      <a:pt x="255" y="33"/>
                    </a:lnTo>
                    <a:lnTo>
                      <a:pt x="249" y="34"/>
                    </a:lnTo>
                    <a:lnTo>
                      <a:pt x="247" y="40"/>
                    </a:lnTo>
                    <a:lnTo>
                      <a:pt x="243" y="44"/>
                    </a:lnTo>
                    <a:lnTo>
                      <a:pt x="238" y="41"/>
                    </a:lnTo>
                    <a:lnTo>
                      <a:pt x="230" y="30"/>
                    </a:lnTo>
                    <a:lnTo>
                      <a:pt x="227" y="28"/>
                    </a:lnTo>
                    <a:lnTo>
                      <a:pt x="222" y="28"/>
                    </a:lnTo>
                    <a:lnTo>
                      <a:pt x="216" y="34"/>
                    </a:lnTo>
                    <a:lnTo>
                      <a:pt x="212" y="38"/>
                    </a:lnTo>
                    <a:lnTo>
                      <a:pt x="208" y="39"/>
                    </a:lnTo>
                    <a:lnTo>
                      <a:pt x="203" y="35"/>
                    </a:lnTo>
                    <a:lnTo>
                      <a:pt x="198" y="31"/>
                    </a:lnTo>
                    <a:lnTo>
                      <a:pt x="199" y="28"/>
                    </a:lnTo>
                    <a:lnTo>
                      <a:pt x="203" y="23"/>
                    </a:lnTo>
                    <a:lnTo>
                      <a:pt x="203" y="19"/>
                    </a:lnTo>
                    <a:lnTo>
                      <a:pt x="205" y="1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73" name="Freeform 39">
                <a:extLst>
                  <a:ext uri="{FF2B5EF4-FFF2-40B4-BE49-F238E27FC236}">
                    <a16:creationId xmlns:a16="http://schemas.microsoft.com/office/drawing/2014/main" id="{D8813ECB-5A89-FDCE-4C45-288665A7F00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674" y="2365"/>
                <a:ext cx="144" cy="91"/>
              </a:xfrm>
              <a:custGeom>
                <a:avLst/>
                <a:gdLst>
                  <a:gd name="T0" fmla="*/ 17 w 718"/>
                  <a:gd name="T1" fmla="*/ 0 h 451"/>
                  <a:gd name="T2" fmla="*/ 16 w 718"/>
                  <a:gd name="T3" fmla="*/ 1 h 451"/>
                  <a:gd name="T4" fmla="*/ 16 w 718"/>
                  <a:gd name="T5" fmla="*/ 2 h 451"/>
                  <a:gd name="T6" fmla="*/ 15 w 718"/>
                  <a:gd name="T7" fmla="*/ 2 h 451"/>
                  <a:gd name="T8" fmla="*/ 14 w 718"/>
                  <a:gd name="T9" fmla="*/ 4 h 451"/>
                  <a:gd name="T10" fmla="*/ 13 w 718"/>
                  <a:gd name="T11" fmla="*/ 4 h 451"/>
                  <a:gd name="T12" fmla="*/ 13 w 718"/>
                  <a:gd name="T13" fmla="*/ 4 h 451"/>
                  <a:gd name="T14" fmla="*/ 12 w 718"/>
                  <a:gd name="T15" fmla="*/ 4 h 451"/>
                  <a:gd name="T16" fmla="*/ 10 w 718"/>
                  <a:gd name="T17" fmla="*/ 5 h 451"/>
                  <a:gd name="T18" fmla="*/ 10 w 718"/>
                  <a:gd name="T19" fmla="*/ 5 h 451"/>
                  <a:gd name="T20" fmla="*/ 10 w 718"/>
                  <a:gd name="T21" fmla="*/ 5 h 451"/>
                  <a:gd name="T22" fmla="*/ 10 w 718"/>
                  <a:gd name="T23" fmla="*/ 6 h 451"/>
                  <a:gd name="T24" fmla="*/ 9 w 718"/>
                  <a:gd name="T25" fmla="*/ 6 h 451"/>
                  <a:gd name="T26" fmla="*/ 8 w 718"/>
                  <a:gd name="T27" fmla="*/ 7 h 451"/>
                  <a:gd name="T28" fmla="*/ 7 w 718"/>
                  <a:gd name="T29" fmla="*/ 7 h 451"/>
                  <a:gd name="T30" fmla="*/ 6 w 718"/>
                  <a:gd name="T31" fmla="*/ 7 h 451"/>
                  <a:gd name="T32" fmla="*/ 5 w 718"/>
                  <a:gd name="T33" fmla="*/ 8 h 451"/>
                  <a:gd name="T34" fmla="*/ 5 w 718"/>
                  <a:gd name="T35" fmla="*/ 7 h 451"/>
                  <a:gd name="T36" fmla="*/ 5 w 718"/>
                  <a:gd name="T37" fmla="*/ 7 h 451"/>
                  <a:gd name="T38" fmla="*/ 4 w 718"/>
                  <a:gd name="T39" fmla="*/ 8 h 451"/>
                  <a:gd name="T40" fmla="*/ 3 w 718"/>
                  <a:gd name="T41" fmla="*/ 8 h 451"/>
                  <a:gd name="T42" fmla="*/ 2 w 718"/>
                  <a:gd name="T43" fmla="*/ 8 h 451"/>
                  <a:gd name="T44" fmla="*/ 2 w 718"/>
                  <a:gd name="T45" fmla="*/ 9 h 451"/>
                  <a:gd name="T46" fmla="*/ 0 w 718"/>
                  <a:gd name="T47" fmla="*/ 11 h 451"/>
                  <a:gd name="T48" fmla="*/ 0 w 718"/>
                  <a:gd name="T49" fmla="*/ 13 h 451"/>
                  <a:gd name="T50" fmla="*/ 1 w 718"/>
                  <a:gd name="T51" fmla="*/ 15 h 451"/>
                  <a:gd name="T52" fmla="*/ 2 w 718"/>
                  <a:gd name="T53" fmla="*/ 18 h 451"/>
                  <a:gd name="T54" fmla="*/ 4 w 718"/>
                  <a:gd name="T55" fmla="*/ 18 h 451"/>
                  <a:gd name="T56" fmla="*/ 6 w 718"/>
                  <a:gd name="T57" fmla="*/ 17 h 451"/>
                  <a:gd name="T58" fmla="*/ 8 w 718"/>
                  <a:gd name="T59" fmla="*/ 17 h 451"/>
                  <a:gd name="T60" fmla="*/ 10 w 718"/>
                  <a:gd name="T61" fmla="*/ 16 h 451"/>
                  <a:gd name="T62" fmla="*/ 10 w 718"/>
                  <a:gd name="T63" fmla="*/ 15 h 451"/>
                  <a:gd name="T64" fmla="*/ 11 w 718"/>
                  <a:gd name="T65" fmla="*/ 14 h 451"/>
                  <a:gd name="T66" fmla="*/ 12 w 718"/>
                  <a:gd name="T67" fmla="*/ 13 h 451"/>
                  <a:gd name="T68" fmla="*/ 13 w 718"/>
                  <a:gd name="T69" fmla="*/ 15 h 451"/>
                  <a:gd name="T70" fmla="*/ 15 w 718"/>
                  <a:gd name="T71" fmla="*/ 15 h 451"/>
                  <a:gd name="T72" fmla="*/ 18 w 718"/>
                  <a:gd name="T73" fmla="*/ 15 h 451"/>
                  <a:gd name="T74" fmla="*/ 19 w 718"/>
                  <a:gd name="T75" fmla="*/ 14 h 451"/>
                  <a:gd name="T76" fmla="*/ 21 w 718"/>
                  <a:gd name="T77" fmla="*/ 14 h 451"/>
                  <a:gd name="T78" fmla="*/ 23 w 718"/>
                  <a:gd name="T79" fmla="*/ 13 h 451"/>
                  <a:gd name="T80" fmla="*/ 23 w 718"/>
                  <a:gd name="T81" fmla="*/ 14 h 451"/>
                  <a:gd name="T82" fmla="*/ 24 w 718"/>
                  <a:gd name="T83" fmla="*/ 13 h 451"/>
                  <a:gd name="T84" fmla="*/ 26 w 718"/>
                  <a:gd name="T85" fmla="*/ 13 h 451"/>
                  <a:gd name="T86" fmla="*/ 27 w 718"/>
                  <a:gd name="T87" fmla="*/ 14 h 451"/>
                  <a:gd name="T88" fmla="*/ 29 w 718"/>
                  <a:gd name="T89" fmla="*/ 13 h 451"/>
                  <a:gd name="T90" fmla="*/ 27 w 718"/>
                  <a:gd name="T91" fmla="*/ 11 h 451"/>
                  <a:gd name="T92" fmla="*/ 26 w 718"/>
                  <a:gd name="T93" fmla="*/ 10 h 451"/>
                  <a:gd name="T94" fmla="*/ 26 w 718"/>
                  <a:gd name="T95" fmla="*/ 9 h 451"/>
                  <a:gd name="T96" fmla="*/ 24 w 718"/>
                  <a:gd name="T97" fmla="*/ 8 h 451"/>
                  <a:gd name="T98" fmla="*/ 24 w 718"/>
                  <a:gd name="T99" fmla="*/ 7 h 451"/>
                  <a:gd name="T100" fmla="*/ 22 w 718"/>
                  <a:gd name="T101" fmla="*/ 6 h 451"/>
                  <a:gd name="T102" fmla="*/ 21 w 718"/>
                  <a:gd name="T103" fmla="*/ 5 h 451"/>
                  <a:gd name="T104" fmla="*/ 20 w 718"/>
                  <a:gd name="T105" fmla="*/ 4 h 451"/>
                  <a:gd name="T106" fmla="*/ 20 w 718"/>
                  <a:gd name="T107" fmla="*/ 2 h 451"/>
                  <a:gd name="T108" fmla="*/ 18 w 718"/>
                  <a:gd name="T109" fmla="*/ 0 h 451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718"/>
                  <a:gd name="T166" fmla="*/ 0 h 451"/>
                  <a:gd name="T167" fmla="*/ 718 w 718"/>
                  <a:gd name="T168" fmla="*/ 451 h 451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718" h="451">
                    <a:moveTo>
                      <a:pt x="453" y="0"/>
                    </a:moveTo>
                    <a:lnTo>
                      <a:pt x="442" y="3"/>
                    </a:lnTo>
                    <a:lnTo>
                      <a:pt x="433" y="6"/>
                    </a:lnTo>
                    <a:lnTo>
                      <a:pt x="417" y="7"/>
                    </a:lnTo>
                    <a:lnTo>
                      <a:pt x="411" y="10"/>
                    </a:lnTo>
                    <a:lnTo>
                      <a:pt x="405" y="15"/>
                    </a:lnTo>
                    <a:lnTo>
                      <a:pt x="400" y="26"/>
                    </a:lnTo>
                    <a:lnTo>
                      <a:pt x="400" y="42"/>
                    </a:lnTo>
                    <a:lnTo>
                      <a:pt x="393" y="44"/>
                    </a:lnTo>
                    <a:lnTo>
                      <a:pt x="387" y="54"/>
                    </a:lnTo>
                    <a:lnTo>
                      <a:pt x="383" y="57"/>
                    </a:lnTo>
                    <a:lnTo>
                      <a:pt x="378" y="58"/>
                    </a:lnTo>
                    <a:lnTo>
                      <a:pt x="362" y="74"/>
                    </a:lnTo>
                    <a:lnTo>
                      <a:pt x="358" y="84"/>
                    </a:lnTo>
                    <a:lnTo>
                      <a:pt x="355" y="87"/>
                    </a:lnTo>
                    <a:lnTo>
                      <a:pt x="342" y="93"/>
                    </a:lnTo>
                    <a:lnTo>
                      <a:pt x="336" y="95"/>
                    </a:lnTo>
                    <a:lnTo>
                      <a:pt x="331" y="102"/>
                    </a:lnTo>
                    <a:lnTo>
                      <a:pt x="329" y="105"/>
                    </a:lnTo>
                    <a:lnTo>
                      <a:pt x="322" y="108"/>
                    </a:lnTo>
                    <a:lnTo>
                      <a:pt x="317" y="106"/>
                    </a:lnTo>
                    <a:lnTo>
                      <a:pt x="309" y="106"/>
                    </a:lnTo>
                    <a:lnTo>
                      <a:pt x="302" y="108"/>
                    </a:lnTo>
                    <a:lnTo>
                      <a:pt x="292" y="109"/>
                    </a:lnTo>
                    <a:lnTo>
                      <a:pt x="290" y="112"/>
                    </a:lnTo>
                    <a:lnTo>
                      <a:pt x="270" y="112"/>
                    </a:lnTo>
                    <a:lnTo>
                      <a:pt x="259" y="113"/>
                    </a:lnTo>
                    <a:lnTo>
                      <a:pt x="249" y="117"/>
                    </a:lnTo>
                    <a:lnTo>
                      <a:pt x="247" y="118"/>
                    </a:lnTo>
                    <a:lnTo>
                      <a:pt x="245" y="122"/>
                    </a:lnTo>
                    <a:lnTo>
                      <a:pt x="245" y="124"/>
                    </a:lnTo>
                    <a:lnTo>
                      <a:pt x="252" y="129"/>
                    </a:lnTo>
                    <a:lnTo>
                      <a:pt x="254" y="136"/>
                    </a:lnTo>
                    <a:lnTo>
                      <a:pt x="252" y="140"/>
                    </a:lnTo>
                    <a:lnTo>
                      <a:pt x="247" y="144"/>
                    </a:lnTo>
                    <a:lnTo>
                      <a:pt x="244" y="152"/>
                    </a:lnTo>
                    <a:lnTo>
                      <a:pt x="239" y="155"/>
                    </a:lnTo>
                    <a:lnTo>
                      <a:pt x="234" y="156"/>
                    </a:lnTo>
                    <a:lnTo>
                      <a:pt x="232" y="159"/>
                    </a:lnTo>
                    <a:lnTo>
                      <a:pt x="231" y="165"/>
                    </a:lnTo>
                    <a:lnTo>
                      <a:pt x="229" y="166"/>
                    </a:lnTo>
                    <a:lnTo>
                      <a:pt x="205" y="166"/>
                    </a:lnTo>
                    <a:lnTo>
                      <a:pt x="198" y="170"/>
                    </a:lnTo>
                    <a:lnTo>
                      <a:pt x="189" y="170"/>
                    </a:lnTo>
                    <a:lnTo>
                      <a:pt x="183" y="170"/>
                    </a:lnTo>
                    <a:lnTo>
                      <a:pt x="161" y="177"/>
                    </a:lnTo>
                    <a:lnTo>
                      <a:pt x="157" y="181"/>
                    </a:lnTo>
                    <a:lnTo>
                      <a:pt x="153" y="183"/>
                    </a:lnTo>
                    <a:lnTo>
                      <a:pt x="147" y="187"/>
                    </a:lnTo>
                    <a:lnTo>
                      <a:pt x="139" y="188"/>
                    </a:lnTo>
                    <a:lnTo>
                      <a:pt x="136" y="192"/>
                    </a:lnTo>
                    <a:lnTo>
                      <a:pt x="132" y="193"/>
                    </a:lnTo>
                    <a:lnTo>
                      <a:pt x="125" y="187"/>
                    </a:lnTo>
                    <a:lnTo>
                      <a:pt x="123" y="184"/>
                    </a:lnTo>
                    <a:lnTo>
                      <a:pt x="119" y="178"/>
                    </a:lnTo>
                    <a:lnTo>
                      <a:pt x="116" y="177"/>
                    </a:lnTo>
                    <a:lnTo>
                      <a:pt x="113" y="177"/>
                    </a:lnTo>
                    <a:lnTo>
                      <a:pt x="112" y="179"/>
                    </a:lnTo>
                    <a:lnTo>
                      <a:pt x="108" y="179"/>
                    </a:lnTo>
                    <a:lnTo>
                      <a:pt x="105" y="187"/>
                    </a:lnTo>
                    <a:lnTo>
                      <a:pt x="92" y="189"/>
                    </a:lnTo>
                    <a:lnTo>
                      <a:pt x="82" y="197"/>
                    </a:lnTo>
                    <a:lnTo>
                      <a:pt x="77" y="198"/>
                    </a:lnTo>
                    <a:lnTo>
                      <a:pt x="71" y="195"/>
                    </a:lnTo>
                    <a:lnTo>
                      <a:pt x="66" y="195"/>
                    </a:lnTo>
                    <a:lnTo>
                      <a:pt x="60" y="197"/>
                    </a:lnTo>
                    <a:lnTo>
                      <a:pt x="51" y="198"/>
                    </a:lnTo>
                    <a:lnTo>
                      <a:pt x="48" y="200"/>
                    </a:lnTo>
                    <a:lnTo>
                      <a:pt x="38" y="226"/>
                    </a:lnTo>
                    <a:lnTo>
                      <a:pt x="28" y="241"/>
                    </a:lnTo>
                    <a:lnTo>
                      <a:pt x="21" y="257"/>
                    </a:lnTo>
                    <a:lnTo>
                      <a:pt x="11" y="272"/>
                    </a:lnTo>
                    <a:lnTo>
                      <a:pt x="0" y="283"/>
                    </a:lnTo>
                    <a:lnTo>
                      <a:pt x="0" y="296"/>
                    </a:lnTo>
                    <a:lnTo>
                      <a:pt x="3" y="310"/>
                    </a:lnTo>
                    <a:lnTo>
                      <a:pt x="2" y="327"/>
                    </a:lnTo>
                    <a:lnTo>
                      <a:pt x="3" y="343"/>
                    </a:lnTo>
                    <a:lnTo>
                      <a:pt x="13" y="361"/>
                    </a:lnTo>
                    <a:lnTo>
                      <a:pt x="22" y="372"/>
                    </a:lnTo>
                    <a:lnTo>
                      <a:pt x="46" y="419"/>
                    </a:lnTo>
                    <a:lnTo>
                      <a:pt x="58" y="431"/>
                    </a:lnTo>
                    <a:lnTo>
                      <a:pt x="81" y="451"/>
                    </a:lnTo>
                    <a:lnTo>
                      <a:pt x="88" y="451"/>
                    </a:lnTo>
                    <a:lnTo>
                      <a:pt x="97" y="437"/>
                    </a:lnTo>
                    <a:lnTo>
                      <a:pt x="114" y="421"/>
                    </a:lnTo>
                    <a:lnTo>
                      <a:pt x="137" y="407"/>
                    </a:lnTo>
                    <a:lnTo>
                      <a:pt x="157" y="404"/>
                    </a:lnTo>
                    <a:lnTo>
                      <a:pt x="174" y="414"/>
                    </a:lnTo>
                    <a:lnTo>
                      <a:pt x="191" y="420"/>
                    </a:lnTo>
                    <a:lnTo>
                      <a:pt x="207" y="416"/>
                    </a:lnTo>
                    <a:lnTo>
                      <a:pt x="222" y="409"/>
                    </a:lnTo>
                    <a:lnTo>
                      <a:pt x="228" y="404"/>
                    </a:lnTo>
                    <a:lnTo>
                      <a:pt x="241" y="402"/>
                    </a:lnTo>
                    <a:lnTo>
                      <a:pt x="238" y="393"/>
                    </a:lnTo>
                    <a:lnTo>
                      <a:pt x="239" y="374"/>
                    </a:lnTo>
                    <a:lnTo>
                      <a:pt x="242" y="360"/>
                    </a:lnTo>
                    <a:lnTo>
                      <a:pt x="250" y="355"/>
                    </a:lnTo>
                    <a:lnTo>
                      <a:pt x="257" y="340"/>
                    </a:lnTo>
                    <a:lnTo>
                      <a:pt x="263" y="334"/>
                    </a:lnTo>
                    <a:lnTo>
                      <a:pt x="276" y="323"/>
                    </a:lnTo>
                    <a:lnTo>
                      <a:pt x="290" y="323"/>
                    </a:lnTo>
                    <a:lnTo>
                      <a:pt x="306" y="324"/>
                    </a:lnTo>
                    <a:lnTo>
                      <a:pt x="313" y="334"/>
                    </a:lnTo>
                    <a:lnTo>
                      <a:pt x="315" y="343"/>
                    </a:lnTo>
                    <a:lnTo>
                      <a:pt x="336" y="361"/>
                    </a:lnTo>
                    <a:lnTo>
                      <a:pt x="344" y="364"/>
                    </a:lnTo>
                    <a:lnTo>
                      <a:pt x="351" y="355"/>
                    </a:lnTo>
                    <a:lnTo>
                      <a:pt x="365" y="365"/>
                    </a:lnTo>
                    <a:lnTo>
                      <a:pt x="388" y="371"/>
                    </a:lnTo>
                    <a:lnTo>
                      <a:pt x="438" y="371"/>
                    </a:lnTo>
                    <a:lnTo>
                      <a:pt x="446" y="367"/>
                    </a:lnTo>
                    <a:lnTo>
                      <a:pt x="448" y="350"/>
                    </a:lnTo>
                    <a:lnTo>
                      <a:pt x="462" y="342"/>
                    </a:lnTo>
                    <a:lnTo>
                      <a:pt x="480" y="345"/>
                    </a:lnTo>
                    <a:lnTo>
                      <a:pt x="489" y="350"/>
                    </a:lnTo>
                    <a:lnTo>
                      <a:pt x="507" y="345"/>
                    </a:lnTo>
                    <a:lnTo>
                      <a:pt x="518" y="339"/>
                    </a:lnTo>
                    <a:lnTo>
                      <a:pt x="544" y="334"/>
                    </a:lnTo>
                    <a:lnTo>
                      <a:pt x="555" y="328"/>
                    </a:lnTo>
                    <a:lnTo>
                      <a:pt x="561" y="328"/>
                    </a:lnTo>
                    <a:lnTo>
                      <a:pt x="562" y="334"/>
                    </a:lnTo>
                    <a:lnTo>
                      <a:pt x="561" y="334"/>
                    </a:lnTo>
                    <a:lnTo>
                      <a:pt x="569" y="337"/>
                    </a:lnTo>
                    <a:lnTo>
                      <a:pt x="576" y="334"/>
                    </a:lnTo>
                    <a:lnTo>
                      <a:pt x="588" y="334"/>
                    </a:lnTo>
                    <a:lnTo>
                      <a:pt x="592" y="322"/>
                    </a:lnTo>
                    <a:lnTo>
                      <a:pt x="612" y="327"/>
                    </a:lnTo>
                    <a:lnTo>
                      <a:pt x="635" y="323"/>
                    </a:lnTo>
                    <a:lnTo>
                      <a:pt x="650" y="318"/>
                    </a:lnTo>
                    <a:lnTo>
                      <a:pt x="663" y="334"/>
                    </a:lnTo>
                    <a:lnTo>
                      <a:pt x="670" y="327"/>
                    </a:lnTo>
                    <a:lnTo>
                      <a:pt x="682" y="334"/>
                    </a:lnTo>
                    <a:lnTo>
                      <a:pt x="690" y="323"/>
                    </a:lnTo>
                    <a:lnTo>
                      <a:pt x="718" y="323"/>
                    </a:lnTo>
                    <a:lnTo>
                      <a:pt x="712" y="316"/>
                    </a:lnTo>
                    <a:lnTo>
                      <a:pt x="711" y="305"/>
                    </a:lnTo>
                    <a:lnTo>
                      <a:pt x="705" y="296"/>
                    </a:lnTo>
                    <a:lnTo>
                      <a:pt x="675" y="276"/>
                    </a:lnTo>
                    <a:lnTo>
                      <a:pt x="666" y="273"/>
                    </a:lnTo>
                    <a:lnTo>
                      <a:pt x="664" y="262"/>
                    </a:lnTo>
                    <a:lnTo>
                      <a:pt x="657" y="253"/>
                    </a:lnTo>
                    <a:lnTo>
                      <a:pt x="653" y="242"/>
                    </a:lnTo>
                    <a:lnTo>
                      <a:pt x="648" y="232"/>
                    </a:lnTo>
                    <a:lnTo>
                      <a:pt x="637" y="226"/>
                    </a:lnTo>
                    <a:lnTo>
                      <a:pt x="630" y="216"/>
                    </a:lnTo>
                    <a:lnTo>
                      <a:pt x="612" y="204"/>
                    </a:lnTo>
                    <a:lnTo>
                      <a:pt x="593" y="192"/>
                    </a:lnTo>
                    <a:lnTo>
                      <a:pt x="587" y="181"/>
                    </a:lnTo>
                    <a:lnTo>
                      <a:pt x="588" y="171"/>
                    </a:lnTo>
                    <a:lnTo>
                      <a:pt x="587" y="166"/>
                    </a:lnTo>
                    <a:lnTo>
                      <a:pt x="577" y="159"/>
                    </a:lnTo>
                    <a:lnTo>
                      <a:pt x="569" y="152"/>
                    </a:lnTo>
                    <a:lnTo>
                      <a:pt x="546" y="152"/>
                    </a:lnTo>
                    <a:lnTo>
                      <a:pt x="535" y="148"/>
                    </a:lnTo>
                    <a:lnTo>
                      <a:pt x="530" y="133"/>
                    </a:lnTo>
                    <a:lnTo>
                      <a:pt x="517" y="129"/>
                    </a:lnTo>
                    <a:lnTo>
                      <a:pt x="506" y="128"/>
                    </a:lnTo>
                    <a:lnTo>
                      <a:pt x="496" y="118"/>
                    </a:lnTo>
                    <a:lnTo>
                      <a:pt x="494" y="105"/>
                    </a:lnTo>
                    <a:lnTo>
                      <a:pt x="496" y="89"/>
                    </a:lnTo>
                    <a:lnTo>
                      <a:pt x="501" y="71"/>
                    </a:lnTo>
                    <a:lnTo>
                      <a:pt x="496" y="55"/>
                    </a:lnTo>
                    <a:lnTo>
                      <a:pt x="480" y="34"/>
                    </a:lnTo>
                    <a:lnTo>
                      <a:pt x="463" y="15"/>
                    </a:lnTo>
                    <a:lnTo>
                      <a:pt x="453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74" name="Freeform 40">
                <a:extLst>
                  <a:ext uri="{FF2B5EF4-FFF2-40B4-BE49-F238E27FC236}">
                    <a16:creationId xmlns:a16="http://schemas.microsoft.com/office/drawing/2014/main" id="{8543B27A-3F00-1ED9-4E36-8A89C17E460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612" y="2461"/>
                <a:ext cx="61" cy="69"/>
              </a:xfrm>
              <a:custGeom>
                <a:avLst/>
                <a:gdLst>
                  <a:gd name="T0" fmla="*/ 5 w 304"/>
                  <a:gd name="T1" fmla="*/ 13 h 343"/>
                  <a:gd name="T2" fmla="*/ 4 w 304"/>
                  <a:gd name="T3" fmla="*/ 12 h 343"/>
                  <a:gd name="T4" fmla="*/ 2 w 304"/>
                  <a:gd name="T5" fmla="*/ 11 h 343"/>
                  <a:gd name="T6" fmla="*/ 1 w 304"/>
                  <a:gd name="T7" fmla="*/ 10 h 343"/>
                  <a:gd name="T8" fmla="*/ 1 w 304"/>
                  <a:gd name="T9" fmla="*/ 8 h 343"/>
                  <a:gd name="T10" fmla="*/ 0 w 304"/>
                  <a:gd name="T11" fmla="*/ 7 h 343"/>
                  <a:gd name="T12" fmla="*/ 0 w 304"/>
                  <a:gd name="T13" fmla="*/ 7 h 343"/>
                  <a:gd name="T14" fmla="*/ 1 w 304"/>
                  <a:gd name="T15" fmla="*/ 6 h 343"/>
                  <a:gd name="T16" fmla="*/ 1 w 304"/>
                  <a:gd name="T17" fmla="*/ 6 h 343"/>
                  <a:gd name="T18" fmla="*/ 1 w 304"/>
                  <a:gd name="T19" fmla="*/ 5 h 343"/>
                  <a:gd name="T20" fmla="*/ 2 w 304"/>
                  <a:gd name="T21" fmla="*/ 5 h 343"/>
                  <a:gd name="T22" fmla="*/ 2 w 304"/>
                  <a:gd name="T23" fmla="*/ 5 h 343"/>
                  <a:gd name="T24" fmla="*/ 2 w 304"/>
                  <a:gd name="T25" fmla="*/ 5 h 343"/>
                  <a:gd name="T26" fmla="*/ 1 w 304"/>
                  <a:gd name="T27" fmla="*/ 4 h 343"/>
                  <a:gd name="T28" fmla="*/ 1 w 304"/>
                  <a:gd name="T29" fmla="*/ 4 h 343"/>
                  <a:gd name="T30" fmla="*/ 2 w 304"/>
                  <a:gd name="T31" fmla="*/ 4 h 343"/>
                  <a:gd name="T32" fmla="*/ 3 w 304"/>
                  <a:gd name="T33" fmla="*/ 3 h 343"/>
                  <a:gd name="T34" fmla="*/ 5 w 304"/>
                  <a:gd name="T35" fmla="*/ 3 h 343"/>
                  <a:gd name="T36" fmla="*/ 5 w 304"/>
                  <a:gd name="T37" fmla="*/ 1 h 343"/>
                  <a:gd name="T38" fmla="*/ 6 w 304"/>
                  <a:gd name="T39" fmla="*/ 0 h 343"/>
                  <a:gd name="T40" fmla="*/ 7 w 304"/>
                  <a:gd name="T41" fmla="*/ 0 h 343"/>
                  <a:gd name="T42" fmla="*/ 10 w 304"/>
                  <a:gd name="T43" fmla="*/ 0 h 343"/>
                  <a:gd name="T44" fmla="*/ 10 w 304"/>
                  <a:gd name="T45" fmla="*/ 1 h 343"/>
                  <a:gd name="T46" fmla="*/ 10 w 304"/>
                  <a:gd name="T47" fmla="*/ 2 h 343"/>
                  <a:gd name="T48" fmla="*/ 11 w 304"/>
                  <a:gd name="T49" fmla="*/ 2 h 343"/>
                  <a:gd name="T50" fmla="*/ 12 w 304"/>
                  <a:gd name="T51" fmla="*/ 2 h 343"/>
                  <a:gd name="T52" fmla="*/ 11 w 304"/>
                  <a:gd name="T53" fmla="*/ 4 h 343"/>
                  <a:gd name="T54" fmla="*/ 12 w 304"/>
                  <a:gd name="T55" fmla="*/ 6 h 343"/>
                  <a:gd name="T56" fmla="*/ 12 w 304"/>
                  <a:gd name="T57" fmla="*/ 7 h 343"/>
                  <a:gd name="T58" fmla="*/ 12 w 304"/>
                  <a:gd name="T59" fmla="*/ 9 h 343"/>
                  <a:gd name="T60" fmla="*/ 11 w 304"/>
                  <a:gd name="T61" fmla="*/ 10 h 343"/>
                  <a:gd name="T62" fmla="*/ 9 w 304"/>
                  <a:gd name="T63" fmla="*/ 10 h 343"/>
                  <a:gd name="T64" fmla="*/ 9 w 304"/>
                  <a:gd name="T65" fmla="*/ 9 h 343"/>
                  <a:gd name="T66" fmla="*/ 8 w 304"/>
                  <a:gd name="T67" fmla="*/ 10 h 343"/>
                  <a:gd name="T68" fmla="*/ 6 w 304"/>
                  <a:gd name="T69" fmla="*/ 11 h 343"/>
                  <a:gd name="T70" fmla="*/ 6 w 304"/>
                  <a:gd name="T71" fmla="*/ 12 h 343"/>
                  <a:gd name="T72" fmla="*/ 6 w 304"/>
                  <a:gd name="T73" fmla="*/ 13 h 343"/>
                  <a:gd name="T74" fmla="*/ 6 w 304"/>
                  <a:gd name="T75" fmla="*/ 13 h 343"/>
                  <a:gd name="T76" fmla="*/ 5 w 304"/>
                  <a:gd name="T77" fmla="*/ 13 h 343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304"/>
                  <a:gd name="T118" fmla="*/ 0 h 343"/>
                  <a:gd name="T119" fmla="*/ 304 w 304"/>
                  <a:gd name="T120" fmla="*/ 343 h 343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304" h="343">
                    <a:moveTo>
                      <a:pt x="127" y="343"/>
                    </a:moveTo>
                    <a:lnTo>
                      <a:pt x="120" y="330"/>
                    </a:lnTo>
                    <a:lnTo>
                      <a:pt x="110" y="320"/>
                    </a:lnTo>
                    <a:lnTo>
                      <a:pt x="97" y="305"/>
                    </a:lnTo>
                    <a:lnTo>
                      <a:pt x="61" y="274"/>
                    </a:lnTo>
                    <a:lnTo>
                      <a:pt x="54" y="262"/>
                    </a:lnTo>
                    <a:lnTo>
                      <a:pt x="45" y="251"/>
                    </a:lnTo>
                    <a:lnTo>
                      <a:pt x="34" y="237"/>
                    </a:lnTo>
                    <a:lnTo>
                      <a:pt x="27" y="231"/>
                    </a:lnTo>
                    <a:lnTo>
                      <a:pt x="17" y="208"/>
                    </a:lnTo>
                    <a:lnTo>
                      <a:pt x="13" y="194"/>
                    </a:lnTo>
                    <a:lnTo>
                      <a:pt x="4" y="177"/>
                    </a:lnTo>
                    <a:lnTo>
                      <a:pt x="0" y="169"/>
                    </a:lnTo>
                    <a:lnTo>
                      <a:pt x="4" y="167"/>
                    </a:lnTo>
                    <a:lnTo>
                      <a:pt x="12" y="165"/>
                    </a:lnTo>
                    <a:lnTo>
                      <a:pt x="17" y="156"/>
                    </a:lnTo>
                    <a:lnTo>
                      <a:pt x="24" y="150"/>
                    </a:lnTo>
                    <a:lnTo>
                      <a:pt x="27" y="138"/>
                    </a:lnTo>
                    <a:lnTo>
                      <a:pt x="28" y="113"/>
                    </a:lnTo>
                    <a:lnTo>
                      <a:pt x="31" y="113"/>
                    </a:lnTo>
                    <a:lnTo>
                      <a:pt x="36" y="118"/>
                    </a:lnTo>
                    <a:lnTo>
                      <a:pt x="45" y="122"/>
                    </a:lnTo>
                    <a:lnTo>
                      <a:pt x="57" y="122"/>
                    </a:lnTo>
                    <a:lnTo>
                      <a:pt x="60" y="120"/>
                    </a:lnTo>
                    <a:lnTo>
                      <a:pt x="56" y="117"/>
                    </a:lnTo>
                    <a:lnTo>
                      <a:pt x="47" y="115"/>
                    </a:lnTo>
                    <a:lnTo>
                      <a:pt x="40" y="110"/>
                    </a:lnTo>
                    <a:lnTo>
                      <a:pt x="34" y="105"/>
                    </a:lnTo>
                    <a:lnTo>
                      <a:pt x="30" y="99"/>
                    </a:lnTo>
                    <a:lnTo>
                      <a:pt x="33" y="94"/>
                    </a:lnTo>
                    <a:lnTo>
                      <a:pt x="40" y="94"/>
                    </a:lnTo>
                    <a:lnTo>
                      <a:pt x="43" y="89"/>
                    </a:lnTo>
                    <a:lnTo>
                      <a:pt x="43" y="73"/>
                    </a:lnTo>
                    <a:lnTo>
                      <a:pt x="66" y="68"/>
                    </a:lnTo>
                    <a:lnTo>
                      <a:pt x="137" y="65"/>
                    </a:lnTo>
                    <a:lnTo>
                      <a:pt x="135" y="63"/>
                    </a:lnTo>
                    <a:lnTo>
                      <a:pt x="132" y="43"/>
                    </a:lnTo>
                    <a:lnTo>
                      <a:pt x="131" y="20"/>
                    </a:lnTo>
                    <a:lnTo>
                      <a:pt x="137" y="5"/>
                    </a:lnTo>
                    <a:lnTo>
                      <a:pt x="151" y="2"/>
                    </a:lnTo>
                    <a:lnTo>
                      <a:pt x="165" y="4"/>
                    </a:lnTo>
                    <a:lnTo>
                      <a:pt x="185" y="0"/>
                    </a:lnTo>
                    <a:lnTo>
                      <a:pt x="201" y="4"/>
                    </a:lnTo>
                    <a:lnTo>
                      <a:pt x="237" y="5"/>
                    </a:lnTo>
                    <a:lnTo>
                      <a:pt x="245" y="8"/>
                    </a:lnTo>
                    <a:lnTo>
                      <a:pt x="239" y="22"/>
                    </a:lnTo>
                    <a:lnTo>
                      <a:pt x="238" y="41"/>
                    </a:lnTo>
                    <a:lnTo>
                      <a:pt x="239" y="59"/>
                    </a:lnTo>
                    <a:lnTo>
                      <a:pt x="248" y="64"/>
                    </a:lnTo>
                    <a:lnTo>
                      <a:pt x="264" y="41"/>
                    </a:lnTo>
                    <a:lnTo>
                      <a:pt x="293" y="48"/>
                    </a:lnTo>
                    <a:lnTo>
                      <a:pt x="303" y="61"/>
                    </a:lnTo>
                    <a:lnTo>
                      <a:pt x="304" y="81"/>
                    </a:lnTo>
                    <a:lnTo>
                      <a:pt x="286" y="111"/>
                    </a:lnTo>
                    <a:lnTo>
                      <a:pt x="285" y="128"/>
                    </a:lnTo>
                    <a:lnTo>
                      <a:pt x="289" y="142"/>
                    </a:lnTo>
                    <a:lnTo>
                      <a:pt x="300" y="170"/>
                    </a:lnTo>
                    <a:lnTo>
                      <a:pt x="299" y="186"/>
                    </a:lnTo>
                    <a:lnTo>
                      <a:pt x="296" y="199"/>
                    </a:lnTo>
                    <a:lnTo>
                      <a:pt x="293" y="236"/>
                    </a:lnTo>
                    <a:lnTo>
                      <a:pt x="288" y="253"/>
                    </a:lnTo>
                    <a:lnTo>
                      <a:pt x="272" y="258"/>
                    </a:lnTo>
                    <a:lnTo>
                      <a:pt x="254" y="242"/>
                    </a:lnTo>
                    <a:lnTo>
                      <a:pt x="229" y="245"/>
                    </a:lnTo>
                    <a:lnTo>
                      <a:pt x="219" y="234"/>
                    </a:lnTo>
                    <a:lnTo>
                      <a:pt x="212" y="229"/>
                    </a:lnTo>
                    <a:lnTo>
                      <a:pt x="201" y="237"/>
                    </a:lnTo>
                    <a:lnTo>
                      <a:pt x="192" y="248"/>
                    </a:lnTo>
                    <a:lnTo>
                      <a:pt x="169" y="257"/>
                    </a:lnTo>
                    <a:lnTo>
                      <a:pt x="159" y="266"/>
                    </a:lnTo>
                    <a:lnTo>
                      <a:pt x="154" y="274"/>
                    </a:lnTo>
                    <a:lnTo>
                      <a:pt x="153" y="287"/>
                    </a:lnTo>
                    <a:lnTo>
                      <a:pt x="158" y="299"/>
                    </a:lnTo>
                    <a:lnTo>
                      <a:pt x="160" y="314"/>
                    </a:lnTo>
                    <a:lnTo>
                      <a:pt x="158" y="318"/>
                    </a:lnTo>
                    <a:lnTo>
                      <a:pt x="146" y="318"/>
                    </a:lnTo>
                    <a:lnTo>
                      <a:pt x="135" y="321"/>
                    </a:lnTo>
                    <a:lnTo>
                      <a:pt x="129" y="328"/>
                    </a:lnTo>
                    <a:lnTo>
                      <a:pt x="127" y="34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75" name="Freeform 41">
                <a:extLst>
                  <a:ext uri="{FF2B5EF4-FFF2-40B4-BE49-F238E27FC236}">
                    <a16:creationId xmlns:a16="http://schemas.microsoft.com/office/drawing/2014/main" id="{B9F5E5B0-67A4-B79F-E8D9-7C9FC689960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31" y="2334"/>
                <a:ext cx="34" cy="9"/>
              </a:xfrm>
              <a:custGeom>
                <a:avLst/>
                <a:gdLst>
                  <a:gd name="T0" fmla="*/ 0 w 168"/>
                  <a:gd name="T1" fmla="*/ 2 h 45"/>
                  <a:gd name="T2" fmla="*/ 0 w 168"/>
                  <a:gd name="T3" fmla="*/ 2 h 45"/>
                  <a:gd name="T4" fmla="*/ 2 w 168"/>
                  <a:gd name="T5" fmla="*/ 1 h 45"/>
                  <a:gd name="T6" fmla="*/ 2 w 168"/>
                  <a:gd name="T7" fmla="*/ 1 h 45"/>
                  <a:gd name="T8" fmla="*/ 2 w 168"/>
                  <a:gd name="T9" fmla="*/ 1 h 45"/>
                  <a:gd name="T10" fmla="*/ 2 w 168"/>
                  <a:gd name="T11" fmla="*/ 1 h 45"/>
                  <a:gd name="T12" fmla="*/ 3 w 168"/>
                  <a:gd name="T13" fmla="*/ 1 h 45"/>
                  <a:gd name="T14" fmla="*/ 3 w 168"/>
                  <a:gd name="T15" fmla="*/ 1 h 45"/>
                  <a:gd name="T16" fmla="*/ 3 w 168"/>
                  <a:gd name="T17" fmla="*/ 1 h 45"/>
                  <a:gd name="T18" fmla="*/ 4 w 168"/>
                  <a:gd name="T19" fmla="*/ 1 h 45"/>
                  <a:gd name="T20" fmla="*/ 4 w 168"/>
                  <a:gd name="T21" fmla="*/ 1 h 45"/>
                  <a:gd name="T22" fmla="*/ 4 w 168"/>
                  <a:gd name="T23" fmla="*/ 1 h 45"/>
                  <a:gd name="T24" fmla="*/ 4 w 168"/>
                  <a:gd name="T25" fmla="*/ 1 h 45"/>
                  <a:gd name="T26" fmla="*/ 4 w 168"/>
                  <a:gd name="T27" fmla="*/ 1 h 45"/>
                  <a:gd name="T28" fmla="*/ 5 w 168"/>
                  <a:gd name="T29" fmla="*/ 1 h 45"/>
                  <a:gd name="T30" fmla="*/ 5 w 168"/>
                  <a:gd name="T31" fmla="*/ 1 h 45"/>
                  <a:gd name="T32" fmla="*/ 5 w 168"/>
                  <a:gd name="T33" fmla="*/ 1 h 45"/>
                  <a:gd name="T34" fmla="*/ 6 w 168"/>
                  <a:gd name="T35" fmla="*/ 1 h 45"/>
                  <a:gd name="T36" fmla="*/ 6 w 168"/>
                  <a:gd name="T37" fmla="*/ 1 h 45"/>
                  <a:gd name="T38" fmla="*/ 6 w 168"/>
                  <a:gd name="T39" fmla="*/ 1 h 45"/>
                  <a:gd name="T40" fmla="*/ 6 w 168"/>
                  <a:gd name="T41" fmla="*/ 1 h 45"/>
                  <a:gd name="T42" fmla="*/ 7 w 168"/>
                  <a:gd name="T43" fmla="*/ 1 h 45"/>
                  <a:gd name="T44" fmla="*/ 7 w 168"/>
                  <a:gd name="T45" fmla="*/ 1 h 45"/>
                  <a:gd name="T46" fmla="*/ 7 w 168"/>
                  <a:gd name="T47" fmla="*/ 1 h 45"/>
                  <a:gd name="T48" fmla="*/ 7 w 168"/>
                  <a:gd name="T49" fmla="*/ 1 h 45"/>
                  <a:gd name="T50" fmla="*/ 7 w 168"/>
                  <a:gd name="T51" fmla="*/ 1 h 45"/>
                  <a:gd name="T52" fmla="*/ 7 w 168"/>
                  <a:gd name="T53" fmla="*/ 1 h 45"/>
                  <a:gd name="T54" fmla="*/ 7 w 168"/>
                  <a:gd name="T55" fmla="*/ 1 h 45"/>
                  <a:gd name="T56" fmla="*/ 6 w 168"/>
                  <a:gd name="T57" fmla="*/ 1 h 45"/>
                  <a:gd name="T58" fmla="*/ 6 w 168"/>
                  <a:gd name="T59" fmla="*/ 1 h 45"/>
                  <a:gd name="T60" fmla="*/ 6 w 168"/>
                  <a:gd name="T61" fmla="*/ 1 h 45"/>
                  <a:gd name="T62" fmla="*/ 6 w 168"/>
                  <a:gd name="T63" fmla="*/ 1 h 45"/>
                  <a:gd name="T64" fmla="*/ 5 w 168"/>
                  <a:gd name="T65" fmla="*/ 1 h 45"/>
                  <a:gd name="T66" fmla="*/ 5 w 168"/>
                  <a:gd name="T67" fmla="*/ 0 h 45"/>
                  <a:gd name="T68" fmla="*/ 5 w 168"/>
                  <a:gd name="T69" fmla="*/ 0 h 45"/>
                  <a:gd name="T70" fmla="*/ 5 w 168"/>
                  <a:gd name="T71" fmla="*/ 0 h 45"/>
                  <a:gd name="T72" fmla="*/ 4 w 168"/>
                  <a:gd name="T73" fmla="*/ 0 h 45"/>
                  <a:gd name="T74" fmla="*/ 4 w 168"/>
                  <a:gd name="T75" fmla="*/ 0 h 45"/>
                  <a:gd name="T76" fmla="*/ 4 w 168"/>
                  <a:gd name="T77" fmla="*/ 0 h 45"/>
                  <a:gd name="T78" fmla="*/ 4 w 168"/>
                  <a:gd name="T79" fmla="*/ 0 h 45"/>
                  <a:gd name="T80" fmla="*/ 4 w 168"/>
                  <a:gd name="T81" fmla="*/ 0 h 45"/>
                  <a:gd name="T82" fmla="*/ 3 w 168"/>
                  <a:gd name="T83" fmla="*/ 0 h 45"/>
                  <a:gd name="T84" fmla="*/ 3 w 168"/>
                  <a:gd name="T85" fmla="*/ 0 h 45"/>
                  <a:gd name="T86" fmla="*/ 3 w 168"/>
                  <a:gd name="T87" fmla="*/ 1 h 45"/>
                  <a:gd name="T88" fmla="*/ 1 w 168"/>
                  <a:gd name="T89" fmla="*/ 1 h 45"/>
                  <a:gd name="T90" fmla="*/ 1 w 168"/>
                  <a:gd name="T91" fmla="*/ 1 h 45"/>
                  <a:gd name="T92" fmla="*/ 1 w 168"/>
                  <a:gd name="T93" fmla="*/ 1 h 45"/>
                  <a:gd name="T94" fmla="*/ 1 w 168"/>
                  <a:gd name="T95" fmla="*/ 1 h 45"/>
                  <a:gd name="T96" fmla="*/ 0 w 168"/>
                  <a:gd name="T97" fmla="*/ 1 h 45"/>
                  <a:gd name="T98" fmla="*/ 0 w 168"/>
                  <a:gd name="T99" fmla="*/ 1 h 45"/>
                  <a:gd name="T100" fmla="*/ 0 w 168"/>
                  <a:gd name="T101" fmla="*/ 1 h 45"/>
                  <a:gd name="T102" fmla="*/ 0 w 168"/>
                  <a:gd name="T103" fmla="*/ 1 h 45"/>
                  <a:gd name="T104" fmla="*/ 0 w 168"/>
                  <a:gd name="T105" fmla="*/ 1 h 45"/>
                  <a:gd name="T106" fmla="*/ 0 w 168"/>
                  <a:gd name="T107" fmla="*/ 2 h 45"/>
                  <a:gd name="T108" fmla="*/ 0 w 168"/>
                  <a:gd name="T109" fmla="*/ 2 h 45"/>
                  <a:gd name="T110" fmla="*/ 0 w 168"/>
                  <a:gd name="T111" fmla="*/ 2 h 45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68"/>
                  <a:gd name="T169" fmla="*/ 0 h 45"/>
                  <a:gd name="T170" fmla="*/ 168 w 168"/>
                  <a:gd name="T171" fmla="*/ 45 h 45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68" h="45">
                    <a:moveTo>
                      <a:pt x="4" y="44"/>
                    </a:moveTo>
                    <a:lnTo>
                      <a:pt x="8" y="38"/>
                    </a:lnTo>
                    <a:lnTo>
                      <a:pt x="47" y="34"/>
                    </a:lnTo>
                    <a:lnTo>
                      <a:pt x="55" y="34"/>
                    </a:lnTo>
                    <a:lnTo>
                      <a:pt x="56" y="34"/>
                    </a:lnTo>
                    <a:lnTo>
                      <a:pt x="59" y="27"/>
                    </a:lnTo>
                    <a:lnTo>
                      <a:pt x="64" y="26"/>
                    </a:lnTo>
                    <a:lnTo>
                      <a:pt x="67" y="27"/>
                    </a:lnTo>
                    <a:lnTo>
                      <a:pt x="80" y="26"/>
                    </a:lnTo>
                    <a:lnTo>
                      <a:pt x="88" y="22"/>
                    </a:lnTo>
                    <a:lnTo>
                      <a:pt x="92" y="17"/>
                    </a:lnTo>
                    <a:lnTo>
                      <a:pt x="94" y="16"/>
                    </a:lnTo>
                    <a:lnTo>
                      <a:pt x="101" y="17"/>
                    </a:lnTo>
                    <a:lnTo>
                      <a:pt x="104" y="21"/>
                    </a:lnTo>
                    <a:lnTo>
                      <a:pt x="112" y="23"/>
                    </a:lnTo>
                    <a:lnTo>
                      <a:pt x="120" y="28"/>
                    </a:lnTo>
                    <a:lnTo>
                      <a:pt x="128" y="29"/>
                    </a:lnTo>
                    <a:lnTo>
                      <a:pt x="136" y="33"/>
                    </a:lnTo>
                    <a:lnTo>
                      <a:pt x="144" y="33"/>
                    </a:lnTo>
                    <a:lnTo>
                      <a:pt x="146" y="34"/>
                    </a:lnTo>
                    <a:lnTo>
                      <a:pt x="152" y="31"/>
                    </a:lnTo>
                    <a:lnTo>
                      <a:pt x="164" y="28"/>
                    </a:lnTo>
                    <a:lnTo>
                      <a:pt x="168" y="24"/>
                    </a:lnTo>
                    <a:lnTo>
                      <a:pt x="168" y="21"/>
                    </a:lnTo>
                    <a:lnTo>
                      <a:pt x="168" y="16"/>
                    </a:lnTo>
                    <a:lnTo>
                      <a:pt x="167" y="16"/>
                    </a:lnTo>
                    <a:lnTo>
                      <a:pt x="164" y="16"/>
                    </a:lnTo>
                    <a:lnTo>
                      <a:pt x="161" y="15"/>
                    </a:lnTo>
                    <a:lnTo>
                      <a:pt x="156" y="15"/>
                    </a:lnTo>
                    <a:lnTo>
                      <a:pt x="152" y="16"/>
                    </a:lnTo>
                    <a:lnTo>
                      <a:pt x="141" y="21"/>
                    </a:lnTo>
                    <a:lnTo>
                      <a:pt x="136" y="20"/>
                    </a:lnTo>
                    <a:lnTo>
                      <a:pt x="130" y="17"/>
                    </a:lnTo>
                    <a:lnTo>
                      <a:pt x="126" y="11"/>
                    </a:lnTo>
                    <a:lnTo>
                      <a:pt x="125" y="10"/>
                    </a:lnTo>
                    <a:lnTo>
                      <a:pt x="113" y="10"/>
                    </a:lnTo>
                    <a:lnTo>
                      <a:pt x="107" y="2"/>
                    </a:lnTo>
                    <a:lnTo>
                      <a:pt x="101" y="1"/>
                    </a:lnTo>
                    <a:lnTo>
                      <a:pt x="98" y="0"/>
                    </a:lnTo>
                    <a:lnTo>
                      <a:pt x="92" y="1"/>
                    </a:lnTo>
                    <a:lnTo>
                      <a:pt x="87" y="4"/>
                    </a:lnTo>
                    <a:lnTo>
                      <a:pt x="81" y="2"/>
                    </a:lnTo>
                    <a:lnTo>
                      <a:pt x="76" y="7"/>
                    </a:lnTo>
                    <a:lnTo>
                      <a:pt x="72" y="13"/>
                    </a:lnTo>
                    <a:lnTo>
                      <a:pt x="16" y="13"/>
                    </a:lnTo>
                    <a:lnTo>
                      <a:pt x="15" y="13"/>
                    </a:lnTo>
                    <a:lnTo>
                      <a:pt x="13" y="17"/>
                    </a:lnTo>
                    <a:lnTo>
                      <a:pt x="15" y="21"/>
                    </a:lnTo>
                    <a:lnTo>
                      <a:pt x="8" y="20"/>
                    </a:lnTo>
                    <a:lnTo>
                      <a:pt x="6" y="21"/>
                    </a:lnTo>
                    <a:lnTo>
                      <a:pt x="4" y="26"/>
                    </a:lnTo>
                    <a:lnTo>
                      <a:pt x="1" y="28"/>
                    </a:lnTo>
                    <a:lnTo>
                      <a:pt x="0" y="34"/>
                    </a:lnTo>
                    <a:lnTo>
                      <a:pt x="1" y="44"/>
                    </a:lnTo>
                    <a:lnTo>
                      <a:pt x="2" y="45"/>
                    </a:lnTo>
                    <a:lnTo>
                      <a:pt x="4" y="4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76" name="Freeform 42">
                <a:extLst>
                  <a:ext uri="{FF2B5EF4-FFF2-40B4-BE49-F238E27FC236}">
                    <a16:creationId xmlns:a16="http://schemas.microsoft.com/office/drawing/2014/main" id="{FFA5CACB-6AAA-702C-05CC-D5487DD969F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32" y="2347"/>
                <a:ext cx="35" cy="19"/>
              </a:xfrm>
              <a:custGeom>
                <a:avLst/>
                <a:gdLst>
                  <a:gd name="T0" fmla="*/ 7 w 173"/>
                  <a:gd name="T1" fmla="*/ 0 h 99"/>
                  <a:gd name="T2" fmla="*/ 7 w 173"/>
                  <a:gd name="T3" fmla="*/ 0 h 99"/>
                  <a:gd name="T4" fmla="*/ 7 w 173"/>
                  <a:gd name="T5" fmla="*/ 1 h 99"/>
                  <a:gd name="T6" fmla="*/ 7 w 173"/>
                  <a:gd name="T7" fmla="*/ 1 h 99"/>
                  <a:gd name="T8" fmla="*/ 7 w 173"/>
                  <a:gd name="T9" fmla="*/ 1 h 99"/>
                  <a:gd name="T10" fmla="*/ 7 w 173"/>
                  <a:gd name="T11" fmla="*/ 1 h 99"/>
                  <a:gd name="T12" fmla="*/ 7 w 173"/>
                  <a:gd name="T13" fmla="*/ 1 h 99"/>
                  <a:gd name="T14" fmla="*/ 6 w 173"/>
                  <a:gd name="T15" fmla="*/ 1 h 99"/>
                  <a:gd name="T16" fmla="*/ 6 w 173"/>
                  <a:gd name="T17" fmla="*/ 1 h 99"/>
                  <a:gd name="T18" fmla="*/ 7 w 173"/>
                  <a:gd name="T19" fmla="*/ 1 h 99"/>
                  <a:gd name="T20" fmla="*/ 7 w 173"/>
                  <a:gd name="T21" fmla="*/ 1 h 99"/>
                  <a:gd name="T22" fmla="*/ 7 w 173"/>
                  <a:gd name="T23" fmla="*/ 2 h 99"/>
                  <a:gd name="T24" fmla="*/ 7 w 173"/>
                  <a:gd name="T25" fmla="*/ 2 h 99"/>
                  <a:gd name="T26" fmla="*/ 6 w 173"/>
                  <a:gd name="T27" fmla="*/ 2 h 99"/>
                  <a:gd name="T28" fmla="*/ 6 w 173"/>
                  <a:gd name="T29" fmla="*/ 2 h 99"/>
                  <a:gd name="T30" fmla="*/ 5 w 173"/>
                  <a:gd name="T31" fmla="*/ 2 h 99"/>
                  <a:gd name="T32" fmla="*/ 5 w 173"/>
                  <a:gd name="T33" fmla="*/ 3 h 99"/>
                  <a:gd name="T34" fmla="*/ 4 w 173"/>
                  <a:gd name="T35" fmla="*/ 3 h 99"/>
                  <a:gd name="T36" fmla="*/ 4 w 173"/>
                  <a:gd name="T37" fmla="*/ 3 h 99"/>
                  <a:gd name="T38" fmla="*/ 4 w 173"/>
                  <a:gd name="T39" fmla="*/ 3 h 99"/>
                  <a:gd name="T40" fmla="*/ 4 w 173"/>
                  <a:gd name="T41" fmla="*/ 4 h 99"/>
                  <a:gd name="T42" fmla="*/ 4 w 173"/>
                  <a:gd name="T43" fmla="*/ 4 h 99"/>
                  <a:gd name="T44" fmla="*/ 4 w 173"/>
                  <a:gd name="T45" fmla="*/ 3 h 99"/>
                  <a:gd name="T46" fmla="*/ 4 w 173"/>
                  <a:gd name="T47" fmla="*/ 3 h 99"/>
                  <a:gd name="T48" fmla="*/ 3 w 173"/>
                  <a:gd name="T49" fmla="*/ 3 h 99"/>
                  <a:gd name="T50" fmla="*/ 3 w 173"/>
                  <a:gd name="T51" fmla="*/ 3 h 99"/>
                  <a:gd name="T52" fmla="*/ 3 w 173"/>
                  <a:gd name="T53" fmla="*/ 3 h 99"/>
                  <a:gd name="T54" fmla="*/ 3 w 173"/>
                  <a:gd name="T55" fmla="*/ 3 h 99"/>
                  <a:gd name="T56" fmla="*/ 3 w 173"/>
                  <a:gd name="T57" fmla="*/ 2 h 99"/>
                  <a:gd name="T58" fmla="*/ 3 w 173"/>
                  <a:gd name="T59" fmla="*/ 2 h 99"/>
                  <a:gd name="T60" fmla="*/ 3 w 173"/>
                  <a:gd name="T61" fmla="*/ 2 h 99"/>
                  <a:gd name="T62" fmla="*/ 3 w 173"/>
                  <a:gd name="T63" fmla="*/ 2 h 99"/>
                  <a:gd name="T64" fmla="*/ 4 w 173"/>
                  <a:gd name="T65" fmla="*/ 2 h 99"/>
                  <a:gd name="T66" fmla="*/ 4 w 173"/>
                  <a:gd name="T67" fmla="*/ 2 h 99"/>
                  <a:gd name="T68" fmla="*/ 3 w 173"/>
                  <a:gd name="T69" fmla="*/ 2 h 99"/>
                  <a:gd name="T70" fmla="*/ 3 w 173"/>
                  <a:gd name="T71" fmla="*/ 2 h 99"/>
                  <a:gd name="T72" fmla="*/ 2 w 173"/>
                  <a:gd name="T73" fmla="*/ 2 h 99"/>
                  <a:gd name="T74" fmla="*/ 2 w 173"/>
                  <a:gd name="T75" fmla="*/ 2 h 99"/>
                  <a:gd name="T76" fmla="*/ 2 w 173"/>
                  <a:gd name="T77" fmla="*/ 2 h 99"/>
                  <a:gd name="T78" fmla="*/ 2 w 173"/>
                  <a:gd name="T79" fmla="*/ 2 h 99"/>
                  <a:gd name="T80" fmla="*/ 2 w 173"/>
                  <a:gd name="T81" fmla="*/ 2 h 99"/>
                  <a:gd name="T82" fmla="*/ 1 w 173"/>
                  <a:gd name="T83" fmla="*/ 2 h 99"/>
                  <a:gd name="T84" fmla="*/ 1 w 173"/>
                  <a:gd name="T85" fmla="*/ 2 h 99"/>
                  <a:gd name="T86" fmla="*/ 1 w 173"/>
                  <a:gd name="T87" fmla="*/ 1 h 99"/>
                  <a:gd name="T88" fmla="*/ 0 w 173"/>
                  <a:gd name="T89" fmla="*/ 1 h 99"/>
                  <a:gd name="T90" fmla="*/ 0 w 173"/>
                  <a:gd name="T91" fmla="*/ 1 h 99"/>
                  <a:gd name="T92" fmla="*/ 0 w 173"/>
                  <a:gd name="T93" fmla="*/ 1 h 99"/>
                  <a:gd name="T94" fmla="*/ 0 w 173"/>
                  <a:gd name="T95" fmla="*/ 1 h 99"/>
                  <a:gd name="T96" fmla="*/ 0 w 173"/>
                  <a:gd name="T97" fmla="*/ 1 h 99"/>
                  <a:gd name="T98" fmla="*/ 1 w 173"/>
                  <a:gd name="T99" fmla="*/ 1 h 99"/>
                  <a:gd name="T100" fmla="*/ 1 w 173"/>
                  <a:gd name="T101" fmla="*/ 1 h 99"/>
                  <a:gd name="T102" fmla="*/ 1 w 173"/>
                  <a:gd name="T103" fmla="*/ 0 h 99"/>
                  <a:gd name="T104" fmla="*/ 2 w 173"/>
                  <a:gd name="T105" fmla="*/ 1 h 99"/>
                  <a:gd name="T106" fmla="*/ 3 w 173"/>
                  <a:gd name="T107" fmla="*/ 0 h 99"/>
                  <a:gd name="T108" fmla="*/ 3 w 173"/>
                  <a:gd name="T109" fmla="*/ 0 h 99"/>
                  <a:gd name="T110" fmla="*/ 4 w 173"/>
                  <a:gd name="T111" fmla="*/ 0 h 99"/>
                  <a:gd name="T112" fmla="*/ 5 w 173"/>
                  <a:gd name="T113" fmla="*/ 0 h 99"/>
                  <a:gd name="T114" fmla="*/ 5 w 173"/>
                  <a:gd name="T115" fmla="*/ 0 h 99"/>
                  <a:gd name="T116" fmla="*/ 7 w 173"/>
                  <a:gd name="T117" fmla="*/ 0 h 99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173"/>
                  <a:gd name="T178" fmla="*/ 0 h 99"/>
                  <a:gd name="T179" fmla="*/ 173 w 173"/>
                  <a:gd name="T180" fmla="*/ 99 h 99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173" h="99">
                    <a:moveTo>
                      <a:pt x="169" y="0"/>
                    </a:moveTo>
                    <a:lnTo>
                      <a:pt x="169" y="7"/>
                    </a:lnTo>
                    <a:lnTo>
                      <a:pt x="173" y="14"/>
                    </a:lnTo>
                    <a:lnTo>
                      <a:pt x="173" y="18"/>
                    </a:lnTo>
                    <a:lnTo>
                      <a:pt x="170" y="24"/>
                    </a:lnTo>
                    <a:lnTo>
                      <a:pt x="168" y="25"/>
                    </a:lnTo>
                    <a:lnTo>
                      <a:pt x="162" y="25"/>
                    </a:lnTo>
                    <a:lnTo>
                      <a:pt x="160" y="27"/>
                    </a:lnTo>
                    <a:lnTo>
                      <a:pt x="158" y="30"/>
                    </a:lnTo>
                    <a:lnTo>
                      <a:pt x="164" y="34"/>
                    </a:lnTo>
                    <a:lnTo>
                      <a:pt x="167" y="39"/>
                    </a:lnTo>
                    <a:lnTo>
                      <a:pt x="168" y="57"/>
                    </a:lnTo>
                    <a:lnTo>
                      <a:pt x="162" y="57"/>
                    </a:lnTo>
                    <a:lnTo>
                      <a:pt x="158" y="60"/>
                    </a:lnTo>
                    <a:lnTo>
                      <a:pt x="138" y="60"/>
                    </a:lnTo>
                    <a:lnTo>
                      <a:pt x="121" y="67"/>
                    </a:lnTo>
                    <a:lnTo>
                      <a:pt x="114" y="73"/>
                    </a:lnTo>
                    <a:lnTo>
                      <a:pt x="110" y="81"/>
                    </a:lnTo>
                    <a:lnTo>
                      <a:pt x="106" y="89"/>
                    </a:lnTo>
                    <a:lnTo>
                      <a:pt x="104" y="93"/>
                    </a:lnTo>
                    <a:lnTo>
                      <a:pt x="99" y="97"/>
                    </a:lnTo>
                    <a:lnTo>
                      <a:pt x="93" y="99"/>
                    </a:lnTo>
                    <a:lnTo>
                      <a:pt x="93" y="95"/>
                    </a:lnTo>
                    <a:lnTo>
                      <a:pt x="94" y="93"/>
                    </a:lnTo>
                    <a:lnTo>
                      <a:pt x="86" y="94"/>
                    </a:lnTo>
                    <a:lnTo>
                      <a:pt x="81" y="93"/>
                    </a:lnTo>
                    <a:lnTo>
                      <a:pt x="76" y="87"/>
                    </a:lnTo>
                    <a:lnTo>
                      <a:pt x="74" y="79"/>
                    </a:lnTo>
                    <a:lnTo>
                      <a:pt x="77" y="70"/>
                    </a:lnTo>
                    <a:lnTo>
                      <a:pt x="72" y="58"/>
                    </a:lnTo>
                    <a:lnTo>
                      <a:pt x="79" y="54"/>
                    </a:lnTo>
                    <a:lnTo>
                      <a:pt x="84" y="51"/>
                    </a:lnTo>
                    <a:lnTo>
                      <a:pt x="103" y="50"/>
                    </a:lnTo>
                    <a:lnTo>
                      <a:pt x="104" y="45"/>
                    </a:lnTo>
                    <a:lnTo>
                      <a:pt x="81" y="47"/>
                    </a:lnTo>
                    <a:lnTo>
                      <a:pt x="72" y="50"/>
                    </a:lnTo>
                    <a:lnTo>
                      <a:pt x="59" y="57"/>
                    </a:lnTo>
                    <a:lnTo>
                      <a:pt x="51" y="58"/>
                    </a:lnTo>
                    <a:lnTo>
                      <a:pt x="47" y="57"/>
                    </a:lnTo>
                    <a:lnTo>
                      <a:pt x="46" y="49"/>
                    </a:lnTo>
                    <a:lnTo>
                      <a:pt x="40" y="50"/>
                    </a:lnTo>
                    <a:lnTo>
                      <a:pt x="30" y="47"/>
                    </a:lnTo>
                    <a:lnTo>
                      <a:pt x="27" y="43"/>
                    </a:lnTo>
                    <a:lnTo>
                      <a:pt x="25" y="34"/>
                    </a:lnTo>
                    <a:lnTo>
                      <a:pt x="4" y="28"/>
                    </a:lnTo>
                    <a:lnTo>
                      <a:pt x="0" y="20"/>
                    </a:lnTo>
                    <a:lnTo>
                      <a:pt x="2" y="17"/>
                    </a:lnTo>
                    <a:lnTo>
                      <a:pt x="3" y="19"/>
                    </a:lnTo>
                    <a:lnTo>
                      <a:pt x="7" y="20"/>
                    </a:lnTo>
                    <a:lnTo>
                      <a:pt x="14" y="20"/>
                    </a:lnTo>
                    <a:lnTo>
                      <a:pt x="25" y="15"/>
                    </a:lnTo>
                    <a:lnTo>
                      <a:pt x="29" y="13"/>
                    </a:lnTo>
                    <a:lnTo>
                      <a:pt x="59" y="14"/>
                    </a:lnTo>
                    <a:lnTo>
                      <a:pt x="68" y="12"/>
                    </a:lnTo>
                    <a:lnTo>
                      <a:pt x="79" y="7"/>
                    </a:lnTo>
                    <a:lnTo>
                      <a:pt x="92" y="1"/>
                    </a:lnTo>
                    <a:lnTo>
                      <a:pt x="116" y="1"/>
                    </a:lnTo>
                    <a:lnTo>
                      <a:pt x="119" y="0"/>
                    </a:lnTo>
                    <a:lnTo>
                      <a:pt x="169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77" name="Freeform 43">
                <a:extLst>
                  <a:ext uri="{FF2B5EF4-FFF2-40B4-BE49-F238E27FC236}">
                    <a16:creationId xmlns:a16="http://schemas.microsoft.com/office/drawing/2014/main" id="{E8844DB2-DA5B-BECF-F7A9-CB90DA9ECE4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90" y="2393"/>
                <a:ext cx="45" cy="46"/>
              </a:xfrm>
              <a:custGeom>
                <a:avLst/>
                <a:gdLst>
                  <a:gd name="T0" fmla="*/ 0 w 227"/>
                  <a:gd name="T1" fmla="*/ 3 h 228"/>
                  <a:gd name="T2" fmla="*/ 0 w 227"/>
                  <a:gd name="T3" fmla="*/ 3 h 228"/>
                  <a:gd name="T4" fmla="*/ 1 w 227"/>
                  <a:gd name="T5" fmla="*/ 3 h 228"/>
                  <a:gd name="T6" fmla="*/ 1 w 227"/>
                  <a:gd name="T7" fmla="*/ 3 h 228"/>
                  <a:gd name="T8" fmla="*/ 1 w 227"/>
                  <a:gd name="T9" fmla="*/ 2 h 228"/>
                  <a:gd name="T10" fmla="*/ 2 w 227"/>
                  <a:gd name="T11" fmla="*/ 2 h 228"/>
                  <a:gd name="T12" fmla="*/ 2 w 227"/>
                  <a:gd name="T13" fmla="*/ 2 h 228"/>
                  <a:gd name="T14" fmla="*/ 2 w 227"/>
                  <a:gd name="T15" fmla="*/ 1 h 228"/>
                  <a:gd name="T16" fmla="*/ 2 w 227"/>
                  <a:gd name="T17" fmla="*/ 1 h 228"/>
                  <a:gd name="T18" fmla="*/ 3 w 227"/>
                  <a:gd name="T19" fmla="*/ 1 h 228"/>
                  <a:gd name="T20" fmla="*/ 3 w 227"/>
                  <a:gd name="T21" fmla="*/ 0 h 228"/>
                  <a:gd name="T22" fmla="*/ 3 w 227"/>
                  <a:gd name="T23" fmla="*/ 0 h 228"/>
                  <a:gd name="T24" fmla="*/ 3 w 227"/>
                  <a:gd name="T25" fmla="*/ 0 h 228"/>
                  <a:gd name="T26" fmla="*/ 3 w 227"/>
                  <a:gd name="T27" fmla="*/ 0 h 228"/>
                  <a:gd name="T28" fmla="*/ 4 w 227"/>
                  <a:gd name="T29" fmla="*/ 0 h 228"/>
                  <a:gd name="T30" fmla="*/ 4 w 227"/>
                  <a:gd name="T31" fmla="*/ 0 h 228"/>
                  <a:gd name="T32" fmla="*/ 4 w 227"/>
                  <a:gd name="T33" fmla="*/ 0 h 228"/>
                  <a:gd name="T34" fmla="*/ 5 w 227"/>
                  <a:gd name="T35" fmla="*/ 1 h 228"/>
                  <a:gd name="T36" fmla="*/ 5 w 227"/>
                  <a:gd name="T37" fmla="*/ 2 h 228"/>
                  <a:gd name="T38" fmla="*/ 5 w 227"/>
                  <a:gd name="T39" fmla="*/ 2 h 228"/>
                  <a:gd name="T40" fmla="*/ 4 w 227"/>
                  <a:gd name="T41" fmla="*/ 3 h 228"/>
                  <a:gd name="T42" fmla="*/ 5 w 227"/>
                  <a:gd name="T43" fmla="*/ 3 h 228"/>
                  <a:gd name="T44" fmla="*/ 5 w 227"/>
                  <a:gd name="T45" fmla="*/ 3 h 228"/>
                  <a:gd name="T46" fmla="*/ 5 w 227"/>
                  <a:gd name="T47" fmla="*/ 3 h 228"/>
                  <a:gd name="T48" fmla="*/ 6 w 227"/>
                  <a:gd name="T49" fmla="*/ 3 h 228"/>
                  <a:gd name="T50" fmla="*/ 6 w 227"/>
                  <a:gd name="T51" fmla="*/ 3 h 228"/>
                  <a:gd name="T52" fmla="*/ 6 w 227"/>
                  <a:gd name="T53" fmla="*/ 2 h 228"/>
                  <a:gd name="T54" fmla="*/ 6 w 227"/>
                  <a:gd name="T55" fmla="*/ 2 h 228"/>
                  <a:gd name="T56" fmla="*/ 7 w 227"/>
                  <a:gd name="T57" fmla="*/ 2 h 228"/>
                  <a:gd name="T58" fmla="*/ 7 w 227"/>
                  <a:gd name="T59" fmla="*/ 3 h 228"/>
                  <a:gd name="T60" fmla="*/ 7 w 227"/>
                  <a:gd name="T61" fmla="*/ 3 h 228"/>
                  <a:gd name="T62" fmla="*/ 7 w 227"/>
                  <a:gd name="T63" fmla="*/ 4 h 228"/>
                  <a:gd name="T64" fmla="*/ 7 w 227"/>
                  <a:gd name="T65" fmla="*/ 4 h 228"/>
                  <a:gd name="T66" fmla="*/ 6 w 227"/>
                  <a:gd name="T67" fmla="*/ 5 h 228"/>
                  <a:gd name="T68" fmla="*/ 7 w 227"/>
                  <a:gd name="T69" fmla="*/ 5 h 228"/>
                  <a:gd name="T70" fmla="*/ 7 w 227"/>
                  <a:gd name="T71" fmla="*/ 5 h 228"/>
                  <a:gd name="T72" fmla="*/ 7 w 227"/>
                  <a:gd name="T73" fmla="*/ 5 h 228"/>
                  <a:gd name="T74" fmla="*/ 8 w 227"/>
                  <a:gd name="T75" fmla="*/ 5 h 228"/>
                  <a:gd name="T76" fmla="*/ 8 w 227"/>
                  <a:gd name="T77" fmla="*/ 5 h 228"/>
                  <a:gd name="T78" fmla="*/ 8 w 227"/>
                  <a:gd name="T79" fmla="*/ 5 h 228"/>
                  <a:gd name="T80" fmla="*/ 8 w 227"/>
                  <a:gd name="T81" fmla="*/ 6 h 228"/>
                  <a:gd name="T82" fmla="*/ 9 w 227"/>
                  <a:gd name="T83" fmla="*/ 6 h 228"/>
                  <a:gd name="T84" fmla="*/ 9 w 227"/>
                  <a:gd name="T85" fmla="*/ 6 h 228"/>
                  <a:gd name="T86" fmla="*/ 9 w 227"/>
                  <a:gd name="T87" fmla="*/ 7 h 228"/>
                  <a:gd name="T88" fmla="*/ 9 w 227"/>
                  <a:gd name="T89" fmla="*/ 7 h 228"/>
                  <a:gd name="T90" fmla="*/ 9 w 227"/>
                  <a:gd name="T91" fmla="*/ 7 h 228"/>
                  <a:gd name="T92" fmla="*/ 9 w 227"/>
                  <a:gd name="T93" fmla="*/ 8 h 228"/>
                  <a:gd name="T94" fmla="*/ 9 w 227"/>
                  <a:gd name="T95" fmla="*/ 8 h 228"/>
                  <a:gd name="T96" fmla="*/ 9 w 227"/>
                  <a:gd name="T97" fmla="*/ 8 h 228"/>
                  <a:gd name="T98" fmla="*/ 8 w 227"/>
                  <a:gd name="T99" fmla="*/ 9 h 228"/>
                  <a:gd name="T100" fmla="*/ 7 w 227"/>
                  <a:gd name="T101" fmla="*/ 9 h 228"/>
                  <a:gd name="T102" fmla="*/ 7 w 227"/>
                  <a:gd name="T103" fmla="*/ 9 h 228"/>
                  <a:gd name="T104" fmla="*/ 6 w 227"/>
                  <a:gd name="T105" fmla="*/ 8 h 228"/>
                  <a:gd name="T106" fmla="*/ 5 w 227"/>
                  <a:gd name="T107" fmla="*/ 8 h 228"/>
                  <a:gd name="T108" fmla="*/ 4 w 227"/>
                  <a:gd name="T109" fmla="*/ 7 h 228"/>
                  <a:gd name="T110" fmla="*/ 3 w 227"/>
                  <a:gd name="T111" fmla="*/ 5 h 228"/>
                  <a:gd name="T112" fmla="*/ 2 w 227"/>
                  <a:gd name="T113" fmla="*/ 5 h 228"/>
                  <a:gd name="T114" fmla="*/ 1 w 227"/>
                  <a:gd name="T115" fmla="*/ 4 h 228"/>
                  <a:gd name="T116" fmla="*/ 1 w 227"/>
                  <a:gd name="T117" fmla="*/ 4 h 228"/>
                  <a:gd name="T118" fmla="*/ 1 w 227"/>
                  <a:gd name="T119" fmla="*/ 4 h 228"/>
                  <a:gd name="T120" fmla="*/ 0 w 227"/>
                  <a:gd name="T121" fmla="*/ 4 h 228"/>
                  <a:gd name="T122" fmla="*/ 0 w 227"/>
                  <a:gd name="T123" fmla="*/ 4 h 228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227"/>
                  <a:gd name="T187" fmla="*/ 0 h 228"/>
                  <a:gd name="T188" fmla="*/ 227 w 227"/>
                  <a:gd name="T189" fmla="*/ 228 h 228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227" h="228">
                    <a:moveTo>
                      <a:pt x="3" y="86"/>
                    </a:moveTo>
                    <a:lnTo>
                      <a:pt x="4" y="86"/>
                    </a:lnTo>
                    <a:lnTo>
                      <a:pt x="9" y="83"/>
                    </a:lnTo>
                    <a:lnTo>
                      <a:pt x="10" y="77"/>
                    </a:lnTo>
                    <a:lnTo>
                      <a:pt x="13" y="76"/>
                    </a:lnTo>
                    <a:lnTo>
                      <a:pt x="13" y="71"/>
                    </a:lnTo>
                    <a:lnTo>
                      <a:pt x="14" y="68"/>
                    </a:lnTo>
                    <a:lnTo>
                      <a:pt x="19" y="68"/>
                    </a:lnTo>
                    <a:lnTo>
                      <a:pt x="22" y="66"/>
                    </a:lnTo>
                    <a:lnTo>
                      <a:pt x="31" y="57"/>
                    </a:lnTo>
                    <a:lnTo>
                      <a:pt x="37" y="56"/>
                    </a:lnTo>
                    <a:lnTo>
                      <a:pt x="41" y="49"/>
                    </a:lnTo>
                    <a:lnTo>
                      <a:pt x="44" y="49"/>
                    </a:lnTo>
                    <a:lnTo>
                      <a:pt x="47" y="44"/>
                    </a:lnTo>
                    <a:lnTo>
                      <a:pt x="51" y="43"/>
                    </a:lnTo>
                    <a:lnTo>
                      <a:pt x="51" y="27"/>
                    </a:lnTo>
                    <a:lnTo>
                      <a:pt x="53" y="25"/>
                    </a:lnTo>
                    <a:lnTo>
                      <a:pt x="58" y="19"/>
                    </a:lnTo>
                    <a:lnTo>
                      <a:pt x="68" y="18"/>
                    </a:lnTo>
                    <a:lnTo>
                      <a:pt x="68" y="17"/>
                    </a:lnTo>
                    <a:lnTo>
                      <a:pt x="64" y="13"/>
                    </a:lnTo>
                    <a:lnTo>
                      <a:pt x="65" y="8"/>
                    </a:lnTo>
                    <a:lnTo>
                      <a:pt x="69" y="8"/>
                    </a:lnTo>
                    <a:lnTo>
                      <a:pt x="71" y="2"/>
                    </a:lnTo>
                    <a:lnTo>
                      <a:pt x="75" y="0"/>
                    </a:lnTo>
                    <a:lnTo>
                      <a:pt x="79" y="1"/>
                    </a:lnTo>
                    <a:lnTo>
                      <a:pt x="85" y="6"/>
                    </a:lnTo>
                    <a:lnTo>
                      <a:pt x="86" y="6"/>
                    </a:lnTo>
                    <a:lnTo>
                      <a:pt x="89" y="3"/>
                    </a:lnTo>
                    <a:lnTo>
                      <a:pt x="97" y="1"/>
                    </a:lnTo>
                    <a:lnTo>
                      <a:pt x="100" y="2"/>
                    </a:lnTo>
                    <a:lnTo>
                      <a:pt x="100" y="3"/>
                    </a:lnTo>
                    <a:lnTo>
                      <a:pt x="102" y="7"/>
                    </a:lnTo>
                    <a:lnTo>
                      <a:pt x="110" y="12"/>
                    </a:lnTo>
                    <a:lnTo>
                      <a:pt x="110" y="19"/>
                    </a:lnTo>
                    <a:lnTo>
                      <a:pt x="114" y="25"/>
                    </a:lnTo>
                    <a:lnTo>
                      <a:pt x="116" y="39"/>
                    </a:lnTo>
                    <a:lnTo>
                      <a:pt x="118" y="41"/>
                    </a:lnTo>
                    <a:lnTo>
                      <a:pt x="117" y="56"/>
                    </a:lnTo>
                    <a:lnTo>
                      <a:pt x="114" y="60"/>
                    </a:lnTo>
                    <a:lnTo>
                      <a:pt x="111" y="62"/>
                    </a:lnTo>
                    <a:lnTo>
                      <a:pt x="110" y="65"/>
                    </a:lnTo>
                    <a:lnTo>
                      <a:pt x="111" y="66"/>
                    </a:lnTo>
                    <a:lnTo>
                      <a:pt x="116" y="66"/>
                    </a:lnTo>
                    <a:lnTo>
                      <a:pt x="119" y="62"/>
                    </a:lnTo>
                    <a:lnTo>
                      <a:pt x="122" y="64"/>
                    </a:lnTo>
                    <a:lnTo>
                      <a:pt x="127" y="67"/>
                    </a:lnTo>
                    <a:lnTo>
                      <a:pt x="132" y="75"/>
                    </a:lnTo>
                    <a:lnTo>
                      <a:pt x="137" y="73"/>
                    </a:lnTo>
                    <a:lnTo>
                      <a:pt x="139" y="71"/>
                    </a:lnTo>
                    <a:lnTo>
                      <a:pt x="146" y="70"/>
                    </a:lnTo>
                    <a:lnTo>
                      <a:pt x="148" y="66"/>
                    </a:lnTo>
                    <a:lnTo>
                      <a:pt x="153" y="60"/>
                    </a:lnTo>
                    <a:lnTo>
                      <a:pt x="153" y="51"/>
                    </a:lnTo>
                    <a:lnTo>
                      <a:pt x="156" y="49"/>
                    </a:lnTo>
                    <a:lnTo>
                      <a:pt x="162" y="50"/>
                    </a:lnTo>
                    <a:lnTo>
                      <a:pt x="166" y="56"/>
                    </a:lnTo>
                    <a:lnTo>
                      <a:pt x="167" y="61"/>
                    </a:lnTo>
                    <a:lnTo>
                      <a:pt x="169" y="70"/>
                    </a:lnTo>
                    <a:lnTo>
                      <a:pt x="171" y="71"/>
                    </a:lnTo>
                    <a:lnTo>
                      <a:pt x="173" y="75"/>
                    </a:lnTo>
                    <a:lnTo>
                      <a:pt x="173" y="76"/>
                    </a:lnTo>
                    <a:lnTo>
                      <a:pt x="178" y="80"/>
                    </a:lnTo>
                    <a:lnTo>
                      <a:pt x="175" y="95"/>
                    </a:lnTo>
                    <a:lnTo>
                      <a:pt x="173" y="98"/>
                    </a:lnTo>
                    <a:lnTo>
                      <a:pt x="165" y="105"/>
                    </a:lnTo>
                    <a:lnTo>
                      <a:pt x="161" y="111"/>
                    </a:lnTo>
                    <a:lnTo>
                      <a:pt x="161" y="113"/>
                    </a:lnTo>
                    <a:lnTo>
                      <a:pt x="164" y="113"/>
                    </a:lnTo>
                    <a:lnTo>
                      <a:pt x="165" y="115"/>
                    </a:lnTo>
                    <a:lnTo>
                      <a:pt x="169" y="114"/>
                    </a:lnTo>
                    <a:lnTo>
                      <a:pt x="170" y="116"/>
                    </a:lnTo>
                    <a:lnTo>
                      <a:pt x="172" y="118"/>
                    </a:lnTo>
                    <a:lnTo>
                      <a:pt x="176" y="118"/>
                    </a:lnTo>
                    <a:lnTo>
                      <a:pt x="183" y="123"/>
                    </a:lnTo>
                    <a:lnTo>
                      <a:pt x="193" y="123"/>
                    </a:lnTo>
                    <a:lnTo>
                      <a:pt x="196" y="123"/>
                    </a:lnTo>
                    <a:lnTo>
                      <a:pt x="199" y="130"/>
                    </a:lnTo>
                    <a:lnTo>
                      <a:pt x="199" y="134"/>
                    </a:lnTo>
                    <a:lnTo>
                      <a:pt x="202" y="135"/>
                    </a:lnTo>
                    <a:lnTo>
                      <a:pt x="205" y="140"/>
                    </a:lnTo>
                    <a:lnTo>
                      <a:pt x="207" y="143"/>
                    </a:lnTo>
                    <a:lnTo>
                      <a:pt x="213" y="145"/>
                    </a:lnTo>
                    <a:lnTo>
                      <a:pt x="218" y="150"/>
                    </a:lnTo>
                    <a:lnTo>
                      <a:pt x="224" y="148"/>
                    </a:lnTo>
                    <a:lnTo>
                      <a:pt x="224" y="153"/>
                    </a:lnTo>
                    <a:lnTo>
                      <a:pt x="226" y="158"/>
                    </a:lnTo>
                    <a:lnTo>
                      <a:pt x="227" y="164"/>
                    </a:lnTo>
                    <a:lnTo>
                      <a:pt x="225" y="172"/>
                    </a:lnTo>
                    <a:lnTo>
                      <a:pt x="227" y="177"/>
                    </a:lnTo>
                    <a:lnTo>
                      <a:pt x="227" y="178"/>
                    </a:lnTo>
                    <a:lnTo>
                      <a:pt x="223" y="178"/>
                    </a:lnTo>
                    <a:lnTo>
                      <a:pt x="221" y="181"/>
                    </a:lnTo>
                    <a:lnTo>
                      <a:pt x="221" y="189"/>
                    </a:lnTo>
                    <a:lnTo>
                      <a:pt x="218" y="189"/>
                    </a:lnTo>
                    <a:lnTo>
                      <a:pt x="218" y="191"/>
                    </a:lnTo>
                    <a:lnTo>
                      <a:pt x="218" y="196"/>
                    </a:lnTo>
                    <a:lnTo>
                      <a:pt x="216" y="201"/>
                    </a:lnTo>
                    <a:lnTo>
                      <a:pt x="218" y="228"/>
                    </a:lnTo>
                    <a:lnTo>
                      <a:pt x="196" y="224"/>
                    </a:lnTo>
                    <a:lnTo>
                      <a:pt x="189" y="220"/>
                    </a:lnTo>
                    <a:lnTo>
                      <a:pt x="186" y="217"/>
                    </a:lnTo>
                    <a:lnTo>
                      <a:pt x="180" y="217"/>
                    </a:lnTo>
                    <a:lnTo>
                      <a:pt x="169" y="215"/>
                    </a:lnTo>
                    <a:lnTo>
                      <a:pt x="160" y="210"/>
                    </a:lnTo>
                    <a:lnTo>
                      <a:pt x="154" y="206"/>
                    </a:lnTo>
                    <a:lnTo>
                      <a:pt x="144" y="201"/>
                    </a:lnTo>
                    <a:lnTo>
                      <a:pt x="133" y="193"/>
                    </a:lnTo>
                    <a:lnTo>
                      <a:pt x="119" y="188"/>
                    </a:lnTo>
                    <a:lnTo>
                      <a:pt x="105" y="169"/>
                    </a:lnTo>
                    <a:lnTo>
                      <a:pt x="69" y="141"/>
                    </a:lnTo>
                    <a:lnTo>
                      <a:pt x="64" y="135"/>
                    </a:lnTo>
                    <a:lnTo>
                      <a:pt x="59" y="131"/>
                    </a:lnTo>
                    <a:lnTo>
                      <a:pt x="49" y="129"/>
                    </a:lnTo>
                    <a:lnTo>
                      <a:pt x="36" y="123"/>
                    </a:lnTo>
                    <a:lnTo>
                      <a:pt x="28" y="109"/>
                    </a:lnTo>
                    <a:lnTo>
                      <a:pt x="19" y="105"/>
                    </a:lnTo>
                    <a:lnTo>
                      <a:pt x="16" y="103"/>
                    </a:lnTo>
                    <a:lnTo>
                      <a:pt x="16" y="98"/>
                    </a:lnTo>
                    <a:lnTo>
                      <a:pt x="15" y="95"/>
                    </a:lnTo>
                    <a:lnTo>
                      <a:pt x="4" y="92"/>
                    </a:lnTo>
                    <a:lnTo>
                      <a:pt x="3" y="88"/>
                    </a:lnTo>
                    <a:lnTo>
                      <a:pt x="0" y="88"/>
                    </a:lnTo>
                    <a:lnTo>
                      <a:pt x="3" y="87"/>
                    </a:lnTo>
                    <a:lnTo>
                      <a:pt x="3" y="8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78" name="Freeform 44">
                <a:extLst>
                  <a:ext uri="{FF2B5EF4-FFF2-40B4-BE49-F238E27FC236}">
                    <a16:creationId xmlns:a16="http://schemas.microsoft.com/office/drawing/2014/main" id="{77A3FF19-51F6-6207-4465-423148AB134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45" y="2334"/>
                <a:ext cx="129" cy="107"/>
              </a:xfrm>
              <a:custGeom>
                <a:avLst/>
                <a:gdLst>
                  <a:gd name="T0" fmla="*/ 2 w 642"/>
                  <a:gd name="T1" fmla="*/ 3 h 532"/>
                  <a:gd name="T2" fmla="*/ 2 w 642"/>
                  <a:gd name="T3" fmla="*/ 3 h 532"/>
                  <a:gd name="T4" fmla="*/ 3 w 642"/>
                  <a:gd name="T5" fmla="*/ 2 h 532"/>
                  <a:gd name="T6" fmla="*/ 4 w 642"/>
                  <a:gd name="T7" fmla="*/ 0 h 532"/>
                  <a:gd name="T8" fmla="*/ 6 w 642"/>
                  <a:gd name="T9" fmla="*/ 0 h 532"/>
                  <a:gd name="T10" fmla="*/ 8 w 642"/>
                  <a:gd name="T11" fmla="*/ 1 h 532"/>
                  <a:gd name="T12" fmla="*/ 9 w 642"/>
                  <a:gd name="T13" fmla="*/ 2 h 532"/>
                  <a:gd name="T14" fmla="*/ 11 w 642"/>
                  <a:gd name="T15" fmla="*/ 1 h 532"/>
                  <a:gd name="T16" fmla="*/ 12 w 642"/>
                  <a:gd name="T17" fmla="*/ 1 h 532"/>
                  <a:gd name="T18" fmla="*/ 15 w 642"/>
                  <a:gd name="T19" fmla="*/ 2 h 532"/>
                  <a:gd name="T20" fmla="*/ 16 w 642"/>
                  <a:gd name="T21" fmla="*/ 1 h 532"/>
                  <a:gd name="T22" fmla="*/ 18 w 642"/>
                  <a:gd name="T23" fmla="*/ 1 h 532"/>
                  <a:gd name="T24" fmla="*/ 20 w 642"/>
                  <a:gd name="T25" fmla="*/ 1 h 532"/>
                  <a:gd name="T26" fmla="*/ 21 w 642"/>
                  <a:gd name="T27" fmla="*/ 1 h 532"/>
                  <a:gd name="T28" fmla="*/ 22 w 642"/>
                  <a:gd name="T29" fmla="*/ 1 h 532"/>
                  <a:gd name="T30" fmla="*/ 23 w 642"/>
                  <a:gd name="T31" fmla="*/ 1 h 532"/>
                  <a:gd name="T32" fmla="*/ 23 w 642"/>
                  <a:gd name="T33" fmla="*/ 0 h 532"/>
                  <a:gd name="T34" fmla="*/ 24 w 642"/>
                  <a:gd name="T35" fmla="*/ 1 h 532"/>
                  <a:gd name="T36" fmla="*/ 24 w 642"/>
                  <a:gd name="T37" fmla="*/ 2 h 532"/>
                  <a:gd name="T38" fmla="*/ 25 w 642"/>
                  <a:gd name="T39" fmla="*/ 3 h 532"/>
                  <a:gd name="T40" fmla="*/ 26 w 642"/>
                  <a:gd name="T41" fmla="*/ 3 h 532"/>
                  <a:gd name="T42" fmla="*/ 26 w 642"/>
                  <a:gd name="T43" fmla="*/ 5 h 532"/>
                  <a:gd name="T44" fmla="*/ 24 w 642"/>
                  <a:gd name="T45" fmla="*/ 6 h 532"/>
                  <a:gd name="T46" fmla="*/ 24 w 642"/>
                  <a:gd name="T47" fmla="*/ 6 h 532"/>
                  <a:gd name="T48" fmla="*/ 23 w 642"/>
                  <a:gd name="T49" fmla="*/ 8 h 532"/>
                  <a:gd name="T50" fmla="*/ 22 w 642"/>
                  <a:gd name="T51" fmla="*/ 10 h 532"/>
                  <a:gd name="T52" fmla="*/ 22 w 642"/>
                  <a:gd name="T53" fmla="*/ 11 h 532"/>
                  <a:gd name="T54" fmla="*/ 21 w 642"/>
                  <a:gd name="T55" fmla="*/ 13 h 532"/>
                  <a:gd name="T56" fmla="*/ 20 w 642"/>
                  <a:gd name="T57" fmla="*/ 14 h 532"/>
                  <a:gd name="T58" fmla="*/ 19 w 642"/>
                  <a:gd name="T59" fmla="*/ 16 h 532"/>
                  <a:gd name="T60" fmla="*/ 18 w 642"/>
                  <a:gd name="T61" fmla="*/ 16 h 532"/>
                  <a:gd name="T62" fmla="*/ 18 w 642"/>
                  <a:gd name="T63" fmla="*/ 16 h 532"/>
                  <a:gd name="T64" fmla="*/ 16 w 642"/>
                  <a:gd name="T65" fmla="*/ 16 h 532"/>
                  <a:gd name="T66" fmla="*/ 15 w 642"/>
                  <a:gd name="T67" fmla="*/ 16 h 532"/>
                  <a:gd name="T68" fmla="*/ 14 w 642"/>
                  <a:gd name="T69" fmla="*/ 17 h 532"/>
                  <a:gd name="T70" fmla="*/ 13 w 642"/>
                  <a:gd name="T71" fmla="*/ 19 h 532"/>
                  <a:gd name="T72" fmla="*/ 13 w 642"/>
                  <a:gd name="T73" fmla="*/ 20 h 532"/>
                  <a:gd name="T74" fmla="*/ 12 w 642"/>
                  <a:gd name="T75" fmla="*/ 20 h 532"/>
                  <a:gd name="T76" fmla="*/ 11 w 642"/>
                  <a:gd name="T77" fmla="*/ 21 h 532"/>
                  <a:gd name="T78" fmla="*/ 10 w 642"/>
                  <a:gd name="T79" fmla="*/ 21 h 532"/>
                  <a:gd name="T80" fmla="*/ 9 w 642"/>
                  <a:gd name="T81" fmla="*/ 21 h 532"/>
                  <a:gd name="T82" fmla="*/ 9 w 642"/>
                  <a:gd name="T83" fmla="*/ 21 h 532"/>
                  <a:gd name="T84" fmla="*/ 8 w 642"/>
                  <a:gd name="T85" fmla="*/ 22 h 532"/>
                  <a:gd name="T86" fmla="*/ 7 w 642"/>
                  <a:gd name="T87" fmla="*/ 21 h 532"/>
                  <a:gd name="T88" fmla="*/ 6 w 642"/>
                  <a:gd name="T89" fmla="*/ 20 h 532"/>
                  <a:gd name="T90" fmla="*/ 6 w 642"/>
                  <a:gd name="T91" fmla="*/ 19 h 532"/>
                  <a:gd name="T92" fmla="*/ 5 w 642"/>
                  <a:gd name="T93" fmla="*/ 18 h 532"/>
                  <a:gd name="T94" fmla="*/ 5 w 642"/>
                  <a:gd name="T95" fmla="*/ 18 h 532"/>
                  <a:gd name="T96" fmla="*/ 4 w 642"/>
                  <a:gd name="T97" fmla="*/ 17 h 532"/>
                  <a:gd name="T98" fmla="*/ 0 w 642"/>
                  <a:gd name="T99" fmla="*/ 17 h 532"/>
                  <a:gd name="T100" fmla="*/ 0 w 642"/>
                  <a:gd name="T101" fmla="*/ 15 h 532"/>
                  <a:gd name="T102" fmla="*/ 0 w 642"/>
                  <a:gd name="T103" fmla="*/ 12 h 532"/>
                  <a:gd name="T104" fmla="*/ 1 w 642"/>
                  <a:gd name="T105" fmla="*/ 10 h 532"/>
                  <a:gd name="T106" fmla="*/ 2 w 642"/>
                  <a:gd name="T107" fmla="*/ 9 h 532"/>
                  <a:gd name="T108" fmla="*/ 2 w 642"/>
                  <a:gd name="T109" fmla="*/ 8 h 532"/>
                  <a:gd name="T110" fmla="*/ 2 w 642"/>
                  <a:gd name="T111" fmla="*/ 8 h 532"/>
                  <a:gd name="T112" fmla="*/ 2 w 642"/>
                  <a:gd name="T113" fmla="*/ 8 h 532"/>
                  <a:gd name="T114" fmla="*/ 2 w 642"/>
                  <a:gd name="T115" fmla="*/ 6 h 532"/>
                  <a:gd name="T116" fmla="*/ 2 w 642"/>
                  <a:gd name="T117" fmla="*/ 5 h 532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642"/>
                  <a:gd name="T178" fmla="*/ 0 h 532"/>
                  <a:gd name="T179" fmla="*/ 642 w 642"/>
                  <a:gd name="T180" fmla="*/ 532 h 532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642" h="532">
                    <a:moveTo>
                      <a:pt x="49" y="117"/>
                    </a:moveTo>
                    <a:lnTo>
                      <a:pt x="50" y="110"/>
                    </a:lnTo>
                    <a:lnTo>
                      <a:pt x="48" y="85"/>
                    </a:lnTo>
                    <a:lnTo>
                      <a:pt x="49" y="76"/>
                    </a:lnTo>
                    <a:lnTo>
                      <a:pt x="51" y="72"/>
                    </a:lnTo>
                    <a:lnTo>
                      <a:pt x="55" y="67"/>
                    </a:lnTo>
                    <a:lnTo>
                      <a:pt x="62" y="63"/>
                    </a:lnTo>
                    <a:lnTo>
                      <a:pt x="67" y="57"/>
                    </a:lnTo>
                    <a:lnTo>
                      <a:pt x="75" y="43"/>
                    </a:lnTo>
                    <a:lnTo>
                      <a:pt x="77" y="25"/>
                    </a:lnTo>
                    <a:lnTo>
                      <a:pt x="78" y="21"/>
                    </a:lnTo>
                    <a:lnTo>
                      <a:pt x="96" y="9"/>
                    </a:lnTo>
                    <a:lnTo>
                      <a:pt x="115" y="4"/>
                    </a:lnTo>
                    <a:lnTo>
                      <a:pt x="133" y="4"/>
                    </a:lnTo>
                    <a:lnTo>
                      <a:pt x="139" y="3"/>
                    </a:lnTo>
                    <a:lnTo>
                      <a:pt x="147" y="0"/>
                    </a:lnTo>
                    <a:lnTo>
                      <a:pt x="162" y="2"/>
                    </a:lnTo>
                    <a:lnTo>
                      <a:pt x="199" y="20"/>
                    </a:lnTo>
                    <a:lnTo>
                      <a:pt x="221" y="41"/>
                    </a:lnTo>
                    <a:lnTo>
                      <a:pt x="228" y="46"/>
                    </a:lnTo>
                    <a:lnTo>
                      <a:pt x="233" y="48"/>
                    </a:lnTo>
                    <a:lnTo>
                      <a:pt x="242" y="48"/>
                    </a:lnTo>
                    <a:lnTo>
                      <a:pt x="248" y="38"/>
                    </a:lnTo>
                    <a:lnTo>
                      <a:pt x="264" y="30"/>
                    </a:lnTo>
                    <a:lnTo>
                      <a:pt x="274" y="27"/>
                    </a:lnTo>
                    <a:lnTo>
                      <a:pt x="286" y="27"/>
                    </a:lnTo>
                    <a:lnTo>
                      <a:pt x="303" y="37"/>
                    </a:lnTo>
                    <a:lnTo>
                      <a:pt x="327" y="52"/>
                    </a:lnTo>
                    <a:lnTo>
                      <a:pt x="339" y="56"/>
                    </a:lnTo>
                    <a:lnTo>
                      <a:pt x="362" y="58"/>
                    </a:lnTo>
                    <a:lnTo>
                      <a:pt x="375" y="57"/>
                    </a:lnTo>
                    <a:lnTo>
                      <a:pt x="389" y="47"/>
                    </a:lnTo>
                    <a:lnTo>
                      <a:pt x="406" y="32"/>
                    </a:lnTo>
                    <a:lnTo>
                      <a:pt x="415" y="27"/>
                    </a:lnTo>
                    <a:lnTo>
                      <a:pt x="441" y="27"/>
                    </a:lnTo>
                    <a:lnTo>
                      <a:pt x="459" y="30"/>
                    </a:lnTo>
                    <a:lnTo>
                      <a:pt x="469" y="26"/>
                    </a:lnTo>
                    <a:lnTo>
                      <a:pt x="489" y="24"/>
                    </a:lnTo>
                    <a:lnTo>
                      <a:pt x="496" y="26"/>
                    </a:lnTo>
                    <a:lnTo>
                      <a:pt x="503" y="30"/>
                    </a:lnTo>
                    <a:lnTo>
                      <a:pt x="511" y="32"/>
                    </a:lnTo>
                    <a:lnTo>
                      <a:pt x="517" y="36"/>
                    </a:lnTo>
                    <a:lnTo>
                      <a:pt x="528" y="36"/>
                    </a:lnTo>
                    <a:lnTo>
                      <a:pt x="534" y="32"/>
                    </a:lnTo>
                    <a:lnTo>
                      <a:pt x="544" y="22"/>
                    </a:lnTo>
                    <a:lnTo>
                      <a:pt x="544" y="21"/>
                    </a:lnTo>
                    <a:lnTo>
                      <a:pt x="550" y="16"/>
                    </a:lnTo>
                    <a:lnTo>
                      <a:pt x="558" y="15"/>
                    </a:lnTo>
                    <a:lnTo>
                      <a:pt x="564" y="15"/>
                    </a:lnTo>
                    <a:lnTo>
                      <a:pt x="570" y="3"/>
                    </a:lnTo>
                    <a:lnTo>
                      <a:pt x="571" y="3"/>
                    </a:lnTo>
                    <a:lnTo>
                      <a:pt x="574" y="0"/>
                    </a:lnTo>
                    <a:lnTo>
                      <a:pt x="577" y="11"/>
                    </a:lnTo>
                    <a:lnTo>
                      <a:pt x="581" y="20"/>
                    </a:lnTo>
                    <a:lnTo>
                      <a:pt x="588" y="30"/>
                    </a:lnTo>
                    <a:lnTo>
                      <a:pt x="599" y="36"/>
                    </a:lnTo>
                    <a:lnTo>
                      <a:pt x="604" y="43"/>
                    </a:lnTo>
                    <a:lnTo>
                      <a:pt x="613" y="65"/>
                    </a:lnTo>
                    <a:lnTo>
                      <a:pt x="623" y="73"/>
                    </a:lnTo>
                    <a:lnTo>
                      <a:pt x="624" y="76"/>
                    </a:lnTo>
                    <a:lnTo>
                      <a:pt x="635" y="80"/>
                    </a:lnTo>
                    <a:lnTo>
                      <a:pt x="636" y="81"/>
                    </a:lnTo>
                    <a:lnTo>
                      <a:pt x="639" y="84"/>
                    </a:lnTo>
                    <a:lnTo>
                      <a:pt x="641" y="89"/>
                    </a:lnTo>
                    <a:lnTo>
                      <a:pt x="640" y="106"/>
                    </a:lnTo>
                    <a:lnTo>
                      <a:pt x="642" y="119"/>
                    </a:lnTo>
                    <a:lnTo>
                      <a:pt x="623" y="132"/>
                    </a:lnTo>
                    <a:lnTo>
                      <a:pt x="620" y="135"/>
                    </a:lnTo>
                    <a:lnTo>
                      <a:pt x="604" y="142"/>
                    </a:lnTo>
                    <a:lnTo>
                      <a:pt x="601" y="143"/>
                    </a:lnTo>
                    <a:lnTo>
                      <a:pt x="592" y="153"/>
                    </a:lnTo>
                    <a:lnTo>
                      <a:pt x="587" y="159"/>
                    </a:lnTo>
                    <a:lnTo>
                      <a:pt x="583" y="166"/>
                    </a:lnTo>
                    <a:lnTo>
                      <a:pt x="576" y="189"/>
                    </a:lnTo>
                    <a:lnTo>
                      <a:pt x="567" y="207"/>
                    </a:lnTo>
                    <a:lnTo>
                      <a:pt x="564" y="218"/>
                    </a:lnTo>
                    <a:lnTo>
                      <a:pt x="562" y="229"/>
                    </a:lnTo>
                    <a:lnTo>
                      <a:pt x="554" y="257"/>
                    </a:lnTo>
                    <a:lnTo>
                      <a:pt x="553" y="269"/>
                    </a:lnTo>
                    <a:lnTo>
                      <a:pt x="551" y="275"/>
                    </a:lnTo>
                    <a:lnTo>
                      <a:pt x="549" y="280"/>
                    </a:lnTo>
                    <a:lnTo>
                      <a:pt x="534" y="287"/>
                    </a:lnTo>
                    <a:lnTo>
                      <a:pt x="523" y="299"/>
                    </a:lnTo>
                    <a:lnTo>
                      <a:pt x="517" y="315"/>
                    </a:lnTo>
                    <a:lnTo>
                      <a:pt x="513" y="331"/>
                    </a:lnTo>
                    <a:lnTo>
                      <a:pt x="511" y="338"/>
                    </a:lnTo>
                    <a:lnTo>
                      <a:pt x="501" y="360"/>
                    </a:lnTo>
                    <a:lnTo>
                      <a:pt x="483" y="391"/>
                    </a:lnTo>
                    <a:lnTo>
                      <a:pt x="481" y="400"/>
                    </a:lnTo>
                    <a:lnTo>
                      <a:pt x="478" y="406"/>
                    </a:lnTo>
                    <a:lnTo>
                      <a:pt x="469" y="409"/>
                    </a:lnTo>
                    <a:lnTo>
                      <a:pt x="456" y="408"/>
                    </a:lnTo>
                    <a:lnTo>
                      <a:pt x="447" y="401"/>
                    </a:lnTo>
                    <a:lnTo>
                      <a:pt x="443" y="398"/>
                    </a:lnTo>
                    <a:lnTo>
                      <a:pt x="443" y="397"/>
                    </a:lnTo>
                    <a:lnTo>
                      <a:pt x="440" y="392"/>
                    </a:lnTo>
                    <a:lnTo>
                      <a:pt x="429" y="382"/>
                    </a:lnTo>
                    <a:lnTo>
                      <a:pt x="414" y="381"/>
                    </a:lnTo>
                    <a:lnTo>
                      <a:pt x="392" y="386"/>
                    </a:lnTo>
                    <a:lnTo>
                      <a:pt x="377" y="386"/>
                    </a:lnTo>
                    <a:lnTo>
                      <a:pt x="375" y="386"/>
                    </a:lnTo>
                    <a:lnTo>
                      <a:pt x="371" y="403"/>
                    </a:lnTo>
                    <a:lnTo>
                      <a:pt x="360" y="408"/>
                    </a:lnTo>
                    <a:lnTo>
                      <a:pt x="352" y="416"/>
                    </a:lnTo>
                    <a:lnTo>
                      <a:pt x="344" y="427"/>
                    </a:lnTo>
                    <a:lnTo>
                      <a:pt x="335" y="443"/>
                    </a:lnTo>
                    <a:lnTo>
                      <a:pt x="332" y="458"/>
                    </a:lnTo>
                    <a:lnTo>
                      <a:pt x="330" y="472"/>
                    </a:lnTo>
                    <a:lnTo>
                      <a:pt x="327" y="481"/>
                    </a:lnTo>
                    <a:lnTo>
                      <a:pt x="320" y="490"/>
                    </a:lnTo>
                    <a:lnTo>
                      <a:pt x="313" y="497"/>
                    </a:lnTo>
                    <a:lnTo>
                      <a:pt x="313" y="504"/>
                    </a:lnTo>
                    <a:lnTo>
                      <a:pt x="309" y="498"/>
                    </a:lnTo>
                    <a:lnTo>
                      <a:pt x="304" y="497"/>
                    </a:lnTo>
                    <a:lnTo>
                      <a:pt x="301" y="505"/>
                    </a:lnTo>
                    <a:lnTo>
                      <a:pt x="300" y="517"/>
                    </a:lnTo>
                    <a:lnTo>
                      <a:pt x="276" y="516"/>
                    </a:lnTo>
                    <a:lnTo>
                      <a:pt x="265" y="517"/>
                    </a:lnTo>
                    <a:lnTo>
                      <a:pt x="242" y="508"/>
                    </a:lnTo>
                    <a:lnTo>
                      <a:pt x="237" y="515"/>
                    </a:lnTo>
                    <a:lnTo>
                      <a:pt x="234" y="516"/>
                    </a:lnTo>
                    <a:lnTo>
                      <a:pt x="231" y="521"/>
                    </a:lnTo>
                    <a:lnTo>
                      <a:pt x="227" y="524"/>
                    </a:lnTo>
                    <a:lnTo>
                      <a:pt x="225" y="524"/>
                    </a:lnTo>
                    <a:lnTo>
                      <a:pt x="221" y="525"/>
                    </a:lnTo>
                    <a:lnTo>
                      <a:pt x="216" y="522"/>
                    </a:lnTo>
                    <a:lnTo>
                      <a:pt x="212" y="525"/>
                    </a:lnTo>
                    <a:lnTo>
                      <a:pt x="210" y="524"/>
                    </a:lnTo>
                    <a:lnTo>
                      <a:pt x="193" y="532"/>
                    </a:lnTo>
                    <a:lnTo>
                      <a:pt x="190" y="524"/>
                    </a:lnTo>
                    <a:lnTo>
                      <a:pt x="182" y="524"/>
                    </a:lnTo>
                    <a:lnTo>
                      <a:pt x="180" y="524"/>
                    </a:lnTo>
                    <a:lnTo>
                      <a:pt x="168" y="521"/>
                    </a:lnTo>
                    <a:lnTo>
                      <a:pt x="163" y="513"/>
                    </a:lnTo>
                    <a:lnTo>
                      <a:pt x="151" y="500"/>
                    </a:lnTo>
                    <a:lnTo>
                      <a:pt x="146" y="482"/>
                    </a:lnTo>
                    <a:lnTo>
                      <a:pt x="146" y="471"/>
                    </a:lnTo>
                    <a:lnTo>
                      <a:pt x="151" y="467"/>
                    </a:lnTo>
                    <a:lnTo>
                      <a:pt x="147" y="467"/>
                    </a:lnTo>
                    <a:lnTo>
                      <a:pt x="140" y="465"/>
                    </a:lnTo>
                    <a:lnTo>
                      <a:pt x="136" y="454"/>
                    </a:lnTo>
                    <a:lnTo>
                      <a:pt x="133" y="451"/>
                    </a:lnTo>
                    <a:lnTo>
                      <a:pt x="130" y="445"/>
                    </a:lnTo>
                    <a:lnTo>
                      <a:pt x="126" y="444"/>
                    </a:lnTo>
                    <a:lnTo>
                      <a:pt x="124" y="439"/>
                    </a:lnTo>
                    <a:lnTo>
                      <a:pt x="117" y="429"/>
                    </a:lnTo>
                    <a:lnTo>
                      <a:pt x="96" y="417"/>
                    </a:lnTo>
                    <a:lnTo>
                      <a:pt x="86" y="416"/>
                    </a:lnTo>
                    <a:lnTo>
                      <a:pt x="64" y="413"/>
                    </a:lnTo>
                    <a:lnTo>
                      <a:pt x="5" y="417"/>
                    </a:lnTo>
                    <a:lnTo>
                      <a:pt x="2" y="414"/>
                    </a:lnTo>
                    <a:lnTo>
                      <a:pt x="0" y="375"/>
                    </a:lnTo>
                    <a:lnTo>
                      <a:pt x="1" y="366"/>
                    </a:lnTo>
                    <a:lnTo>
                      <a:pt x="6" y="345"/>
                    </a:lnTo>
                    <a:lnTo>
                      <a:pt x="5" y="315"/>
                    </a:lnTo>
                    <a:lnTo>
                      <a:pt x="6" y="295"/>
                    </a:lnTo>
                    <a:lnTo>
                      <a:pt x="10" y="283"/>
                    </a:lnTo>
                    <a:lnTo>
                      <a:pt x="22" y="263"/>
                    </a:lnTo>
                    <a:lnTo>
                      <a:pt x="23" y="248"/>
                    </a:lnTo>
                    <a:lnTo>
                      <a:pt x="26" y="239"/>
                    </a:lnTo>
                    <a:lnTo>
                      <a:pt x="34" y="229"/>
                    </a:lnTo>
                    <a:lnTo>
                      <a:pt x="49" y="218"/>
                    </a:lnTo>
                    <a:lnTo>
                      <a:pt x="49" y="212"/>
                    </a:lnTo>
                    <a:lnTo>
                      <a:pt x="53" y="209"/>
                    </a:lnTo>
                    <a:lnTo>
                      <a:pt x="53" y="208"/>
                    </a:lnTo>
                    <a:lnTo>
                      <a:pt x="53" y="204"/>
                    </a:lnTo>
                    <a:lnTo>
                      <a:pt x="48" y="199"/>
                    </a:lnTo>
                    <a:lnTo>
                      <a:pt x="48" y="197"/>
                    </a:lnTo>
                    <a:lnTo>
                      <a:pt x="50" y="191"/>
                    </a:lnTo>
                    <a:lnTo>
                      <a:pt x="53" y="189"/>
                    </a:lnTo>
                    <a:lnTo>
                      <a:pt x="58" y="189"/>
                    </a:lnTo>
                    <a:lnTo>
                      <a:pt x="59" y="187"/>
                    </a:lnTo>
                    <a:lnTo>
                      <a:pt x="59" y="169"/>
                    </a:lnTo>
                    <a:lnTo>
                      <a:pt x="55" y="154"/>
                    </a:lnTo>
                    <a:lnTo>
                      <a:pt x="54" y="149"/>
                    </a:lnTo>
                    <a:lnTo>
                      <a:pt x="44" y="139"/>
                    </a:lnTo>
                    <a:lnTo>
                      <a:pt x="43" y="134"/>
                    </a:lnTo>
                    <a:lnTo>
                      <a:pt x="44" y="123"/>
                    </a:lnTo>
                    <a:lnTo>
                      <a:pt x="49" y="11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79" name="Freeform 45">
                <a:extLst>
                  <a:ext uri="{FF2B5EF4-FFF2-40B4-BE49-F238E27FC236}">
                    <a16:creationId xmlns:a16="http://schemas.microsoft.com/office/drawing/2014/main" id="{C2F48893-980B-B768-3E99-5E898B753BA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637" y="2446"/>
                <a:ext cx="84" cy="96"/>
              </a:xfrm>
              <a:custGeom>
                <a:avLst/>
                <a:gdLst>
                  <a:gd name="T0" fmla="*/ 17 w 417"/>
                  <a:gd name="T1" fmla="*/ 0 h 479"/>
                  <a:gd name="T2" fmla="*/ 15 w 417"/>
                  <a:gd name="T3" fmla="*/ 1 h 479"/>
                  <a:gd name="T4" fmla="*/ 14 w 417"/>
                  <a:gd name="T5" fmla="*/ 0 h 479"/>
                  <a:gd name="T6" fmla="*/ 12 w 417"/>
                  <a:gd name="T7" fmla="*/ 1 h 479"/>
                  <a:gd name="T8" fmla="*/ 11 w 417"/>
                  <a:gd name="T9" fmla="*/ 2 h 479"/>
                  <a:gd name="T10" fmla="*/ 11 w 417"/>
                  <a:gd name="T11" fmla="*/ 4 h 479"/>
                  <a:gd name="T12" fmla="*/ 11 w 417"/>
                  <a:gd name="T13" fmla="*/ 5 h 479"/>
                  <a:gd name="T14" fmla="*/ 9 w 417"/>
                  <a:gd name="T15" fmla="*/ 4 h 479"/>
                  <a:gd name="T16" fmla="*/ 8 w 417"/>
                  <a:gd name="T17" fmla="*/ 4 h 479"/>
                  <a:gd name="T18" fmla="*/ 5 w 417"/>
                  <a:gd name="T19" fmla="*/ 3 h 479"/>
                  <a:gd name="T20" fmla="*/ 4 w 417"/>
                  <a:gd name="T21" fmla="*/ 5 h 479"/>
                  <a:gd name="T22" fmla="*/ 5 w 417"/>
                  <a:gd name="T23" fmla="*/ 6 h 479"/>
                  <a:gd name="T24" fmla="*/ 7 w 417"/>
                  <a:gd name="T25" fmla="*/ 5 h 479"/>
                  <a:gd name="T26" fmla="*/ 7 w 417"/>
                  <a:gd name="T27" fmla="*/ 6 h 479"/>
                  <a:gd name="T28" fmla="*/ 6 w 417"/>
                  <a:gd name="T29" fmla="*/ 8 h 479"/>
                  <a:gd name="T30" fmla="*/ 7 w 417"/>
                  <a:gd name="T31" fmla="*/ 10 h 479"/>
                  <a:gd name="T32" fmla="*/ 7 w 417"/>
                  <a:gd name="T33" fmla="*/ 11 h 479"/>
                  <a:gd name="T34" fmla="*/ 6 w 417"/>
                  <a:gd name="T35" fmla="*/ 13 h 479"/>
                  <a:gd name="T36" fmla="*/ 5 w 417"/>
                  <a:gd name="T37" fmla="*/ 13 h 479"/>
                  <a:gd name="T38" fmla="*/ 4 w 417"/>
                  <a:gd name="T39" fmla="*/ 12 h 479"/>
                  <a:gd name="T40" fmla="*/ 3 w 417"/>
                  <a:gd name="T41" fmla="*/ 13 h 479"/>
                  <a:gd name="T42" fmla="*/ 2 w 417"/>
                  <a:gd name="T43" fmla="*/ 13 h 479"/>
                  <a:gd name="T44" fmla="*/ 1 w 417"/>
                  <a:gd name="T45" fmla="*/ 14 h 479"/>
                  <a:gd name="T46" fmla="*/ 1 w 417"/>
                  <a:gd name="T47" fmla="*/ 15 h 479"/>
                  <a:gd name="T48" fmla="*/ 1 w 417"/>
                  <a:gd name="T49" fmla="*/ 16 h 479"/>
                  <a:gd name="T50" fmla="*/ 0 w 417"/>
                  <a:gd name="T51" fmla="*/ 16 h 479"/>
                  <a:gd name="T52" fmla="*/ 0 w 417"/>
                  <a:gd name="T53" fmla="*/ 17 h 479"/>
                  <a:gd name="T54" fmla="*/ 1 w 417"/>
                  <a:gd name="T55" fmla="*/ 17 h 479"/>
                  <a:gd name="T56" fmla="*/ 2 w 417"/>
                  <a:gd name="T57" fmla="*/ 18 h 479"/>
                  <a:gd name="T58" fmla="*/ 3 w 417"/>
                  <a:gd name="T59" fmla="*/ 19 h 479"/>
                  <a:gd name="T60" fmla="*/ 3 w 417"/>
                  <a:gd name="T61" fmla="*/ 18 h 479"/>
                  <a:gd name="T62" fmla="*/ 4 w 417"/>
                  <a:gd name="T63" fmla="*/ 18 h 479"/>
                  <a:gd name="T64" fmla="*/ 5 w 417"/>
                  <a:gd name="T65" fmla="*/ 19 h 479"/>
                  <a:gd name="T66" fmla="*/ 6 w 417"/>
                  <a:gd name="T67" fmla="*/ 18 h 479"/>
                  <a:gd name="T68" fmla="*/ 6 w 417"/>
                  <a:gd name="T69" fmla="*/ 18 h 479"/>
                  <a:gd name="T70" fmla="*/ 7 w 417"/>
                  <a:gd name="T71" fmla="*/ 18 h 479"/>
                  <a:gd name="T72" fmla="*/ 8 w 417"/>
                  <a:gd name="T73" fmla="*/ 19 h 479"/>
                  <a:gd name="T74" fmla="*/ 9 w 417"/>
                  <a:gd name="T75" fmla="*/ 18 h 479"/>
                  <a:gd name="T76" fmla="*/ 11 w 417"/>
                  <a:gd name="T77" fmla="*/ 17 h 479"/>
                  <a:gd name="T78" fmla="*/ 11 w 417"/>
                  <a:gd name="T79" fmla="*/ 15 h 479"/>
                  <a:gd name="T80" fmla="*/ 11 w 417"/>
                  <a:gd name="T81" fmla="*/ 14 h 479"/>
                  <a:gd name="T82" fmla="*/ 13 w 417"/>
                  <a:gd name="T83" fmla="*/ 11 h 479"/>
                  <a:gd name="T84" fmla="*/ 14 w 417"/>
                  <a:gd name="T85" fmla="*/ 10 h 479"/>
                  <a:gd name="T86" fmla="*/ 15 w 417"/>
                  <a:gd name="T87" fmla="*/ 9 h 479"/>
                  <a:gd name="T88" fmla="*/ 15 w 417"/>
                  <a:gd name="T89" fmla="*/ 6 h 479"/>
                  <a:gd name="T90" fmla="*/ 16 w 417"/>
                  <a:gd name="T91" fmla="*/ 3 h 479"/>
                  <a:gd name="T92" fmla="*/ 17 w 417"/>
                  <a:gd name="T93" fmla="*/ 1 h 479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417"/>
                  <a:gd name="T142" fmla="*/ 0 h 479"/>
                  <a:gd name="T143" fmla="*/ 417 w 417"/>
                  <a:gd name="T144" fmla="*/ 479 h 479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417" h="479">
                    <a:moveTo>
                      <a:pt x="414" y="0"/>
                    </a:moveTo>
                    <a:lnTo>
                      <a:pt x="408" y="5"/>
                    </a:lnTo>
                    <a:lnTo>
                      <a:pt x="393" y="12"/>
                    </a:lnTo>
                    <a:lnTo>
                      <a:pt x="377" y="16"/>
                    </a:lnTo>
                    <a:lnTo>
                      <a:pt x="360" y="10"/>
                    </a:lnTo>
                    <a:lnTo>
                      <a:pt x="343" y="0"/>
                    </a:lnTo>
                    <a:lnTo>
                      <a:pt x="323" y="3"/>
                    </a:lnTo>
                    <a:lnTo>
                      <a:pt x="300" y="17"/>
                    </a:lnTo>
                    <a:lnTo>
                      <a:pt x="283" y="33"/>
                    </a:lnTo>
                    <a:lnTo>
                      <a:pt x="274" y="47"/>
                    </a:lnTo>
                    <a:lnTo>
                      <a:pt x="272" y="58"/>
                    </a:lnTo>
                    <a:lnTo>
                      <a:pt x="274" y="101"/>
                    </a:lnTo>
                    <a:lnTo>
                      <a:pt x="272" y="111"/>
                    </a:lnTo>
                    <a:lnTo>
                      <a:pt x="267" y="114"/>
                    </a:lnTo>
                    <a:lnTo>
                      <a:pt x="244" y="96"/>
                    </a:lnTo>
                    <a:lnTo>
                      <a:pt x="234" y="96"/>
                    </a:lnTo>
                    <a:lnTo>
                      <a:pt x="220" y="91"/>
                    </a:lnTo>
                    <a:lnTo>
                      <a:pt x="205" y="90"/>
                    </a:lnTo>
                    <a:lnTo>
                      <a:pt x="194" y="84"/>
                    </a:lnTo>
                    <a:lnTo>
                      <a:pt x="118" y="84"/>
                    </a:lnTo>
                    <a:lnTo>
                      <a:pt x="112" y="98"/>
                    </a:lnTo>
                    <a:lnTo>
                      <a:pt x="111" y="117"/>
                    </a:lnTo>
                    <a:lnTo>
                      <a:pt x="112" y="135"/>
                    </a:lnTo>
                    <a:lnTo>
                      <a:pt x="121" y="140"/>
                    </a:lnTo>
                    <a:lnTo>
                      <a:pt x="137" y="117"/>
                    </a:lnTo>
                    <a:lnTo>
                      <a:pt x="166" y="124"/>
                    </a:lnTo>
                    <a:lnTo>
                      <a:pt x="176" y="137"/>
                    </a:lnTo>
                    <a:lnTo>
                      <a:pt x="177" y="157"/>
                    </a:lnTo>
                    <a:lnTo>
                      <a:pt x="159" y="187"/>
                    </a:lnTo>
                    <a:lnTo>
                      <a:pt x="158" y="204"/>
                    </a:lnTo>
                    <a:lnTo>
                      <a:pt x="162" y="218"/>
                    </a:lnTo>
                    <a:lnTo>
                      <a:pt x="173" y="246"/>
                    </a:lnTo>
                    <a:lnTo>
                      <a:pt x="172" y="262"/>
                    </a:lnTo>
                    <a:lnTo>
                      <a:pt x="169" y="275"/>
                    </a:lnTo>
                    <a:lnTo>
                      <a:pt x="166" y="312"/>
                    </a:lnTo>
                    <a:lnTo>
                      <a:pt x="161" y="329"/>
                    </a:lnTo>
                    <a:lnTo>
                      <a:pt x="145" y="334"/>
                    </a:lnTo>
                    <a:lnTo>
                      <a:pt x="127" y="318"/>
                    </a:lnTo>
                    <a:lnTo>
                      <a:pt x="102" y="321"/>
                    </a:lnTo>
                    <a:lnTo>
                      <a:pt x="92" y="310"/>
                    </a:lnTo>
                    <a:lnTo>
                      <a:pt x="85" y="305"/>
                    </a:lnTo>
                    <a:lnTo>
                      <a:pt x="74" y="313"/>
                    </a:lnTo>
                    <a:lnTo>
                      <a:pt x="65" y="324"/>
                    </a:lnTo>
                    <a:lnTo>
                      <a:pt x="42" y="333"/>
                    </a:lnTo>
                    <a:lnTo>
                      <a:pt x="32" y="342"/>
                    </a:lnTo>
                    <a:lnTo>
                      <a:pt x="27" y="350"/>
                    </a:lnTo>
                    <a:lnTo>
                      <a:pt x="26" y="363"/>
                    </a:lnTo>
                    <a:lnTo>
                      <a:pt x="31" y="375"/>
                    </a:lnTo>
                    <a:lnTo>
                      <a:pt x="33" y="390"/>
                    </a:lnTo>
                    <a:lnTo>
                      <a:pt x="31" y="394"/>
                    </a:lnTo>
                    <a:lnTo>
                      <a:pt x="19" y="394"/>
                    </a:lnTo>
                    <a:lnTo>
                      <a:pt x="8" y="397"/>
                    </a:lnTo>
                    <a:lnTo>
                      <a:pt x="2" y="404"/>
                    </a:lnTo>
                    <a:lnTo>
                      <a:pt x="0" y="419"/>
                    </a:lnTo>
                    <a:lnTo>
                      <a:pt x="13" y="425"/>
                    </a:lnTo>
                    <a:lnTo>
                      <a:pt x="19" y="434"/>
                    </a:lnTo>
                    <a:lnTo>
                      <a:pt x="33" y="449"/>
                    </a:lnTo>
                    <a:lnTo>
                      <a:pt x="40" y="456"/>
                    </a:lnTo>
                    <a:lnTo>
                      <a:pt x="49" y="479"/>
                    </a:lnTo>
                    <a:lnTo>
                      <a:pt x="63" y="469"/>
                    </a:lnTo>
                    <a:lnTo>
                      <a:pt x="73" y="463"/>
                    </a:lnTo>
                    <a:lnTo>
                      <a:pt x="80" y="449"/>
                    </a:lnTo>
                    <a:lnTo>
                      <a:pt x="90" y="444"/>
                    </a:lnTo>
                    <a:lnTo>
                      <a:pt x="100" y="447"/>
                    </a:lnTo>
                    <a:lnTo>
                      <a:pt x="105" y="458"/>
                    </a:lnTo>
                    <a:lnTo>
                      <a:pt x="121" y="468"/>
                    </a:lnTo>
                    <a:lnTo>
                      <a:pt x="133" y="465"/>
                    </a:lnTo>
                    <a:lnTo>
                      <a:pt x="140" y="452"/>
                    </a:lnTo>
                    <a:lnTo>
                      <a:pt x="148" y="446"/>
                    </a:lnTo>
                    <a:lnTo>
                      <a:pt x="161" y="444"/>
                    </a:lnTo>
                    <a:lnTo>
                      <a:pt x="175" y="440"/>
                    </a:lnTo>
                    <a:lnTo>
                      <a:pt x="177" y="445"/>
                    </a:lnTo>
                    <a:lnTo>
                      <a:pt x="178" y="463"/>
                    </a:lnTo>
                    <a:lnTo>
                      <a:pt x="188" y="466"/>
                    </a:lnTo>
                    <a:lnTo>
                      <a:pt x="209" y="458"/>
                    </a:lnTo>
                    <a:lnTo>
                      <a:pt x="232" y="437"/>
                    </a:lnTo>
                    <a:lnTo>
                      <a:pt x="246" y="430"/>
                    </a:lnTo>
                    <a:lnTo>
                      <a:pt x="261" y="415"/>
                    </a:lnTo>
                    <a:lnTo>
                      <a:pt x="274" y="394"/>
                    </a:lnTo>
                    <a:lnTo>
                      <a:pt x="278" y="376"/>
                    </a:lnTo>
                    <a:lnTo>
                      <a:pt x="278" y="358"/>
                    </a:lnTo>
                    <a:lnTo>
                      <a:pt x="282" y="337"/>
                    </a:lnTo>
                    <a:lnTo>
                      <a:pt x="289" y="316"/>
                    </a:lnTo>
                    <a:lnTo>
                      <a:pt x="312" y="280"/>
                    </a:lnTo>
                    <a:lnTo>
                      <a:pt x="329" y="264"/>
                    </a:lnTo>
                    <a:lnTo>
                      <a:pt x="348" y="254"/>
                    </a:lnTo>
                    <a:lnTo>
                      <a:pt x="363" y="241"/>
                    </a:lnTo>
                    <a:lnTo>
                      <a:pt x="364" y="237"/>
                    </a:lnTo>
                    <a:lnTo>
                      <a:pt x="371" y="207"/>
                    </a:lnTo>
                    <a:lnTo>
                      <a:pt x="372" y="141"/>
                    </a:lnTo>
                    <a:lnTo>
                      <a:pt x="381" y="97"/>
                    </a:lnTo>
                    <a:lnTo>
                      <a:pt x="391" y="73"/>
                    </a:lnTo>
                    <a:lnTo>
                      <a:pt x="412" y="36"/>
                    </a:lnTo>
                    <a:lnTo>
                      <a:pt x="417" y="17"/>
                    </a:lnTo>
                    <a:lnTo>
                      <a:pt x="414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80" name="Freeform 46">
                <a:extLst>
                  <a:ext uri="{FF2B5EF4-FFF2-40B4-BE49-F238E27FC236}">
                    <a16:creationId xmlns:a16="http://schemas.microsoft.com/office/drawing/2014/main" id="{E36780BD-A1FF-BFCF-F442-59AF1D7D104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618" y="2462"/>
                <a:ext cx="21" cy="14"/>
              </a:xfrm>
              <a:custGeom>
                <a:avLst/>
                <a:gdLst>
                  <a:gd name="T0" fmla="*/ 4 w 107"/>
                  <a:gd name="T1" fmla="*/ 0 h 69"/>
                  <a:gd name="T2" fmla="*/ 3 w 107"/>
                  <a:gd name="T3" fmla="*/ 0 h 69"/>
                  <a:gd name="T4" fmla="*/ 1 w 107"/>
                  <a:gd name="T5" fmla="*/ 0 h 69"/>
                  <a:gd name="T6" fmla="*/ 1 w 107"/>
                  <a:gd name="T7" fmla="*/ 0 h 69"/>
                  <a:gd name="T8" fmla="*/ 1 w 107"/>
                  <a:gd name="T9" fmla="*/ 1 h 69"/>
                  <a:gd name="T10" fmla="*/ 1 w 107"/>
                  <a:gd name="T11" fmla="*/ 1 h 69"/>
                  <a:gd name="T12" fmla="*/ 0 w 107"/>
                  <a:gd name="T13" fmla="*/ 2 h 69"/>
                  <a:gd name="T14" fmla="*/ 0 w 107"/>
                  <a:gd name="T15" fmla="*/ 2 h 69"/>
                  <a:gd name="T16" fmla="*/ 1 w 107"/>
                  <a:gd name="T17" fmla="*/ 3 h 69"/>
                  <a:gd name="T18" fmla="*/ 1 w 107"/>
                  <a:gd name="T19" fmla="*/ 3 h 69"/>
                  <a:gd name="T20" fmla="*/ 1 w 107"/>
                  <a:gd name="T21" fmla="*/ 3 h 69"/>
                  <a:gd name="T22" fmla="*/ 1 w 107"/>
                  <a:gd name="T23" fmla="*/ 3 h 69"/>
                  <a:gd name="T24" fmla="*/ 1 w 107"/>
                  <a:gd name="T25" fmla="*/ 3 h 69"/>
                  <a:gd name="T26" fmla="*/ 4 w 107"/>
                  <a:gd name="T27" fmla="*/ 2 h 69"/>
                  <a:gd name="T28" fmla="*/ 4 w 107"/>
                  <a:gd name="T29" fmla="*/ 2 h 69"/>
                  <a:gd name="T30" fmla="*/ 4 w 107"/>
                  <a:gd name="T31" fmla="*/ 2 h 69"/>
                  <a:gd name="T32" fmla="*/ 4 w 107"/>
                  <a:gd name="T33" fmla="*/ 1 h 69"/>
                  <a:gd name="T34" fmla="*/ 4 w 107"/>
                  <a:gd name="T35" fmla="*/ 0 h 69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107"/>
                  <a:gd name="T55" fmla="*/ 0 h 69"/>
                  <a:gd name="T56" fmla="*/ 107 w 107"/>
                  <a:gd name="T57" fmla="*/ 69 h 69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107" h="69">
                    <a:moveTo>
                      <a:pt x="107" y="0"/>
                    </a:moveTo>
                    <a:lnTo>
                      <a:pt x="67" y="0"/>
                    </a:lnTo>
                    <a:lnTo>
                      <a:pt x="25" y="3"/>
                    </a:lnTo>
                    <a:lnTo>
                      <a:pt x="21" y="4"/>
                    </a:lnTo>
                    <a:lnTo>
                      <a:pt x="21" y="14"/>
                    </a:lnTo>
                    <a:lnTo>
                      <a:pt x="14" y="26"/>
                    </a:lnTo>
                    <a:lnTo>
                      <a:pt x="11" y="37"/>
                    </a:lnTo>
                    <a:lnTo>
                      <a:pt x="0" y="56"/>
                    </a:lnTo>
                    <a:lnTo>
                      <a:pt x="15" y="63"/>
                    </a:lnTo>
                    <a:lnTo>
                      <a:pt x="15" y="65"/>
                    </a:lnTo>
                    <a:lnTo>
                      <a:pt x="13" y="69"/>
                    </a:lnTo>
                    <a:lnTo>
                      <a:pt x="13" y="68"/>
                    </a:lnTo>
                    <a:lnTo>
                      <a:pt x="36" y="63"/>
                    </a:lnTo>
                    <a:lnTo>
                      <a:pt x="107" y="60"/>
                    </a:lnTo>
                    <a:lnTo>
                      <a:pt x="105" y="58"/>
                    </a:lnTo>
                    <a:lnTo>
                      <a:pt x="102" y="38"/>
                    </a:lnTo>
                    <a:lnTo>
                      <a:pt x="101" y="15"/>
                    </a:lnTo>
                    <a:lnTo>
                      <a:pt x="107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81" name="Freeform 47">
                <a:extLst>
                  <a:ext uri="{FF2B5EF4-FFF2-40B4-BE49-F238E27FC236}">
                    <a16:creationId xmlns:a16="http://schemas.microsoft.com/office/drawing/2014/main" id="{0CD3EFBF-0204-2D31-CFF4-A43CB949AB8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36" y="2512"/>
                <a:ext cx="18" cy="22"/>
              </a:xfrm>
              <a:custGeom>
                <a:avLst/>
                <a:gdLst>
                  <a:gd name="T0" fmla="*/ 3 w 93"/>
                  <a:gd name="T1" fmla="*/ 0 h 114"/>
                  <a:gd name="T2" fmla="*/ 3 w 93"/>
                  <a:gd name="T3" fmla="*/ 0 h 114"/>
                  <a:gd name="T4" fmla="*/ 3 w 93"/>
                  <a:gd name="T5" fmla="*/ 0 h 114"/>
                  <a:gd name="T6" fmla="*/ 3 w 93"/>
                  <a:gd name="T7" fmla="*/ 0 h 114"/>
                  <a:gd name="T8" fmla="*/ 3 w 93"/>
                  <a:gd name="T9" fmla="*/ 0 h 114"/>
                  <a:gd name="T10" fmla="*/ 2 w 93"/>
                  <a:gd name="T11" fmla="*/ 0 h 114"/>
                  <a:gd name="T12" fmla="*/ 2 w 93"/>
                  <a:gd name="T13" fmla="*/ 0 h 114"/>
                  <a:gd name="T14" fmla="*/ 2 w 93"/>
                  <a:gd name="T15" fmla="*/ 0 h 114"/>
                  <a:gd name="T16" fmla="*/ 2 w 93"/>
                  <a:gd name="T17" fmla="*/ 0 h 114"/>
                  <a:gd name="T18" fmla="*/ 2 w 93"/>
                  <a:gd name="T19" fmla="*/ 1 h 114"/>
                  <a:gd name="T20" fmla="*/ 2 w 93"/>
                  <a:gd name="T21" fmla="*/ 1 h 114"/>
                  <a:gd name="T22" fmla="*/ 1 w 93"/>
                  <a:gd name="T23" fmla="*/ 1 h 114"/>
                  <a:gd name="T24" fmla="*/ 1 w 93"/>
                  <a:gd name="T25" fmla="*/ 1 h 114"/>
                  <a:gd name="T26" fmla="*/ 1 w 93"/>
                  <a:gd name="T27" fmla="*/ 1 h 114"/>
                  <a:gd name="T28" fmla="*/ 1 w 93"/>
                  <a:gd name="T29" fmla="*/ 1 h 114"/>
                  <a:gd name="T30" fmla="*/ 1 w 93"/>
                  <a:gd name="T31" fmla="*/ 1 h 114"/>
                  <a:gd name="T32" fmla="*/ 1 w 93"/>
                  <a:gd name="T33" fmla="*/ 0 h 114"/>
                  <a:gd name="T34" fmla="*/ 0 w 93"/>
                  <a:gd name="T35" fmla="*/ 0 h 114"/>
                  <a:gd name="T36" fmla="*/ 0 w 93"/>
                  <a:gd name="T37" fmla="*/ 0 h 114"/>
                  <a:gd name="T38" fmla="*/ 0 w 93"/>
                  <a:gd name="T39" fmla="*/ 1 h 114"/>
                  <a:gd name="T40" fmla="*/ 0 w 93"/>
                  <a:gd name="T41" fmla="*/ 1 h 114"/>
                  <a:gd name="T42" fmla="*/ 0 w 93"/>
                  <a:gd name="T43" fmla="*/ 1 h 114"/>
                  <a:gd name="T44" fmla="*/ 0 w 93"/>
                  <a:gd name="T45" fmla="*/ 1 h 114"/>
                  <a:gd name="T46" fmla="*/ 0 w 93"/>
                  <a:gd name="T47" fmla="*/ 1 h 114"/>
                  <a:gd name="T48" fmla="*/ 0 w 93"/>
                  <a:gd name="T49" fmla="*/ 2 h 114"/>
                  <a:gd name="T50" fmla="*/ 1 w 93"/>
                  <a:gd name="T51" fmla="*/ 2 h 114"/>
                  <a:gd name="T52" fmla="*/ 1 w 93"/>
                  <a:gd name="T53" fmla="*/ 3 h 114"/>
                  <a:gd name="T54" fmla="*/ 1 w 93"/>
                  <a:gd name="T55" fmla="*/ 3 h 114"/>
                  <a:gd name="T56" fmla="*/ 1 w 93"/>
                  <a:gd name="T57" fmla="*/ 3 h 114"/>
                  <a:gd name="T58" fmla="*/ 1 w 93"/>
                  <a:gd name="T59" fmla="*/ 4 h 114"/>
                  <a:gd name="T60" fmla="*/ 1 w 93"/>
                  <a:gd name="T61" fmla="*/ 4 h 114"/>
                  <a:gd name="T62" fmla="*/ 1 w 93"/>
                  <a:gd name="T63" fmla="*/ 4 h 114"/>
                  <a:gd name="T64" fmla="*/ 1 w 93"/>
                  <a:gd name="T65" fmla="*/ 4 h 114"/>
                  <a:gd name="T66" fmla="*/ 2 w 93"/>
                  <a:gd name="T67" fmla="*/ 4 h 114"/>
                  <a:gd name="T68" fmla="*/ 2 w 93"/>
                  <a:gd name="T69" fmla="*/ 4 h 114"/>
                  <a:gd name="T70" fmla="*/ 3 w 93"/>
                  <a:gd name="T71" fmla="*/ 3 h 114"/>
                  <a:gd name="T72" fmla="*/ 3 w 93"/>
                  <a:gd name="T73" fmla="*/ 3 h 114"/>
                  <a:gd name="T74" fmla="*/ 3 w 93"/>
                  <a:gd name="T75" fmla="*/ 3 h 114"/>
                  <a:gd name="T76" fmla="*/ 3 w 93"/>
                  <a:gd name="T77" fmla="*/ 2 h 114"/>
                  <a:gd name="T78" fmla="*/ 3 w 93"/>
                  <a:gd name="T79" fmla="*/ 2 h 114"/>
                  <a:gd name="T80" fmla="*/ 3 w 93"/>
                  <a:gd name="T81" fmla="*/ 2 h 114"/>
                  <a:gd name="T82" fmla="*/ 3 w 93"/>
                  <a:gd name="T83" fmla="*/ 1 h 114"/>
                  <a:gd name="T84" fmla="*/ 3 w 93"/>
                  <a:gd name="T85" fmla="*/ 1 h 114"/>
                  <a:gd name="T86" fmla="*/ 3 w 93"/>
                  <a:gd name="T87" fmla="*/ 1 h 114"/>
                  <a:gd name="T88" fmla="*/ 3 w 93"/>
                  <a:gd name="T89" fmla="*/ 1 h 114"/>
                  <a:gd name="T90" fmla="*/ 3 w 93"/>
                  <a:gd name="T91" fmla="*/ 1 h 114"/>
                  <a:gd name="T92" fmla="*/ 3 w 93"/>
                  <a:gd name="T93" fmla="*/ 1 h 114"/>
                  <a:gd name="T94" fmla="*/ 3 w 93"/>
                  <a:gd name="T95" fmla="*/ 0 h 114"/>
                  <a:gd name="T96" fmla="*/ 3 w 93"/>
                  <a:gd name="T97" fmla="*/ 0 h 114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93"/>
                  <a:gd name="T148" fmla="*/ 0 h 114"/>
                  <a:gd name="T149" fmla="*/ 93 w 93"/>
                  <a:gd name="T150" fmla="*/ 114 h 114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93" h="114">
                    <a:moveTo>
                      <a:pt x="83" y="5"/>
                    </a:moveTo>
                    <a:lnTo>
                      <a:pt x="81" y="1"/>
                    </a:lnTo>
                    <a:lnTo>
                      <a:pt x="76" y="1"/>
                    </a:lnTo>
                    <a:lnTo>
                      <a:pt x="76" y="0"/>
                    </a:lnTo>
                    <a:lnTo>
                      <a:pt x="71" y="0"/>
                    </a:lnTo>
                    <a:lnTo>
                      <a:pt x="59" y="4"/>
                    </a:lnTo>
                    <a:lnTo>
                      <a:pt x="49" y="4"/>
                    </a:lnTo>
                    <a:lnTo>
                      <a:pt x="46" y="6"/>
                    </a:lnTo>
                    <a:lnTo>
                      <a:pt x="45" y="9"/>
                    </a:lnTo>
                    <a:lnTo>
                      <a:pt x="45" y="17"/>
                    </a:lnTo>
                    <a:lnTo>
                      <a:pt x="41" y="22"/>
                    </a:lnTo>
                    <a:lnTo>
                      <a:pt x="33" y="22"/>
                    </a:lnTo>
                    <a:lnTo>
                      <a:pt x="28" y="25"/>
                    </a:lnTo>
                    <a:lnTo>
                      <a:pt x="22" y="26"/>
                    </a:lnTo>
                    <a:lnTo>
                      <a:pt x="19" y="25"/>
                    </a:lnTo>
                    <a:lnTo>
                      <a:pt x="16" y="16"/>
                    </a:lnTo>
                    <a:lnTo>
                      <a:pt x="13" y="11"/>
                    </a:lnTo>
                    <a:lnTo>
                      <a:pt x="11" y="10"/>
                    </a:lnTo>
                    <a:lnTo>
                      <a:pt x="6" y="10"/>
                    </a:lnTo>
                    <a:lnTo>
                      <a:pt x="1" y="13"/>
                    </a:lnTo>
                    <a:lnTo>
                      <a:pt x="1" y="22"/>
                    </a:lnTo>
                    <a:lnTo>
                      <a:pt x="0" y="22"/>
                    </a:lnTo>
                    <a:lnTo>
                      <a:pt x="6" y="28"/>
                    </a:lnTo>
                    <a:lnTo>
                      <a:pt x="8" y="34"/>
                    </a:lnTo>
                    <a:lnTo>
                      <a:pt x="11" y="58"/>
                    </a:lnTo>
                    <a:lnTo>
                      <a:pt x="13" y="61"/>
                    </a:lnTo>
                    <a:lnTo>
                      <a:pt x="16" y="69"/>
                    </a:lnTo>
                    <a:lnTo>
                      <a:pt x="17" y="79"/>
                    </a:lnTo>
                    <a:lnTo>
                      <a:pt x="17" y="91"/>
                    </a:lnTo>
                    <a:lnTo>
                      <a:pt x="18" y="101"/>
                    </a:lnTo>
                    <a:lnTo>
                      <a:pt x="23" y="108"/>
                    </a:lnTo>
                    <a:lnTo>
                      <a:pt x="29" y="114"/>
                    </a:lnTo>
                    <a:lnTo>
                      <a:pt x="32" y="113"/>
                    </a:lnTo>
                    <a:lnTo>
                      <a:pt x="43" y="110"/>
                    </a:lnTo>
                    <a:lnTo>
                      <a:pt x="57" y="106"/>
                    </a:lnTo>
                    <a:lnTo>
                      <a:pt x="68" y="86"/>
                    </a:lnTo>
                    <a:lnTo>
                      <a:pt x="73" y="80"/>
                    </a:lnTo>
                    <a:lnTo>
                      <a:pt x="79" y="66"/>
                    </a:lnTo>
                    <a:lnTo>
                      <a:pt x="89" y="54"/>
                    </a:lnTo>
                    <a:lnTo>
                      <a:pt x="93" y="48"/>
                    </a:lnTo>
                    <a:lnTo>
                      <a:pt x="93" y="40"/>
                    </a:lnTo>
                    <a:lnTo>
                      <a:pt x="91" y="34"/>
                    </a:lnTo>
                    <a:lnTo>
                      <a:pt x="87" y="31"/>
                    </a:lnTo>
                    <a:lnTo>
                      <a:pt x="81" y="29"/>
                    </a:lnTo>
                    <a:lnTo>
                      <a:pt x="77" y="26"/>
                    </a:lnTo>
                    <a:lnTo>
                      <a:pt x="77" y="22"/>
                    </a:lnTo>
                    <a:lnTo>
                      <a:pt x="77" y="16"/>
                    </a:lnTo>
                    <a:lnTo>
                      <a:pt x="78" y="10"/>
                    </a:lnTo>
                    <a:lnTo>
                      <a:pt x="83" y="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82" name="Freeform 48">
                <a:extLst>
                  <a:ext uri="{FF2B5EF4-FFF2-40B4-BE49-F238E27FC236}">
                    <a16:creationId xmlns:a16="http://schemas.microsoft.com/office/drawing/2014/main" id="{DA061221-F2D0-3507-F962-46B0B87C1DD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42" y="2441"/>
                <a:ext cx="58" cy="61"/>
              </a:xfrm>
              <a:custGeom>
                <a:avLst/>
                <a:gdLst>
                  <a:gd name="T0" fmla="*/ 9 w 289"/>
                  <a:gd name="T1" fmla="*/ 0 h 302"/>
                  <a:gd name="T2" fmla="*/ 8 w 289"/>
                  <a:gd name="T3" fmla="*/ 1 h 302"/>
                  <a:gd name="T4" fmla="*/ 7 w 289"/>
                  <a:gd name="T5" fmla="*/ 1 h 302"/>
                  <a:gd name="T6" fmla="*/ 6 w 289"/>
                  <a:gd name="T7" fmla="*/ 1 h 302"/>
                  <a:gd name="T8" fmla="*/ 5 w 289"/>
                  <a:gd name="T9" fmla="*/ 1 h 302"/>
                  <a:gd name="T10" fmla="*/ 4 w 289"/>
                  <a:gd name="T11" fmla="*/ 1 h 302"/>
                  <a:gd name="T12" fmla="*/ 3 w 289"/>
                  <a:gd name="T13" fmla="*/ 1 h 302"/>
                  <a:gd name="T14" fmla="*/ 3 w 289"/>
                  <a:gd name="T15" fmla="*/ 1 h 302"/>
                  <a:gd name="T16" fmla="*/ 2 w 289"/>
                  <a:gd name="T17" fmla="*/ 2 h 302"/>
                  <a:gd name="T18" fmla="*/ 3 w 289"/>
                  <a:gd name="T19" fmla="*/ 4 h 302"/>
                  <a:gd name="T20" fmla="*/ 3 w 289"/>
                  <a:gd name="T21" fmla="*/ 4 h 302"/>
                  <a:gd name="T22" fmla="*/ 3 w 289"/>
                  <a:gd name="T23" fmla="*/ 4 h 302"/>
                  <a:gd name="T24" fmla="*/ 3 w 289"/>
                  <a:gd name="T25" fmla="*/ 5 h 302"/>
                  <a:gd name="T26" fmla="*/ 3 w 289"/>
                  <a:gd name="T27" fmla="*/ 5 h 302"/>
                  <a:gd name="T28" fmla="*/ 2 w 289"/>
                  <a:gd name="T29" fmla="*/ 6 h 302"/>
                  <a:gd name="T30" fmla="*/ 2 w 289"/>
                  <a:gd name="T31" fmla="*/ 6 h 302"/>
                  <a:gd name="T32" fmla="*/ 1 w 289"/>
                  <a:gd name="T33" fmla="*/ 8 h 302"/>
                  <a:gd name="T34" fmla="*/ 0 w 289"/>
                  <a:gd name="T35" fmla="*/ 8 h 302"/>
                  <a:gd name="T36" fmla="*/ 0 w 289"/>
                  <a:gd name="T37" fmla="*/ 10 h 302"/>
                  <a:gd name="T38" fmla="*/ 0 w 289"/>
                  <a:gd name="T39" fmla="*/ 12 h 302"/>
                  <a:gd name="T40" fmla="*/ 0 w 289"/>
                  <a:gd name="T41" fmla="*/ 12 h 302"/>
                  <a:gd name="T42" fmla="*/ 1 w 289"/>
                  <a:gd name="T43" fmla="*/ 12 h 302"/>
                  <a:gd name="T44" fmla="*/ 1 w 289"/>
                  <a:gd name="T45" fmla="*/ 12 h 302"/>
                  <a:gd name="T46" fmla="*/ 3 w 289"/>
                  <a:gd name="T47" fmla="*/ 12 h 302"/>
                  <a:gd name="T48" fmla="*/ 3 w 289"/>
                  <a:gd name="T49" fmla="*/ 11 h 302"/>
                  <a:gd name="T50" fmla="*/ 4 w 289"/>
                  <a:gd name="T51" fmla="*/ 11 h 302"/>
                  <a:gd name="T52" fmla="*/ 5 w 289"/>
                  <a:gd name="T53" fmla="*/ 10 h 302"/>
                  <a:gd name="T54" fmla="*/ 5 w 289"/>
                  <a:gd name="T55" fmla="*/ 9 h 302"/>
                  <a:gd name="T56" fmla="*/ 6 w 289"/>
                  <a:gd name="T57" fmla="*/ 9 h 302"/>
                  <a:gd name="T58" fmla="*/ 6 w 289"/>
                  <a:gd name="T59" fmla="*/ 9 h 302"/>
                  <a:gd name="T60" fmla="*/ 7 w 289"/>
                  <a:gd name="T61" fmla="*/ 9 h 302"/>
                  <a:gd name="T62" fmla="*/ 7 w 289"/>
                  <a:gd name="T63" fmla="*/ 9 h 302"/>
                  <a:gd name="T64" fmla="*/ 8 w 289"/>
                  <a:gd name="T65" fmla="*/ 9 h 302"/>
                  <a:gd name="T66" fmla="*/ 9 w 289"/>
                  <a:gd name="T67" fmla="*/ 9 h 302"/>
                  <a:gd name="T68" fmla="*/ 9 w 289"/>
                  <a:gd name="T69" fmla="*/ 9 h 302"/>
                  <a:gd name="T70" fmla="*/ 10 w 289"/>
                  <a:gd name="T71" fmla="*/ 7 h 302"/>
                  <a:gd name="T72" fmla="*/ 11 w 289"/>
                  <a:gd name="T73" fmla="*/ 7 h 302"/>
                  <a:gd name="T74" fmla="*/ 11 w 289"/>
                  <a:gd name="T75" fmla="*/ 6 h 302"/>
                  <a:gd name="T76" fmla="*/ 12 w 289"/>
                  <a:gd name="T77" fmla="*/ 4 h 302"/>
                  <a:gd name="T78" fmla="*/ 12 w 289"/>
                  <a:gd name="T79" fmla="*/ 3 h 302"/>
                  <a:gd name="T80" fmla="*/ 11 w 289"/>
                  <a:gd name="T81" fmla="*/ 3 h 302"/>
                  <a:gd name="T82" fmla="*/ 11 w 289"/>
                  <a:gd name="T83" fmla="*/ 2 h 302"/>
                  <a:gd name="T84" fmla="*/ 10 w 289"/>
                  <a:gd name="T85" fmla="*/ 2 h 302"/>
                  <a:gd name="T86" fmla="*/ 10 w 289"/>
                  <a:gd name="T87" fmla="*/ 1 h 302"/>
                  <a:gd name="T88" fmla="*/ 10 w 289"/>
                  <a:gd name="T89" fmla="*/ 0 h 302"/>
                  <a:gd name="T90" fmla="*/ 10 w 289"/>
                  <a:gd name="T91" fmla="*/ 0 h 302"/>
                  <a:gd name="T92" fmla="*/ 9 w 289"/>
                  <a:gd name="T93" fmla="*/ 0 h 30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289"/>
                  <a:gd name="T142" fmla="*/ 0 h 302"/>
                  <a:gd name="T143" fmla="*/ 289 w 289"/>
                  <a:gd name="T144" fmla="*/ 302 h 302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289" h="302">
                    <a:moveTo>
                      <a:pt x="232" y="3"/>
                    </a:moveTo>
                    <a:lnTo>
                      <a:pt x="232" y="0"/>
                    </a:lnTo>
                    <a:lnTo>
                      <a:pt x="232" y="3"/>
                    </a:lnTo>
                    <a:lnTo>
                      <a:pt x="205" y="21"/>
                    </a:lnTo>
                    <a:lnTo>
                      <a:pt x="186" y="21"/>
                    </a:lnTo>
                    <a:lnTo>
                      <a:pt x="170" y="19"/>
                    </a:lnTo>
                    <a:lnTo>
                      <a:pt x="157" y="24"/>
                    </a:lnTo>
                    <a:lnTo>
                      <a:pt x="143" y="25"/>
                    </a:lnTo>
                    <a:lnTo>
                      <a:pt x="126" y="29"/>
                    </a:lnTo>
                    <a:lnTo>
                      <a:pt x="120" y="22"/>
                    </a:lnTo>
                    <a:lnTo>
                      <a:pt x="108" y="23"/>
                    </a:lnTo>
                    <a:lnTo>
                      <a:pt x="98" y="25"/>
                    </a:lnTo>
                    <a:lnTo>
                      <a:pt x="87" y="22"/>
                    </a:lnTo>
                    <a:lnTo>
                      <a:pt x="73" y="23"/>
                    </a:lnTo>
                    <a:lnTo>
                      <a:pt x="66" y="28"/>
                    </a:lnTo>
                    <a:lnTo>
                      <a:pt x="66" y="32"/>
                    </a:lnTo>
                    <a:lnTo>
                      <a:pt x="63" y="41"/>
                    </a:lnTo>
                    <a:lnTo>
                      <a:pt x="60" y="59"/>
                    </a:lnTo>
                    <a:lnTo>
                      <a:pt x="61" y="81"/>
                    </a:lnTo>
                    <a:lnTo>
                      <a:pt x="63" y="89"/>
                    </a:lnTo>
                    <a:lnTo>
                      <a:pt x="68" y="94"/>
                    </a:lnTo>
                    <a:lnTo>
                      <a:pt x="73" y="98"/>
                    </a:lnTo>
                    <a:lnTo>
                      <a:pt x="82" y="100"/>
                    </a:lnTo>
                    <a:lnTo>
                      <a:pt x="84" y="105"/>
                    </a:lnTo>
                    <a:lnTo>
                      <a:pt x="86" y="113"/>
                    </a:lnTo>
                    <a:lnTo>
                      <a:pt x="82" y="121"/>
                    </a:lnTo>
                    <a:lnTo>
                      <a:pt x="73" y="130"/>
                    </a:lnTo>
                    <a:lnTo>
                      <a:pt x="67" y="135"/>
                    </a:lnTo>
                    <a:lnTo>
                      <a:pt x="56" y="140"/>
                    </a:lnTo>
                    <a:lnTo>
                      <a:pt x="52" y="147"/>
                    </a:lnTo>
                    <a:lnTo>
                      <a:pt x="50" y="153"/>
                    </a:lnTo>
                    <a:lnTo>
                      <a:pt x="44" y="159"/>
                    </a:lnTo>
                    <a:lnTo>
                      <a:pt x="33" y="172"/>
                    </a:lnTo>
                    <a:lnTo>
                      <a:pt x="20" y="186"/>
                    </a:lnTo>
                    <a:lnTo>
                      <a:pt x="17" y="191"/>
                    </a:lnTo>
                    <a:lnTo>
                      <a:pt x="11" y="202"/>
                    </a:lnTo>
                    <a:lnTo>
                      <a:pt x="3" y="233"/>
                    </a:lnTo>
                    <a:lnTo>
                      <a:pt x="3" y="247"/>
                    </a:lnTo>
                    <a:lnTo>
                      <a:pt x="1" y="275"/>
                    </a:lnTo>
                    <a:lnTo>
                      <a:pt x="0" y="296"/>
                    </a:lnTo>
                    <a:lnTo>
                      <a:pt x="4" y="299"/>
                    </a:lnTo>
                    <a:lnTo>
                      <a:pt x="11" y="302"/>
                    </a:lnTo>
                    <a:lnTo>
                      <a:pt x="19" y="301"/>
                    </a:lnTo>
                    <a:lnTo>
                      <a:pt x="25" y="290"/>
                    </a:lnTo>
                    <a:lnTo>
                      <a:pt x="29" y="286"/>
                    </a:lnTo>
                    <a:lnTo>
                      <a:pt x="36" y="285"/>
                    </a:lnTo>
                    <a:lnTo>
                      <a:pt x="41" y="281"/>
                    </a:lnTo>
                    <a:lnTo>
                      <a:pt x="63" y="283"/>
                    </a:lnTo>
                    <a:lnTo>
                      <a:pt x="70" y="280"/>
                    </a:lnTo>
                    <a:lnTo>
                      <a:pt x="70" y="278"/>
                    </a:lnTo>
                    <a:lnTo>
                      <a:pt x="115" y="278"/>
                    </a:lnTo>
                    <a:lnTo>
                      <a:pt x="110" y="274"/>
                    </a:lnTo>
                    <a:lnTo>
                      <a:pt x="122" y="247"/>
                    </a:lnTo>
                    <a:lnTo>
                      <a:pt x="120" y="240"/>
                    </a:lnTo>
                    <a:lnTo>
                      <a:pt x="121" y="234"/>
                    </a:lnTo>
                    <a:lnTo>
                      <a:pt x="132" y="232"/>
                    </a:lnTo>
                    <a:lnTo>
                      <a:pt x="142" y="228"/>
                    </a:lnTo>
                    <a:lnTo>
                      <a:pt x="147" y="221"/>
                    </a:lnTo>
                    <a:lnTo>
                      <a:pt x="153" y="223"/>
                    </a:lnTo>
                    <a:lnTo>
                      <a:pt x="157" y="222"/>
                    </a:lnTo>
                    <a:lnTo>
                      <a:pt x="159" y="216"/>
                    </a:lnTo>
                    <a:lnTo>
                      <a:pt x="164" y="218"/>
                    </a:lnTo>
                    <a:lnTo>
                      <a:pt x="175" y="220"/>
                    </a:lnTo>
                    <a:lnTo>
                      <a:pt x="183" y="223"/>
                    </a:lnTo>
                    <a:lnTo>
                      <a:pt x="195" y="207"/>
                    </a:lnTo>
                    <a:lnTo>
                      <a:pt x="201" y="211"/>
                    </a:lnTo>
                    <a:lnTo>
                      <a:pt x="215" y="216"/>
                    </a:lnTo>
                    <a:lnTo>
                      <a:pt x="223" y="213"/>
                    </a:lnTo>
                    <a:lnTo>
                      <a:pt x="232" y="216"/>
                    </a:lnTo>
                    <a:lnTo>
                      <a:pt x="234" y="213"/>
                    </a:lnTo>
                    <a:lnTo>
                      <a:pt x="240" y="208"/>
                    </a:lnTo>
                    <a:lnTo>
                      <a:pt x="258" y="181"/>
                    </a:lnTo>
                    <a:lnTo>
                      <a:pt x="267" y="170"/>
                    </a:lnTo>
                    <a:lnTo>
                      <a:pt x="270" y="167"/>
                    </a:lnTo>
                    <a:lnTo>
                      <a:pt x="278" y="156"/>
                    </a:lnTo>
                    <a:lnTo>
                      <a:pt x="286" y="143"/>
                    </a:lnTo>
                    <a:lnTo>
                      <a:pt x="288" y="130"/>
                    </a:lnTo>
                    <a:lnTo>
                      <a:pt x="289" y="110"/>
                    </a:lnTo>
                    <a:lnTo>
                      <a:pt x="287" y="100"/>
                    </a:lnTo>
                    <a:lnTo>
                      <a:pt x="287" y="82"/>
                    </a:lnTo>
                    <a:lnTo>
                      <a:pt x="286" y="76"/>
                    </a:lnTo>
                    <a:lnTo>
                      <a:pt x="278" y="67"/>
                    </a:lnTo>
                    <a:lnTo>
                      <a:pt x="274" y="65"/>
                    </a:lnTo>
                    <a:lnTo>
                      <a:pt x="267" y="61"/>
                    </a:lnTo>
                    <a:lnTo>
                      <a:pt x="262" y="56"/>
                    </a:lnTo>
                    <a:lnTo>
                      <a:pt x="260" y="50"/>
                    </a:lnTo>
                    <a:lnTo>
                      <a:pt x="255" y="23"/>
                    </a:lnTo>
                    <a:lnTo>
                      <a:pt x="253" y="21"/>
                    </a:lnTo>
                    <a:lnTo>
                      <a:pt x="251" y="18"/>
                    </a:lnTo>
                    <a:lnTo>
                      <a:pt x="251" y="11"/>
                    </a:lnTo>
                    <a:lnTo>
                      <a:pt x="249" y="9"/>
                    </a:lnTo>
                    <a:lnTo>
                      <a:pt x="237" y="7"/>
                    </a:lnTo>
                    <a:lnTo>
                      <a:pt x="234" y="5"/>
                    </a:lnTo>
                    <a:lnTo>
                      <a:pt x="232" y="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83" name="Freeform 49">
                <a:extLst>
                  <a:ext uri="{FF2B5EF4-FFF2-40B4-BE49-F238E27FC236}">
                    <a16:creationId xmlns:a16="http://schemas.microsoft.com/office/drawing/2014/main" id="{38D26F23-155F-A57E-98E3-7D968F3C95F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34" y="2498"/>
                <a:ext cx="21" cy="19"/>
              </a:xfrm>
              <a:custGeom>
                <a:avLst/>
                <a:gdLst>
                  <a:gd name="T0" fmla="*/ 0 w 104"/>
                  <a:gd name="T1" fmla="*/ 4 h 96"/>
                  <a:gd name="T2" fmla="*/ 0 w 104"/>
                  <a:gd name="T3" fmla="*/ 4 h 96"/>
                  <a:gd name="T4" fmla="*/ 0 w 104"/>
                  <a:gd name="T5" fmla="*/ 3 h 96"/>
                  <a:gd name="T6" fmla="*/ 1 w 104"/>
                  <a:gd name="T7" fmla="*/ 3 h 96"/>
                  <a:gd name="T8" fmla="*/ 1 w 104"/>
                  <a:gd name="T9" fmla="*/ 3 h 96"/>
                  <a:gd name="T10" fmla="*/ 1 w 104"/>
                  <a:gd name="T11" fmla="*/ 3 h 96"/>
                  <a:gd name="T12" fmla="*/ 1 w 104"/>
                  <a:gd name="T13" fmla="*/ 3 h 96"/>
                  <a:gd name="T14" fmla="*/ 1 w 104"/>
                  <a:gd name="T15" fmla="*/ 4 h 96"/>
                  <a:gd name="T16" fmla="*/ 1 w 104"/>
                  <a:gd name="T17" fmla="*/ 4 h 96"/>
                  <a:gd name="T18" fmla="*/ 1 w 104"/>
                  <a:gd name="T19" fmla="*/ 4 h 96"/>
                  <a:gd name="T20" fmla="*/ 2 w 104"/>
                  <a:gd name="T21" fmla="*/ 4 h 96"/>
                  <a:gd name="T22" fmla="*/ 2 w 104"/>
                  <a:gd name="T23" fmla="*/ 4 h 96"/>
                  <a:gd name="T24" fmla="*/ 2 w 104"/>
                  <a:gd name="T25" fmla="*/ 3 h 96"/>
                  <a:gd name="T26" fmla="*/ 2 w 104"/>
                  <a:gd name="T27" fmla="*/ 3 h 96"/>
                  <a:gd name="T28" fmla="*/ 2 w 104"/>
                  <a:gd name="T29" fmla="*/ 3 h 96"/>
                  <a:gd name="T30" fmla="*/ 2 w 104"/>
                  <a:gd name="T31" fmla="*/ 3 h 96"/>
                  <a:gd name="T32" fmla="*/ 3 w 104"/>
                  <a:gd name="T33" fmla="*/ 3 h 96"/>
                  <a:gd name="T34" fmla="*/ 3 w 104"/>
                  <a:gd name="T35" fmla="*/ 3 h 96"/>
                  <a:gd name="T36" fmla="*/ 3 w 104"/>
                  <a:gd name="T37" fmla="*/ 3 h 96"/>
                  <a:gd name="T38" fmla="*/ 3 w 104"/>
                  <a:gd name="T39" fmla="*/ 3 h 96"/>
                  <a:gd name="T40" fmla="*/ 4 w 104"/>
                  <a:gd name="T41" fmla="*/ 3 h 96"/>
                  <a:gd name="T42" fmla="*/ 4 w 104"/>
                  <a:gd name="T43" fmla="*/ 3 h 96"/>
                  <a:gd name="T44" fmla="*/ 4 w 104"/>
                  <a:gd name="T45" fmla="*/ 2 h 96"/>
                  <a:gd name="T46" fmla="*/ 4 w 104"/>
                  <a:gd name="T47" fmla="*/ 2 h 96"/>
                  <a:gd name="T48" fmla="*/ 4 w 104"/>
                  <a:gd name="T49" fmla="*/ 2 h 96"/>
                  <a:gd name="T50" fmla="*/ 4 w 104"/>
                  <a:gd name="T51" fmla="*/ 1 h 96"/>
                  <a:gd name="T52" fmla="*/ 3 w 104"/>
                  <a:gd name="T53" fmla="*/ 0 h 96"/>
                  <a:gd name="T54" fmla="*/ 3 w 104"/>
                  <a:gd name="T55" fmla="*/ 0 h 96"/>
                  <a:gd name="T56" fmla="*/ 3 w 104"/>
                  <a:gd name="T57" fmla="*/ 0 h 96"/>
                  <a:gd name="T58" fmla="*/ 3 w 104"/>
                  <a:gd name="T59" fmla="*/ 0 h 96"/>
                  <a:gd name="T60" fmla="*/ 3 w 104"/>
                  <a:gd name="T61" fmla="*/ 0 h 96"/>
                  <a:gd name="T62" fmla="*/ 2 w 104"/>
                  <a:gd name="T63" fmla="*/ 1 h 96"/>
                  <a:gd name="T64" fmla="*/ 2 w 104"/>
                  <a:gd name="T65" fmla="*/ 1 h 96"/>
                  <a:gd name="T66" fmla="*/ 2 w 104"/>
                  <a:gd name="T67" fmla="*/ 1 h 96"/>
                  <a:gd name="T68" fmla="*/ 2 w 104"/>
                  <a:gd name="T69" fmla="*/ 1 h 96"/>
                  <a:gd name="T70" fmla="*/ 1 w 104"/>
                  <a:gd name="T71" fmla="*/ 1 h 96"/>
                  <a:gd name="T72" fmla="*/ 1 w 104"/>
                  <a:gd name="T73" fmla="*/ 1 h 96"/>
                  <a:gd name="T74" fmla="*/ 1 w 104"/>
                  <a:gd name="T75" fmla="*/ 1 h 96"/>
                  <a:gd name="T76" fmla="*/ 1 w 104"/>
                  <a:gd name="T77" fmla="*/ 2 h 96"/>
                  <a:gd name="T78" fmla="*/ 0 w 104"/>
                  <a:gd name="T79" fmla="*/ 2 h 96"/>
                  <a:gd name="T80" fmla="*/ 0 w 104"/>
                  <a:gd name="T81" fmla="*/ 3 h 96"/>
                  <a:gd name="T82" fmla="*/ 0 w 104"/>
                  <a:gd name="T83" fmla="*/ 3 h 96"/>
                  <a:gd name="T84" fmla="*/ 0 w 104"/>
                  <a:gd name="T85" fmla="*/ 3 h 96"/>
                  <a:gd name="T86" fmla="*/ 0 w 104"/>
                  <a:gd name="T87" fmla="*/ 4 h 9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04"/>
                  <a:gd name="T133" fmla="*/ 0 h 96"/>
                  <a:gd name="T134" fmla="*/ 104 w 104"/>
                  <a:gd name="T135" fmla="*/ 96 h 9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04" h="96">
                    <a:moveTo>
                      <a:pt x="7" y="92"/>
                    </a:moveTo>
                    <a:lnTo>
                      <a:pt x="8" y="92"/>
                    </a:lnTo>
                    <a:lnTo>
                      <a:pt x="8" y="83"/>
                    </a:lnTo>
                    <a:lnTo>
                      <a:pt x="13" y="80"/>
                    </a:lnTo>
                    <a:lnTo>
                      <a:pt x="18" y="80"/>
                    </a:lnTo>
                    <a:lnTo>
                      <a:pt x="20" y="81"/>
                    </a:lnTo>
                    <a:lnTo>
                      <a:pt x="23" y="86"/>
                    </a:lnTo>
                    <a:lnTo>
                      <a:pt x="26" y="95"/>
                    </a:lnTo>
                    <a:lnTo>
                      <a:pt x="29" y="96"/>
                    </a:lnTo>
                    <a:lnTo>
                      <a:pt x="35" y="95"/>
                    </a:lnTo>
                    <a:lnTo>
                      <a:pt x="40" y="92"/>
                    </a:lnTo>
                    <a:lnTo>
                      <a:pt x="48" y="92"/>
                    </a:lnTo>
                    <a:lnTo>
                      <a:pt x="52" y="87"/>
                    </a:lnTo>
                    <a:lnTo>
                      <a:pt x="52" y="79"/>
                    </a:lnTo>
                    <a:lnTo>
                      <a:pt x="53" y="76"/>
                    </a:lnTo>
                    <a:lnTo>
                      <a:pt x="56" y="74"/>
                    </a:lnTo>
                    <a:lnTo>
                      <a:pt x="66" y="74"/>
                    </a:lnTo>
                    <a:lnTo>
                      <a:pt x="78" y="70"/>
                    </a:lnTo>
                    <a:lnTo>
                      <a:pt x="83" y="70"/>
                    </a:lnTo>
                    <a:lnTo>
                      <a:pt x="83" y="71"/>
                    </a:lnTo>
                    <a:lnTo>
                      <a:pt x="88" y="71"/>
                    </a:lnTo>
                    <a:lnTo>
                      <a:pt x="90" y="75"/>
                    </a:lnTo>
                    <a:lnTo>
                      <a:pt x="101" y="60"/>
                    </a:lnTo>
                    <a:lnTo>
                      <a:pt x="104" y="50"/>
                    </a:lnTo>
                    <a:lnTo>
                      <a:pt x="102" y="43"/>
                    </a:lnTo>
                    <a:lnTo>
                      <a:pt x="98" y="28"/>
                    </a:lnTo>
                    <a:lnTo>
                      <a:pt x="85" y="7"/>
                    </a:lnTo>
                    <a:lnTo>
                      <a:pt x="80" y="0"/>
                    </a:lnTo>
                    <a:lnTo>
                      <a:pt x="75" y="4"/>
                    </a:lnTo>
                    <a:lnTo>
                      <a:pt x="68" y="5"/>
                    </a:lnTo>
                    <a:lnTo>
                      <a:pt x="64" y="9"/>
                    </a:lnTo>
                    <a:lnTo>
                      <a:pt x="58" y="20"/>
                    </a:lnTo>
                    <a:lnTo>
                      <a:pt x="50" y="21"/>
                    </a:lnTo>
                    <a:lnTo>
                      <a:pt x="43" y="18"/>
                    </a:lnTo>
                    <a:lnTo>
                      <a:pt x="39" y="15"/>
                    </a:lnTo>
                    <a:lnTo>
                      <a:pt x="36" y="17"/>
                    </a:lnTo>
                    <a:lnTo>
                      <a:pt x="29" y="24"/>
                    </a:lnTo>
                    <a:lnTo>
                      <a:pt x="21" y="36"/>
                    </a:lnTo>
                    <a:lnTo>
                      <a:pt x="14" y="49"/>
                    </a:lnTo>
                    <a:lnTo>
                      <a:pt x="10" y="60"/>
                    </a:lnTo>
                    <a:lnTo>
                      <a:pt x="0" y="74"/>
                    </a:lnTo>
                    <a:lnTo>
                      <a:pt x="0" y="81"/>
                    </a:lnTo>
                    <a:lnTo>
                      <a:pt x="2" y="85"/>
                    </a:lnTo>
                    <a:lnTo>
                      <a:pt x="7" y="9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84" name="Freeform 50">
                <a:extLst>
                  <a:ext uri="{FF2B5EF4-FFF2-40B4-BE49-F238E27FC236}">
                    <a16:creationId xmlns:a16="http://schemas.microsoft.com/office/drawing/2014/main" id="{8B2751A2-6E53-21EE-4D0A-F33B75A8AE7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88" y="2436"/>
                <a:ext cx="87" cy="101"/>
              </a:xfrm>
              <a:custGeom>
                <a:avLst/>
                <a:gdLst>
                  <a:gd name="T0" fmla="*/ 15 w 435"/>
                  <a:gd name="T1" fmla="*/ 8 h 504"/>
                  <a:gd name="T2" fmla="*/ 15 w 435"/>
                  <a:gd name="T3" fmla="*/ 4 h 504"/>
                  <a:gd name="T4" fmla="*/ 16 w 435"/>
                  <a:gd name="T5" fmla="*/ 3 h 504"/>
                  <a:gd name="T6" fmla="*/ 17 w 435"/>
                  <a:gd name="T7" fmla="*/ 1 h 504"/>
                  <a:gd name="T8" fmla="*/ 17 w 435"/>
                  <a:gd name="T9" fmla="*/ 1 h 504"/>
                  <a:gd name="T10" fmla="*/ 15 w 435"/>
                  <a:gd name="T11" fmla="*/ 1 h 504"/>
                  <a:gd name="T12" fmla="*/ 13 w 435"/>
                  <a:gd name="T13" fmla="*/ 1 h 504"/>
                  <a:gd name="T14" fmla="*/ 12 w 435"/>
                  <a:gd name="T15" fmla="*/ 2 h 504"/>
                  <a:gd name="T16" fmla="*/ 10 w 435"/>
                  <a:gd name="T17" fmla="*/ 2 h 504"/>
                  <a:gd name="T18" fmla="*/ 9 w 435"/>
                  <a:gd name="T19" fmla="*/ 2 h 504"/>
                  <a:gd name="T20" fmla="*/ 7 w 435"/>
                  <a:gd name="T21" fmla="*/ 0 h 504"/>
                  <a:gd name="T22" fmla="*/ 5 w 435"/>
                  <a:gd name="T23" fmla="*/ 0 h 504"/>
                  <a:gd name="T24" fmla="*/ 4 w 435"/>
                  <a:gd name="T25" fmla="*/ 0 h 504"/>
                  <a:gd name="T26" fmla="*/ 3 w 435"/>
                  <a:gd name="T27" fmla="*/ 0 h 504"/>
                  <a:gd name="T28" fmla="*/ 1 w 435"/>
                  <a:gd name="T29" fmla="*/ 0 h 504"/>
                  <a:gd name="T30" fmla="*/ 0 w 435"/>
                  <a:gd name="T31" fmla="*/ 1 h 504"/>
                  <a:gd name="T32" fmla="*/ 0 w 435"/>
                  <a:gd name="T33" fmla="*/ 1 h 504"/>
                  <a:gd name="T34" fmla="*/ 1 w 435"/>
                  <a:gd name="T35" fmla="*/ 1 h 504"/>
                  <a:gd name="T36" fmla="*/ 1 w 435"/>
                  <a:gd name="T37" fmla="*/ 2 h 504"/>
                  <a:gd name="T38" fmla="*/ 1 w 435"/>
                  <a:gd name="T39" fmla="*/ 3 h 504"/>
                  <a:gd name="T40" fmla="*/ 1 w 435"/>
                  <a:gd name="T41" fmla="*/ 3 h 504"/>
                  <a:gd name="T42" fmla="*/ 2 w 435"/>
                  <a:gd name="T43" fmla="*/ 4 h 504"/>
                  <a:gd name="T44" fmla="*/ 2 w 435"/>
                  <a:gd name="T45" fmla="*/ 4 h 504"/>
                  <a:gd name="T46" fmla="*/ 2 w 435"/>
                  <a:gd name="T47" fmla="*/ 5 h 504"/>
                  <a:gd name="T48" fmla="*/ 2 w 435"/>
                  <a:gd name="T49" fmla="*/ 7 h 504"/>
                  <a:gd name="T50" fmla="*/ 2 w 435"/>
                  <a:gd name="T51" fmla="*/ 8 h 504"/>
                  <a:gd name="T52" fmla="*/ 1 w 435"/>
                  <a:gd name="T53" fmla="*/ 8 h 504"/>
                  <a:gd name="T54" fmla="*/ 0 w 435"/>
                  <a:gd name="T55" fmla="*/ 10 h 504"/>
                  <a:gd name="T56" fmla="*/ 0 w 435"/>
                  <a:gd name="T57" fmla="*/ 11 h 504"/>
                  <a:gd name="T58" fmla="*/ 1 w 435"/>
                  <a:gd name="T59" fmla="*/ 11 h 504"/>
                  <a:gd name="T60" fmla="*/ 1 w 435"/>
                  <a:gd name="T61" fmla="*/ 11 h 504"/>
                  <a:gd name="T62" fmla="*/ 2 w 435"/>
                  <a:gd name="T63" fmla="*/ 11 h 504"/>
                  <a:gd name="T64" fmla="*/ 1 w 435"/>
                  <a:gd name="T65" fmla="*/ 11 h 504"/>
                  <a:gd name="T66" fmla="*/ 0 w 435"/>
                  <a:gd name="T67" fmla="*/ 12 h 504"/>
                  <a:gd name="T68" fmla="*/ 8 w 435"/>
                  <a:gd name="T69" fmla="*/ 17 h 504"/>
                  <a:gd name="T70" fmla="*/ 8 w 435"/>
                  <a:gd name="T71" fmla="*/ 17 h 504"/>
                  <a:gd name="T72" fmla="*/ 9 w 435"/>
                  <a:gd name="T73" fmla="*/ 18 h 504"/>
                  <a:gd name="T74" fmla="*/ 12 w 435"/>
                  <a:gd name="T75" fmla="*/ 20 h 504"/>
                  <a:gd name="T76" fmla="*/ 13 w 435"/>
                  <a:gd name="T77" fmla="*/ 20 h 504"/>
                  <a:gd name="T78" fmla="*/ 13 w 435"/>
                  <a:gd name="T79" fmla="*/ 19 h 504"/>
                  <a:gd name="T80" fmla="*/ 14 w 435"/>
                  <a:gd name="T81" fmla="*/ 17 h 504"/>
                  <a:gd name="T82" fmla="*/ 14 w 435"/>
                  <a:gd name="T83" fmla="*/ 16 h 504"/>
                  <a:gd name="T84" fmla="*/ 14 w 435"/>
                  <a:gd name="T85" fmla="*/ 16 h 504"/>
                  <a:gd name="T86" fmla="*/ 15 w 435"/>
                  <a:gd name="T87" fmla="*/ 15 h 504"/>
                  <a:gd name="T88" fmla="*/ 16 w 435"/>
                  <a:gd name="T89" fmla="*/ 14 h 504"/>
                  <a:gd name="T90" fmla="*/ 16 w 435"/>
                  <a:gd name="T91" fmla="*/ 14 h 504"/>
                  <a:gd name="T92" fmla="*/ 17 w 435"/>
                  <a:gd name="T93" fmla="*/ 14 h 504"/>
                  <a:gd name="T94" fmla="*/ 16 w 435"/>
                  <a:gd name="T95" fmla="*/ 12 h 504"/>
                  <a:gd name="T96" fmla="*/ 15 w 435"/>
                  <a:gd name="T97" fmla="*/ 10 h 504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435"/>
                  <a:gd name="T148" fmla="*/ 0 h 504"/>
                  <a:gd name="T149" fmla="*/ 435 w 435"/>
                  <a:gd name="T150" fmla="*/ 504 h 504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435" h="504">
                    <a:moveTo>
                      <a:pt x="387" y="257"/>
                    </a:moveTo>
                    <a:lnTo>
                      <a:pt x="387" y="204"/>
                    </a:lnTo>
                    <a:lnTo>
                      <a:pt x="387" y="151"/>
                    </a:lnTo>
                    <a:lnTo>
                      <a:pt x="387" y="98"/>
                    </a:lnTo>
                    <a:lnTo>
                      <a:pt x="390" y="96"/>
                    </a:lnTo>
                    <a:lnTo>
                      <a:pt x="412" y="74"/>
                    </a:lnTo>
                    <a:lnTo>
                      <a:pt x="433" y="42"/>
                    </a:lnTo>
                    <a:lnTo>
                      <a:pt x="435" y="37"/>
                    </a:lnTo>
                    <a:lnTo>
                      <a:pt x="430" y="38"/>
                    </a:lnTo>
                    <a:lnTo>
                      <a:pt x="421" y="37"/>
                    </a:lnTo>
                    <a:lnTo>
                      <a:pt x="408" y="38"/>
                    </a:lnTo>
                    <a:lnTo>
                      <a:pt x="374" y="22"/>
                    </a:lnTo>
                    <a:lnTo>
                      <a:pt x="355" y="26"/>
                    </a:lnTo>
                    <a:lnTo>
                      <a:pt x="336" y="32"/>
                    </a:lnTo>
                    <a:lnTo>
                      <a:pt x="320" y="48"/>
                    </a:lnTo>
                    <a:lnTo>
                      <a:pt x="297" y="60"/>
                    </a:lnTo>
                    <a:lnTo>
                      <a:pt x="272" y="59"/>
                    </a:lnTo>
                    <a:lnTo>
                      <a:pt x="250" y="53"/>
                    </a:lnTo>
                    <a:lnTo>
                      <a:pt x="233" y="53"/>
                    </a:lnTo>
                    <a:lnTo>
                      <a:pt x="213" y="47"/>
                    </a:lnTo>
                    <a:lnTo>
                      <a:pt x="202" y="34"/>
                    </a:lnTo>
                    <a:lnTo>
                      <a:pt x="164" y="12"/>
                    </a:lnTo>
                    <a:lnTo>
                      <a:pt x="147" y="4"/>
                    </a:lnTo>
                    <a:lnTo>
                      <a:pt x="132" y="3"/>
                    </a:lnTo>
                    <a:lnTo>
                      <a:pt x="116" y="5"/>
                    </a:lnTo>
                    <a:lnTo>
                      <a:pt x="103" y="0"/>
                    </a:lnTo>
                    <a:lnTo>
                      <a:pt x="82" y="3"/>
                    </a:lnTo>
                    <a:lnTo>
                      <a:pt x="69" y="3"/>
                    </a:lnTo>
                    <a:lnTo>
                      <a:pt x="39" y="0"/>
                    </a:lnTo>
                    <a:lnTo>
                      <a:pt x="28" y="1"/>
                    </a:lnTo>
                    <a:lnTo>
                      <a:pt x="16" y="9"/>
                    </a:lnTo>
                    <a:lnTo>
                      <a:pt x="0" y="28"/>
                    </a:lnTo>
                    <a:lnTo>
                      <a:pt x="2" y="30"/>
                    </a:lnTo>
                    <a:lnTo>
                      <a:pt x="5" y="32"/>
                    </a:lnTo>
                    <a:lnTo>
                      <a:pt x="17" y="34"/>
                    </a:lnTo>
                    <a:lnTo>
                      <a:pt x="19" y="36"/>
                    </a:lnTo>
                    <a:lnTo>
                      <a:pt x="19" y="43"/>
                    </a:lnTo>
                    <a:lnTo>
                      <a:pt x="21" y="46"/>
                    </a:lnTo>
                    <a:lnTo>
                      <a:pt x="23" y="48"/>
                    </a:lnTo>
                    <a:lnTo>
                      <a:pt x="28" y="75"/>
                    </a:lnTo>
                    <a:lnTo>
                      <a:pt x="30" y="81"/>
                    </a:lnTo>
                    <a:lnTo>
                      <a:pt x="35" y="86"/>
                    </a:lnTo>
                    <a:lnTo>
                      <a:pt x="42" y="90"/>
                    </a:lnTo>
                    <a:lnTo>
                      <a:pt x="46" y="92"/>
                    </a:lnTo>
                    <a:lnTo>
                      <a:pt x="54" y="101"/>
                    </a:lnTo>
                    <a:lnTo>
                      <a:pt x="55" y="107"/>
                    </a:lnTo>
                    <a:lnTo>
                      <a:pt x="55" y="125"/>
                    </a:lnTo>
                    <a:lnTo>
                      <a:pt x="57" y="135"/>
                    </a:lnTo>
                    <a:lnTo>
                      <a:pt x="56" y="155"/>
                    </a:lnTo>
                    <a:lnTo>
                      <a:pt x="54" y="168"/>
                    </a:lnTo>
                    <a:lnTo>
                      <a:pt x="46" y="181"/>
                    </a:lnTo>
                    <a:lnTo>
                      <a:pt x="38" y="192"/>
                    </a:lnTo>
                    <a:lnTo>
                      <a:pt x="35" y="195"/>
                    </a:lnTo>
                    <a:lnTo>
                      <a:pt x="26" y="206"/>
                    </a:lnTo>
                    <a:lnTo>
                      <a:pt x="8" y="233"/>
                    </a:lnTo>
                    <a:lnTo>
                      <a:pt x="2" y="238"/>
                    </a:lnTo>
                    <a:lnTo>
                      <a:pt x="1" y="253"/>
                    </a:lnTo>
                    <a:lnTo>
                      <a:pt x="8" y="263"/>
                    </a:lnTo>
                    <a:lnTo>
                      <a:pt x="12" y="272"/>
                    </a:lnTo>
                    <a:lnTo>
                      <a:pt x="18" y="270"/>
                    </a:lnTo>
                    <a:lnTo>
                      <a:pt x="26" y="267"/>
                    </a:lnTo>
                    <a:lnTo>
                      <a:pt x="35" y="265"/>
                    </a:lnTo>
                    <a:lnTo>
                      <a:pt x="45" y="265"/>
                    </a:lnTo>
                    <a:lnTo>
                      <a:pt x="45" y="270"/>
                    </a:lnTo>
                    <a:lnTo>
                      <a:pt x="34" y="274"/>
                    </a:lnTo>
                    <a:lnTo>
                      <a:pt x="26" y="281"/>
                    </a:lnTo>
                    <a:lnTo>
                      <a:pt x="14" y="281"/>
                    </a:lnTo>
                    <a:lnTo>
                      <a:pt x="7" y="295"/>
                    </a:lnTo>
                    <a:lnTo>
                      <a:pt x="16" y="303"/>
                    </a:lnTo>
                    <a:lnTo>
                      <a:pt x="207" y="415"/>
                    </a:lnTo>
                    <a:lnTo>
                      <a:pt x="210" y="420"/>
                    </a:lnTo>
                    <a:lnTo>
                      <a:pt x="210" y="428"/>
                    </a:lnTo>
                    <a:lnTo>
                      <a:pt x="215" y="447"/>
                    </a:lnTo>
                    <a:lnTo>
                      <a:pt x="218" y="458"/>
                    </a:lnTo>
                    <a:lnTo>
                      <a:pt x="296" y="504"/>
                    </a:lnTo>
                    <a:lnTo>
                      <a:pt x="306" y="499"/>
                    </a:lnTo>
                    <a:lnTo>
                      <a:pt x="309" y="495"/>
                    </a:lnTo>
                    <a:lnTo>
                      <a:pt x="314" y="488"/>
                    </a:lnTo>
                    <a:lnTo>
                      <a:pt x="318" y="479"/>
                    </a:lnTo>
                    <a:lnTo>
                      <a:pt x="324" y="463"/>
                    </a:lnTo>
                    <a:lnTo>
                      <a:pt x="333" y="450"/>
                    </a:lnTo>
                    <a:lnTo>
                      <a:pt x="342" y="429"/>
                    </a:lnTo>
                    <a:lnTo>
                      <a:pt x="346" y="413"/>
                    </a:lnTo>
                    <a:lnTo>
                      <a:pt x="352" y="399"/>
                    </a:lnTo>
                    <a:lnTo>
                      <a:pt x="357" y="392"/>
                    </a:lnTo>
                    <a:lnTo>
                      <a:pt x="360" y="391"/>
                    </a:lnTo>
                    <a:lnTo>
                      <a:pt x="378" y="382"/>
                    </a:lnTo>
                    <a:lnTo>
                      <a:pt x="379" y="376"/>
                    </a:lnTo>
                    <a:lnTo>
                      <a:pt x="382" y="370"/>
                    </a:lnTo>
                    <a:lnTo>
                      <a:pt x="388" y="361"/>
                    </a:lnTo>
                    <a:lnTo>
                      <a:pt x="394" y="358"/>
                    </a:lnTo>
                    <a:lnTo>
                      <a:pt x="403" y="358"/>
                    </a:lnTo>
                    <a:lnTo>
                      <a:pt x="414" y="346"/>
                    </a:lnTo>
                    <a:lnTo>
                      <a:pt x="417" y="340"/>
                    </a:lnTo>
                    <a:lnTo>
                      <a:pt x="416" y="337"/>
                    </a:lnTo>
                    <a:lnTo>
                      <a:pt x="393" y="308"/>
                    </a:lnTo>
                    <a:lnTo>
                      <a:pt x="387" y="300"/>
                    </a:lnTo>
                    <a:lnTo>
                      <a:pt x="387" y="25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85" name="Freeform 51">
                <a:extLst>
                  <a:ext uri="{FF2B5EF4-FFF2-40B4-BE49-F238E27FC236}">
                    <a16:creationId xmlns:a16="http://schemas.microsoft.com/office/drawing/2014/main" id="{23560209-CA45-AB47-706E-DBD4CE55106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24" y="2302"/>
                <a:ext cx="68" cy="49"/>
              </a:xfrm>
              <a:custGeom>
                <a:avLst/>
                <a:gdLst>
                  <a:gd name="T0" fmla="*/ 2 w 344"/>
                  <a:gd name="T1" fmla="*/ 6 h 244"/>
                  <a:gd name="T2" fmla="*/ 1 w 344"/>
                  <a:gd name="T3" fmla="*/ 5 h 244"/>
                  <a:gd name="T4" fmla="*/ 0 w 344"/>
                  <a:gd name="T5" fmla="*/ 5 h 244"/>
                  <a:gd name="T6" fmla="*/ 0 w 344"/>
                  <a:gd name="T7" fmla="*/ 4 h 244"/>
                  <a:gd name="T8" fmla="*/ 1 w 344"/>
                  <a:gd name="T9" fmla="*/ 3 h 244"/>
                  <a:gd name="T10" fmla="*/ 2 w 344"/>
                  <a:gd name="T11" fmla="*/ 1 h 244"/>
                  <a:gd name="T12" fmla="*/ 3 w 344"/>
                  <a:gd name="T13" fmla="*/ 0 h 244"/>
                  <a:gd name="T14" fmla="*/ 4 w 344"/>
                  <a:gd name="T15" fmla="*/ 0 h 244"/>
                  <a:gd name="T16" fmla="*/ 5 w 344"/>
                  <a:gd name="T17" fmla="*/ 0 h 244"/>
                  <a:gd name="T18" fmla="*/ 5 w 344"/>
                  <a:gd name="T19" fmla="*/ 0 h 244"/>
                  <a:gd name="T20" fmla="*/ 7 w 344"/>
                  <a:gd name="T21" fmla="*/ 0 h 244"/>
                  <a:gd name="T22" fmla="*/ 7 w 344"/>
                  <a:gd name="T23" fmla="*/ 0 h 244"/>
                  <a:gd name="T24" fmla="*/ 8 w 344"/>
                  <a:gd name="T25" fmla="*/ 1 h 244"/>
                  <a:gd name="T26" fmla="*/ 9 w 344"/>
                  <a:gd name="T27" fmla="*/ 1 h 244"/>
                  <a:gd name="T28" fmla="*/ 9 w 344"/>
                  <a:gd name="T29" fmla="*/ 2 h 244"/>
                  <a:gd name="T30" fmla="*/ 10 w 344"/>
                  <a:gd name="T31" fmla="*/ 3 h 244"/>
                  <a:gd name="T32" fmla="*/ 10 w 344"/>
                  <a:gd name="T33" fmla="*/ 3 h 244"/>
                  <a:gd name="T34" fmla="*/ 10 w 344"/>
                  <a:gd name="T35" fmla="*/ 3 h 244"/>
                  <a:gd name="T36" fmla="*/ 11 w 344"/>
                  <a:gd name="T37" fmla="*/ 4 h 244"/>
                  <a:gd name="T38" fmla="*/ 11 w 344"/>
                  <a:gd name="T39" fmla="*/ 4 h 244"/>
                  <a:gd name="T40" fmla="*/ 12 w 344"/>
                  <a:gd name="T41" fmla="*/ 5 h 244"/>
                  <a:gd name="T42" fmla="*/ 12 w 344"/>
                  <a:gd name="T43" fmla="*/ 5 h 244"/>
                  <a:gd name="T44" fmla="*/ 12 w 344"/>
                  <a:gd name="T45" fmla="*/ 6 h 244"/>
                  <a:gd name="T46" fmla="*/ 12 w 344"/>
                  <a:gd name="T47" fmla="*/ 7 h 244"/>
                  <a:gd name="T48" fmla="*/ 13 w 344"/>
                  <a:gd name="T49" fmla="*/ 7 h 244"/>
                  <a:gd name="T50" fmla="*/ 13 w 344"/>
                  <a:gd name="T51" fmla="*/ 8 h 244"/>
                  <a:gd name="T52" fmla="*/ 13 w 344"/>
                  <a:gd name="T53" fmla="*/ 9 h 244"/>
                  <a:gd name="T54" fmla="*/ 13 w 344"/>
                  <a:gd name="T55" fmla="*/ 9 h 244"/>
                  <a:gd name="T56" fmla="*/ 13 w 344"/>
                  <a:gd name="T57" fmla="*/ 10 h 244"/>
                  <a:gd name="T58" fmla="*/ 12 w 344"/>
                  <a:gd name="T59" fmla="*/ 10 h 244"/>
                  <a:gd name="T60" fmla="*/ 11 w 344"/>
                  <a:gd name="T61" fmla="*/ 10 h 244"/>
                  <a:gd name="T62" fmla="*/ 11 w 344"/>
                  <a:gd name="T63" fmla="*/ 10 h 244"/>
                  <a:gd name="T64" fmla="*/ 10 w 344"/>
                  <a:gd name="T65" fmla="*/ 10 h 244"/>
                  <a:gd name="T66" fmla="*/ 9 w 344"/>
                  <a:gd name="T67" fmla="*/ 9 h 244"/>
                  <a:gd name="T68" fmla="*/ 6 w 344"/>
                  <a:gd name="T69" fmla="*/ 9 h 244"/>
                  <a:gd name="T70" fmla="*/ 4 w 344"/>
                  <a:gd name="T71" fmla="*/ 9 h 244"/>
                  <a:gd name="T72" fmla="*/ 2 w 344"/>
                  <a:gd name="T73" fmla="*/ 10 h 244"/>
                  <a:gd name="T74" fmla="*/ 2 w 344"/>
                  <a:gd name="T75" fmla="*/ 10 h 244"/>
                  <a:gd name="T76" fmla="*/ 2 w 344"/>
                  <a:gd name="T77" fmla="*/ 8 h 244"/>
                  <a:gd name="T78" fmla="*/ 4 w 344"/>
                  <a:gd name="T79" fmla="*/ 8 h 244"/>
                  <a:gd name="T80" fmla="*/ 5 w 344"/>
                  <a:gd name="T81" fmla="*/ 7 h 244"/>
                  <a:gd name="T82" fmla="*/ 6 w 344"/>
                  <a:gd name="T83" fmla="*/ 7 h 244"/>
                  <a:gd name="T84" fmla="*/ 7 w 344"/>
                  <a:gd name="T85" fmla="*/ 8 h 244"/>
                  <a:gd name="T86" fmla="*/ 8 w 344"/>
                  <a:gd name="T87" fmla="*/ 8 h 244"/>
                  <a:gd name="T88" fmla="*/ 8 w 344"/>
                  <a:gd name="T89" fmla="*/ 7 h 244"/>
                  <a:gd name="T90" fmla="*/ 8 w 344"/>
                  <a:gd name="T91" fmla="*/ 7 h 244"/>
                  <a:gd name="T92" fmla="*/ 7 w 344"/>
                  <a:gd name="T93" fmla="*/ 7 h 244"/>
                  <a:gd name="T94" fmla="*/ 6 w 344"/>
                  <a:gd name="T95" fmla="*/ 7 h 244"/>
                  <a:gd name="T96" fmla="*/ 5 w 344"/>
                  <a:gd name="T97" fmla="*/ 7 h 244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344"/>
                  <a:gd name="T148" fmla="*/ 0 h 244"/>
                  <a:gd name="T149" fmla="*/ 344 w 344"/>
                  <a:gd name="T150" fmla="*/ 244 h 244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344" h="244">
                    <a:moveTo>
                      <a:pt x="55" y="174"/>
                    </a:moveTo>
                    <a:lnTo>
                      <a:pt x="54" y="174"/>
                    </a:lnTo>
                    <a:lnTo>
                      <a:pt x="50" y="168"/>
                    </a:lnTo>
                    <a:lnTo>
                      <a:pt x="43" y="160"/>
                    </a:lnTo>
                    <a:lnTo>
                      <a:pt x="41" y="147"/>
                    </a:lnTo>
                    <a:lnTo>
                      <a:pt x="39" y="144"/>
                    </a:lnTo>
                    <a:lnTo>
                      <a:pt x="33" y="138"/>
                    </a:lnTo>
                    <a:lnTo>
                      <a:pt x="28" y="129"/>
                    </a:lnTo>
                    <a:lnTo>
                      <a:pt x="18" y="119"/>
                    </a:lnTo>
                    <a:lnTo>
                      <a:pt x="14" y="112"/>
                    </a:lnTo>
                    <a:lnTo>
                      <a:pt x="9" y="112"/>
                    </a:lnTo>
                    <a:lnTo>
                      <a:pt x="7" y="113"/>
                    </a:lnTo>
                    <a:lnTo>
                      <a:pt x="4" y="117"/>
                    </a:lnTo>
                    <a:lnTo>
                      <a:pt x="1" y="112"/>
                    </a:lnTo>
                    <a:lnTo>
                      <a:pt x="0" y="109"/>
                    </a:lnTo>
                    <a:lnTo>
                      <a:pt x="1" y="107"/>
                    </a:lnTo>
                    <a:lnTo>
                      <a:pt x="6" y="107"/>
                    </a:lnTo>
                    <a:lnTo>
                      <a:pt x="17" y="103"/>
                    </a:lnTo>
                    <a:lnTo>
                      <a:pt x="31" y="91"/>
                    </a:lnTo>
                    <a:lnTo>
                      <a:pt x="35" y="86"/>
                    </a:lnTo>
                    <a:lnTo>
                      <a:pt x="40" y="77"/>
                    </a:lnTo>
                    <a:lnTo>
                      <a:pt x="55" y="56"/>
                    </a:lnTo>
                    <a:lnTo>
                      <a:pt x="56" y="50"/>
                    </a:lnTo>
                    <a:lnTo>
                      <a:pt x="56" y="33"/>
                    </a:lnTo>
                    <a:lnTo>
                      <a:pt x="57" y="32"/>
                    </a:lnTo>
                    <a:lnTo>
                      <a:pt x="61" y="29"/>
                    </a:lnTo>
                    <a:lnTo>
                      <a:pt x="65" y="22"/>
                    </a:lnTo>
                    <a:lnTo>
                      <a:pt x="70" y="9"/>
                    </a:lnTo>
                    <a:lnTo>
                      <a:pt x="73" y="9"/>
                    </a:lnTo>
                    <a:lnTo>
                      <a:pt x="76" y="7"/>
                    </a:lnTo>
                    <a:lnTo>
                      <a:pt x="83" y="9"/>
                    </a:lnTo>
                    <a:lnTo>
                      <a:pt x="92" y="9"/>
                    </a:lnTo>
                    <a:lnTo>
                      <a:pt x="102" y="11"/>
                    </a:lnTo>
                    <a:lnTo>
                      <a:pt x="109" y="10"/>
                    </a:lnTo>
                    <a:lnTo>
                      <a:pt x="111" y="7"/>
                    </a:lnTo>
                    <a:lnTo>
                      <a:pt x="122" y="5"/>
                    </a:lnTo>
                    <a:lnTo>
                      <a:pt x="131" y="6"/>
                    </a:lnTo>
                    <a:lnTo>
                      <a:pt x="133" y="5"/>
                    </a:lnTo>
                    <a:lnTo>
                      <a:pt x="133" y="1"/>
                    </a:lnTo>
                    <a:lnTo>
                      <a:pt x="135" y="1"/>
                    </a:lnTo>
                    <a:lnTo>
                      <a:pt x="141" y="1"/>
                    </a:lnTo>
                    <a:lnTo>
                      <a:pt x="146" y="0"/>
                    </a:lnTo>
                    <a:lnTo>
                      <a:pt x="152" y="2"/>
                    </a:lnTo>
                    <a:lnTo>
                      <a:pt x="168" y="2"/>
                    </a:lnTo>
                    <a:lnTo>
                      <a:pt x="169" y="4"/>
                    </a:lnTo>
                    <a:lnTo>
                      <a:pt x="174" y="2"/>
                    </a:lnTo>
                    <a:lnTo>
                      <a:pt x="176" y="7"/>
                    </a:lnTo>
                    <a:lnTo>
                      <a:pt x="183" y="9"/>
                    </a:lnTo>
                    <a:lnTo>
                      <a:pt x="194" y="17"/>
                    </a:lnTo>
                    <a:lnTo>
                      <a:pt x="195" y="23"/>
                    </a:lnTo>
                    <a:lnTo>
                      <a:pt x="202" y="31"/>
                    </a:lnTo>
                    <a:lnTo>
                      <a:pt x="206" y="29"/>
                    </a:lnTo>
                    <a:lnTo>
                      <a:pt x="212" y="28"/>
                    </a:lnTo>
                    <a:lnTo>
                      <a:pt x="212" y="32"/>
                    </a:lnTo>
                    <a:lnTo>
                      <a:pt x="216" y="33"/>
                    </a:lnTo>
                    <a:lnTo>
                      <a:pt x="221" y="29"/>
                    </a:lnTo>
                    <a:lnTo>
                      <a:pt x="223" y="29"/>
                    </a:lnTo>
                    <a:lnTo>
                      <a:pt x="233" y="44"/>
                    </a:lnTo>
                    <a:lnTo>
                      <a:pt x="238" y="54"/>
                    </a:lnTo>
                    <a:lnTo>
                      <a:pt x="238" y="58"/>
                    </a:lnTo>
                    <a:lnTo>
                      <a:pt x="242" y="59"/>
                    </a:lnTo>
                    <a:lnTo>
                      <a:pt x="245" y="64"/>
                    </a:lnTo>
                    <a:lnTo>
                      <a:pt x="245" y="66"/>
                    </a:lnTo>
                    <a:lnTo>
                      <a:pt x="248" y="68"/>
                    </a:lnTo>
                    <a:lnTo>
                      <a:pt x="251" y="66"/>
                    </a:lnTo>
                    <a:lnTo>
                      <a:pt x="253" y="66"/>
                    </a:lnTo>
                    <a:lnTo>
                      <a:pt x="255" y="74"/>
                    </a:lnTo>
                    <a:lnTo>
                      <a:pt x="258" y="75"/>
                    </a:lnTo>
                    <a:lnTo>
                      <a:pt x="260" y="79"/>
                    </a:lnTo>
                    <a:lnTo>
                      <a:pt x="256" y="80"/>
                    </a:lnTo>
                    <a:lnTo>
                      <a:pt x="256" y="81"/>
                    </a:lnTo>
                    <a:lnTo>
                      <a:pt x="261" y="82"/>
                    </a:lnTo>
                    <a:lnTo>
                      <a:pt x="264" y="86"/>
                    </a:lnTo>
                    <a:lnTo>
                      <a:pt x="267" y="88"/>
                    </a:lnTo>
                    <a:lnTo>
                      <a:pt x="271" y="88"/>
                    </a:lnTo>
                    <a:lnTo>
                      <a:pt x="277" y="91"/>
                    </a:lnTo>
                    <a:lnTo>
                      <a:pt x="280" y="95"/>
                    </a:lnTo>
                    <a:lnTo>
                      <a:pt x="281" y="99"/>
                    </a:lnTo>
                    <a:lnTo>
                      <a:pt x="283" y="101"/>
                    </a:lnTo>
                    <a:lnTo>
                      <a:pt x="289" y="103"/>
                    </a:lnTo>
                    <a:lnTo>
                      <a:pt x="296" y="109"/>
                    </a:lnTo>
                    <a:lnTo>
                      <a:pt x="298" y="112"/>
                    </a:lnTo>
                    <a:lnTo>
                      <a:pt x="299" y="115"/>
                    </a:lnTo>
                    <a:lnTo>
                      <a:pt x="297" y="123"/>
                    </a:lnTo>
                    <a:lnTo>
                      <a:pt x="297" y="129"/>
                    </a:lnTo>
                    <a:lnTo>
                      <a:pt x="299" y="129"/>
                    </a:lnTo>
                    <a:lnTo>
                      <a:pt x="301" y="133"/>
                    </a:lnTo>
                    <a:lnTo>
                      <a:pt x="302" y="133"/>
                    </a:lnTo>
                    <a:lnTo>
                      <a:pt x="305" y="136"/>
                    </a:lnTo>
                    <a:lnTo>
                      <a:pt x="307" y="144"/>
                    </a:lnTo>
                    <a:lnTo>
                      <a:pt x="307" y="150"/>
                    </a:lnTo>
                    <a:lnTo>
                      <a:pt x="309" y="156"/>
                    </a:lnTo>
                    <a:lnTo>
                      <a:pt x="310" y="160"/>
                    </a:lnTo>
                    <a:lnTo>
                      <a:pt x="305" y="167"/>
                    </a:lnTo>
                    <a:lnTo>
                      <a:pt x="305" y="169"/>
                    </a:lnTo>
                    <a:lnTo>
                      <a:pt x="313" y="181"/>
                    </a:lnTo>
                    <a:lnTo>
                      <a:pt x="315" y="187"/>
                    </a:lnTo>
                    <a:lnTo>
                      <a:pt x="316" y="188"/>
                    </a:lnTo>
                    <a:lnTo>
                      <a:pt x="320" y="188"/>
                    </a:lnTo>
                    <a:lnTo>
                      <a:pt x="323" y="185"/>
                    </a:lnTo>
                    <a:lnTo>
                      <a:pt x="328" y="185"/>
                    </a:lnTo>
                    <a:lnTo>
                      <a:pt x="328" y="189"/>
                    </a:lnTo>
                    <a:lnTo>
                      <a:pt x="331" y="193"/>
                    </a:lnTo>
                    <a:lnTo>
                      <a:pt x="332" y="197"/>
                    </a:lnTo>
                    <a:lnTo>
                      <a:pt x="335" y="199"/>
                    </a:lnTo>
                    <a:lnTo>
                      <a:pt x="337" y="204"/>
                    </a:lnTo>
                    <a:lnTo>
                      <a:pt x="341" y="209"/>
                    </a:lnTo>
                    <a:lnTo>
                      <a:pt x="342" y="212"/>
                    </a:lnTo>
                    <a:lnTo>
                      <a:pt x="341" y="212"/>
                    </a:lnTo>
                    <a:lnTo>
                      <a:pt x="340" y="214"/>
                    </a:lnTo>
                    <a:lnTo>
                      <a:pt x="342" y="217"/>
                    </a:lnTo>
                    <a:lnTo>
                      <a:pt x="342" y="221"/>
                    </a:lnTo>
                    <a:lnTo>
                      <a:pt x="339" y="225"/>
                    </a:lnTo>
                    <a:lnTo>
                      <a:pt x="340" y="232"/>
                    </a:lnTo>
                    <a:lnTo>
                      <a:pt x="344" y="236"/>
                    </a:lnTo>
                    <a:lnTo>
                      <a:pt x="344" y="238"/>
                    </a:lnTo>
                    <a:lnTo>
                      <a:pt x="341" y="239"/>
                    </a:lnTo>
                    <a:lnTo>
                      <a:pt x="331" y="239"/>
                    </a:lnTo>
                    <a:lnTo>
                      <a:pt x="325" y="242"/>
                    </a:lnTo>
                    <a:lnTo>
                      <a:pt x="321" y="242"/>
                    </a:lnTo>
                    <a:lnTo>
                      <a:pt x="310" y="241"/>
                    </a:lnTo>
                    <a:lnTo>
                      <a:pt x="308" y="242"/>
                    </a:lnTo>
                    <a:lnTo>
                      <a:pt x="301" y="242"/>
                    </a:lnTo>
                    <a:lnTo>
                      <a:pt x="293" y="244"/>
                    </a:lnTo>
                    <a:lnTo>
                      <a:pt x="287" y="244"/>
                    </a:lnTo>
                    <a:lnTo>
                      <a:pt x="282" y="242"/>
                    </a:lnTo>
                    <a:lnTo>
                      <a:pt x="278" y="242"/>
                    </a:lnTo>
                    <a:lnTo>
                      <a:pt x="271" y="239"/>
                    </a:lnTo>
                    <a:lnTo>
                      <a:pt x="264" y="239"/>
                    </a:lnTo>
                    <a:lnTo>
                      <a:pt x="258" y="233"/>
                    </a:lnTo>
                    <a:lnTo>
                      <a:pt x="255" y="235"/>
                    </a:lnTo>
                    <a:lnTo>
                      <a:pt x="255" y="238"/>
                    </a:lnTo>
                    <a:lnTo>
                      <a:pt x="248" y="237"/>
                    </a:lnTo>
                    <a:lnTo>
                      <a:pt x="248" y="231"/>
                    </a:lnTo>
                    <a:lnTo>
                      <a:pt x="245" y="228"/>
                    </a:lnTo>
                    <a:lnTo>
                      <a:pt x="237" y="227"/>
                    </a:lnTo>
                    <a:lnTo>
                      <a:pt x="231" y="228"/>
                    </a:lnTo>
                    <a:lnTo>
                      <a:pt x="226" y="225"/>
                    </a:lnTo>
                    <a:lnTo>
                      <a:pt x="212" y="224"/>
                    </a:lnTo>
                    <a:lnTo>
                      <a:pt x="162" y="224"/>
                    </a:lnTo>
                    <a:lnTo>
                      <a:pt x="159" y="225"/>
                    </a:lnTo>
                    <a:lnTo>
                      <a:pt x="135" y="225"/>
                    </a:lnTo>
                    <a:lnTo>
                      <a:pt x="122" y="231"/>
                    </a:lnTo>
                    <a:lnTo>
                      <a:pt x="111" y="236"/>
                    </a:lnTo>
                    <a:lnTo>
                      <a:pt x="102" y="238"/>
                    </a:lnTo>
                    <a:lnTo>
                      <a:pt x="72" y="237"/>
                    </a:lnTo>
                    <a:lnTo>
                      <a:pt x="68" y="239"/>
                    </a:lnTo>
                    <a:lnTo>
                      <a:pt x="57" y="244"/>
                    </a:lnTo>
                    <a:lnTo>
                      <a:pt x="50" y="244"/>
                    </a:lnTo>
                    <a:lnTo>
                      <a:pt x="46" y="243"/>
                    </a:lnTo>
                    <a:lnTo>
                      <a:pt x="45" y="241"/>
                    </a:lnTo>
                    <a:lnTo>
                      <a:pt x="43" y="242"/>
                    </a:lnTo>
                    <a:lnTo>
                      <a:pt x="44" y="241"/>
                    </a:lnTo>
                    <a:lnTo>
                      <a:pt x="41" y="239"/>
                    </a:lnTo>
                    <a:lnTo>
                      <a:pt x="43" y="205"/>
                    </a:lnTo>
                    <a:lnTo>
                      <a:pt x="47" y="199"/>
                    </a:lnTo>
                    <a:lnTo>
                      <a:pt x="86" y="195"/>
                    </a:lnTo>
                    <a:lnTo>
                      <a:pt x="94" y="195"/>
                    </a:lnTo>
                    <a:lnTo>
                      <a:pt x="95" y="195"/>
                    </a:lnTo>
                    <a:lnTo>
                      <a:pt x="98" y="188"/>
                    </a:lnTo>
                    <a:lnTo>
                      <a:pt x="103" y="187"/>
                    </a:lnTo>
                    <a:lnTo>
                      <a:pt x="106" y="188"/>
                    </a:lnTo>
                    <a:lnTo>
                      <a:pt x="119" y="187"/>
                    </a:lnTo>
                    <a:lnTo>
                      <a:pt x="127" y="183"/>
                    </a:lnTo>
                    <a:lnTo>
                      <a:pt x="131" y="178"/>
                    </a:lnTo>
                    <a:lnTo>
                      <a:pt x="133" y="177"/>
                    </a:lnTo>
                    <a:lnTo>
                      <a:pt x="140" y="178"/>
                    </a:lnTo>
                    <a:lnTo>
                      <a:pt x="143" y="182"/>
                    </a:lnTo>
                    <a:lnTo>
                      <a:pt x="151" y="184"/>
                    </a:lnTo>
                    <a:lnTo>
                      <a:pt x="159" y="189"/>
                    </a:lnTo>
                    <a:lnTo>
                      <a:pt x="167" y="190"/>
                    </a:lnTo>
                    <a:lnTo>
                      <a:pt x="175" y="194"/>
                    </a:lnTo>
                    <a:lnTo>
                      <a:pt x="183" y="194"/>
                    </a:lnTo>
                    <a:lnTo>
                      <a:pt x="185" y="195"/>
                    </a:lnTo>
                    <a:lnTo>
                      <a:pt x="191" y="192"/>
                    </a:lnTo>
                    <a:lnTo>
                      <a:pt x="203" y="189"/>
                    </a:lnTo>
                    <a:lnTo>
                      <a:pt x="207" y="185"/>
                    </a:lnTo>
                    <a:lnTo>
                      <a:pt x="207" y="182"/>
                    </a:lnTo>
                    <a:lnTo>
                      <a:pt x="207" y="177"/>
                    </a:lnTo>
                    <a:lnTo>
                      <a:pt x="206" y="177"/>
                    </a:lnTo>
                    <a:lnTo>
                      <a:pt x="203" y="177"/>
                    </a:lnTo>
                    <a:lnTo>
                      <a:pt x="200" y="176"/>
                    </a:lnTo>
                    <a:lnTo>
                      <a:pt x="195" y="176"/>
                    </a:lnTo>
                    <a:lnTo>
                      <a:pt x="191" y="177"/>
                    </a:lnTo>
                    <a:lnTo>
                      <a:pt x="180" y="182"/>
                    </a:lnTo>
                    <a:lnTo>
                      <a:pt x="175" y="181"/>
                    </a:lnTo>
                    <a:lnTo>
                      <a:pt x="169" y="178"/>
                    </a:lnTo>
                    <a:lnTo>
                      <a:pt x="165" y="172"/>
                    </a:lnTo>
                    <a:lnTo>
                      <a:pt x="164" y="171"/>
                    </a:lnTo>
                    <a:lnTo>
                      <a:pt x="152" y="171"/>
                    </a:lnTo>
                    <a:lnTo>
                      <a:pt x="146" y="163"/>
                    </a:lnTo>
                    <a:lnTo>
                      <a:pt x="140" y="162"/>
                    </a:lnTo>
                    <a:lnTo>
                      <a:pt x="137" y="161"/>
                    </a:lnTo>
                    <a:lnTo>
                      <a:pt x="131" y="162"/>
                    </a:lnTo>
                    <a:lnTo>
                      <a:pt x="126" y="165"/>
                    </a:lnTo>
                    <a:lnTo>
                      <a:pt x="120" y="163"/>
                    </a:lnTo>
                    <a:lnTo>
                      <a:pt x="115" y="168"/>
                    </a:lnTo>
                    <a:lnTo>
                      <a:pt x="111" y="174"/>
                    </a:lnTo>
                    <a:lnTo>
                      <a:pt x="55" y="17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86" name="Freeform 52">
                <a:extLst>
                  <a:ext uri="{FF2B5EF4-FFF2-40B4-BE49-F238E27FC236}">
                    <a16:creationId xmlns:a16="http://schemas.microsoft.com/office/drawing/2014/main" id="{E6B70B4F-971B-130B-687A-38BEC84E1FD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41" y="2497"/>
                <a:ext cx="120" cy="118"/>
              </a:xfrm>
              <a:custGeom>
                <a:avLst/>
                <a:gdLst>
                  <a:gd name="T0" fmla="*/ 18 w 596"/>
                  <a:gd name="T1" fmla="*/ 6 h 591"/>
                  <a:gd name="T2" fmla="*/ 21 w 596"/>
                  <a:gd name="T3" fmla="*/ 10 h 591"/>
                  <a:gd name="T4" fmla="*/ 21 w 596"/>
                  <a:gd name="T5" fmla="*/ 12 h 591"/>
                  <a:gd name="T6" fmla="*/ 22 w 596"/>
                  <a:gd name="T7" fmla="*/ 13 h 591"/>
                  <a:gd name="T8" fmla="*/ 22 w 596"/>
                  <a:gd name="T9" fmla="*/ 14 h 591"/>
                  <a:gd name="T10" fmla="*/ 22 w 596"/>
                  <a:gd name="T11" fmla="*/ 15 h 591"/>
                  <a:gd name="T12" fmla="*/ 21 w 596"/>
                  <a:gd name="T13" fmla="*/ 16 h 591"/>
                  <a:gd name="T14" fmla="*/ 22 w 596"/>
                  <a:gd name="T15" fmla="*/ 17 h 591"/>
                  <a:gd name="T16" fmla="*/ 22 w 596"/>
                  <a:gd name="T17" fmla="*/ 19 h 591"/>
                  <a:gd name="T18" fmla="*/ 23 w 596"/>
                  <a:gd name="T19" fmla="*/ 19 h 591"/>
                  <a:gd name="T20" fmla="*/ 24 w 596"/>
                  <a:gd name="T21" fmla="*/ 21 h 591"/>
                  <a:gd name="T22" fmla="*/ 24 w 596"/>
                  <a:gd name="T23" fmla="*/ 21 h 591"/>
                  <a:gd name="T24" fmla="*/ 22 w 596"/>
                  <a:gd name="T25" fmla="*/ 22 h 591"/>
                  <a:gd name="T26" fmla="*/ 19 w 596"/>
                  <a:gd name="T27" fmla="*/ 23 h 591"/>
                  <a:gd name="T28" fmla="*/ 18 w 596"/>
                  <a:gd name="T29" fmla="*/ 23 h 591"/>
                  <a:gd name="T30" fmla="*/ 15 w 596"/>
                  <a:gd name="T31" fmla="*/ 24 h 591"/>
                  <a:gd name="T32" fmla="*/ 14 w 596"/>
                  <a:gd name="T33" fmla="*/ 23 h 591"/>
                  <a:gd name="T34" fmla="*/ 13 w 596"/>
                  <a:gd name="T35" fmla="*/ 23 h 591"/>
                  <a:gd name="T36" fmla="*/ 11 w 596"/>
                  <a:gd name="T37" fmla="*/ 23 h 591"/>
                  <a:gd name="T38" fmla="*/ 11 w 596"/>
                  <a:gd name="T39" fmla="*/ 21 h 591"/>
                  <a:gd name="T40" fmla="*/ 10 w 596"/>
                  <a:gd name="T41" fmla="*/ 19 h 591"/>
                  <a:gd name="T42" fmla="*/ 9 w 596"/>
                  <a:gd name="T43" fmla="*/ 19 h 591"/>
                  <a:gd name="T44" fmla="*/ 8 w 596"/>
                  <a:gd name="T45" fmla="*/ 19 h 591"/>
                  <a:gd name="T46" fmla="*/ 7 w 596"/>
                  <a:gd name="T47" fmla="*/ 18 h 591"/>
                  <a:gd name="T48" fmla="*/ 5 w 596"/>
                  <a:gd name="T49" fmla="*/ 18 h 591"/>
                  <a:gd name="T50" fmla="*/ 4 w 596"/>
                  <a:gd name="T51" fmla="*/ 17 h 591"/>
                  <a:gd name="T52" fmla="*/ 3 w 596"/>
                  <a:gd name="T53" fmla="*/ 15 h 591"/>
                  <a:gd name="T54" fmla="*/ 2 w 596"/>
                  <a:gd name="T55" fmla="*/ 13 h 591"/>
                  <a:gd name="T56" fmla="*/ 0 w 596"/>
                  <a:gd name="T57" fmla="*/ 11 h 591"/>
                  <a:gd name="T58" fmla="*/ 0 w 596"/>
                  <a:gd name="T59" fmla="*/ 9 h 591"/>
                  <a:gd name="T60" fmla="*/ 0 w 596"/>
                  <a:gd name="T61" fmla="*/ 7 h 591"/>
                  <a:gd name="T62" fmla="*/ 2 w 596"/>
                  <a:gd name="T63" fmla="*/ 6 h 591"/>
                  <a:gd name="T64" fmla="*/ 3 w 596"/>
                  <a:gd name="T65" fmla="*/ 5 h 591"/>
                  <a:gd name="T66" fmla="*/ 2 w 596"/>
                  <a:gd name="T67" fmla="*/ 4 h 591"/>
                  <a:gd name="T68" fmla="*/ 2 w 596"/>
                  <a:gd name="T69" fmla="*/ 3 h 591"/>
                  <a:gd name="T70" fmla="*/ 3 w 596"/>
                  <a:gd name="T71" fmla="*/ 2 h 591"/>
                  <a:gd name="T72" fmla="*/ 3 w 596"/>
                  <a:gd name="T73" fmla="*/ 0 h 591"/>
                  <a:gd name="T74" fmla="*/ 5 w 596"/>
                  <a:gd name="T75" fmla="*/ 0 h 591"/>
                  <a:gd name="T76" fmla="*/ 5 w 596"/>
                  <a:gd name="T77" fmla="*/ 3 h 591"/>
                  <a:gd name="T78" fmla="*/ 5 w 596"/>
                  <a:gd name="T79" fmla="*/ 4 h 591"/>
                  <a:gd name="T80" fmla="*/ 6 w 596"/>
                  <a:gd name="T81" fmla="*/ 3 h 591"/>
                  <a:gd name="T82" fmla="*/ 7 w 596"/>
                  <a:gd name="T83" fmla="*/ 3 h 591"/>
                  <a:gd name="T84" fmla="*/ 7 w 596"/>
                  <a:gd name="T85" fmla="*/ 3 h 591"/>
                  <a:gd name="T86" fmla="*/ 9 w 596"/>
                  <a:gd name="T87" fmla="*/ 3 h 591"/>
                  <a:gd name="T88" fmla="*/ 8 w 596"/>
                  <a:gd name="T89" fmla="*/ 3 h 591"/>
                  <a:gd name="T90" fmla="*/ 8 w 596"/>
                  <a:gd name="T91" fmla="*/ 2 h 591"/>
                  <a:gd name="T92" fmla="*/ 9 w 596"/>
                  <a:gd name="T93" fmla="*/ 1 h 591"/>
                  <a:gd name="T94" fmla="*/ 10 w 596"/>
                  <a:gd name="T95" fmla="*/ 1 h 591"/>
                  <a:gd name="T96" fmla="*/ 10 w 596"/>
                  <a:gd name="T97" fmla="*/ 0 h 591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596"/>
                  <a:gd name="T148" fmla="*/ 0 h 591"/>
                  <a:gd name="T149" fmla="*/ 596 w 596"/>
                  <a:gd name="T150" fmla="*/ 591 h 591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596" h="591">
                    <a:moveTo>
                      <a:pt x="442" y="112"/>
                    </a:moveTo>
                    <a:lnTo>
                      <a:pt x="445" y="117"/>
                    </a:lnTo>
                    <a:lnTo>
                      <a:pt x="445" y="125"/>
                    </a:lnTo>
                    <a:lnTo>
                      <a:pt x="450" y="144"/>
                    </a:lnTo>
                    <a:lnTo>
                      <a:pt x="453" y="155"/>
                    </a:lnTo>
                    <a:lnTo>
                      <a:pt x="531" y="201"/>
                    </a:lnTo>
                    <a:lnTo>
                      <a:pt x="528" y="207"/>
                    </a:lnTo>
                    <a:lnTo>
                      <a:pt x="521" y="238"/>
                    </a:lnTo>
                    <a:lnTo>
                      <a:pt x="517" y="244"/>
                    </a:lnTo>
                    <a:lnTo>
                      <a:pt x="514" y="256"/>
                    </a:lnTo>
                    <a:lnTo>
                      <a:pt x="504" y="281"/>
                    </a:lnTo>
                    <a:lnTo>
                      <a:pt x="505" y="292"/>
                    </a:lnTo>
                    <a:lnTo>
                      <a:pt x="507" y="298"/>
                    </a:lnTo>
                    <a:lnTo>
                      <a:pt x="523" y="309"/>
                    </a:lnTo>
                    <a:lnTo>
                      <a:pt x="530" y="317"/>
                    </a:lnTo>
                    <a:lnTo>
                      <a:pt x="538" y="325"/>
                    </a:lnTo>
                    <a:lnTo>
                      <a:pt x="544" y="336"/>
                    </a:lnTo>
                    <a:lnTo>
                      <a:pt x="544" y="341"/>
                    </a:lnTo>
                    <a:lnTo>
                      <a:pt x="542" y="342"/>
                    </a:lnTo>
                    <a:lnTo>
                      <a:pt x="537" y="349"/>
                    </a:lnTo>
                    <a:lnTo>
                      <a:pt x="536" y="362"/>
                    </a:lnTo>
                    <a:lnTo>
                      <a:pt x="533" y="368"/>
                    </a:lnTo>
                    <a:lnTo>
                      <a:pt x="537" y="374"/>
                    </a:lnTo>
                    <a:lnTo>
                      <a:pt x="536" y="380"/>
                    </a:lnTo>
                    <a:lnTo>
                      <a:pt x="538" y="385"/>
                    </a:lnTo>
                    <a:lnTo>
                      <a:pt x="537" y="395"/>
                    </a:lnTo>
                    <a:lnTo>
                      <a:pt x="531" y="395"/>
                    </a:lnTo>
                    <a:lnTo>
                      <a:pt x="528" y="402"/>
                    </a:lnTo>
                    <a:lnTo>
                      <a:pt x="531" y="412"/>
                    </a:lnTo>
                    <a:lnTo>
                      <a:pt x="537" y="425"/>
                    </a:lnTo>
                    <a:lnTo>
                      <a:pt x="542" y="429"/>
                    </a:lnTo>
                    <a:lnTo>
                      <a:pt x="542" y="432"/>
                    </a:lnTo>
                    <a:lnTo>
                      <a:pt x="538" y="435"/>
                    </a:lnTo>
                    <a:lnTo>
                      <a:pt x="550" y="455"/>
                    </a:lnTo>
                    <a:lnTo>
                      <a:pt x="552" y="460"/>
                    </a:lnTo>
                    <a:lnTo>
                      <a:pt x="550" y="467"/>
                    </a:lnTo>
                    <a:lnTo>
                      <a:pt x="555" y="472"/>
                    </a:lnTo>
                    <a:lnTo>
                      <a:pt x="558" y="478"/>
                    </a:lnTo>
                    <a:lnTo>
                      <a:pt x="558" y="484"/>
                    </a:lnTo>
                    <a:lnTo>
                      <a:pt x="561" y="488"/>
                    </a:lnTo>
                    <a:lnTo>
                      <a:pt x="561" y="497"/>
                    </a:lnTo>
                    <a:lnTo>
                      <a:pt x="573" y="503"/>
                    </a:lnTo>
                    <a:lnTo>
                      <a:pt x="577" y="513"/>
                    </a:lnTo>
                    <a:lnTo>
                      <a:pt x="587" y="514"/>
                    </a:lnTo>
                    <a:lnTo>
                      <a:pt x="592" y="518"/>
                    </a:lnTo>
                    <a:lnTo>
                      <a:pt x="595" y="519"/>
                    </a:lnTo>
                    <a:lnTo>
                      <a:pt x="596" y="525"/>
                    </a:lnTo>
                    <a:lnTo>
                      <a:pt x="593" y="526"/>
                    </a:lnTo>
                    <a:lnTo>
                      <a:pt x="579" y="536"/>
                    </a:lnTo>
                    <a:lnTo>
                      <a:pt x="564" y="550"/>
                    </a:lnTo>
                    <a:lnTo>
                      <a:pt x="560" y="552"/>
                    </a:lnTo>
                    <a:lnTo>
                      <a:pt x="541" y="557"/>
                    </a:lnTo>
                    <a:lnTo>
                      <a:pt x="507" y="569"/>
                    </a:lnTo>
                    <a:lnTo>
                      <a:pt x="499" y="570"/>
                    </a:lnTo>
                    <a:lnTo>
                      <a:pt x="489" y="570"/>
                    </a:lnTo>
                    <a:lnTo>
                      <a:pt x="476" y="564"/>
                    </a:lnTo>
                    <a:lnTo>
                      <a:pt x="467" y="567"/>
                    </a:lnTo>
                    <a:lnTo>
                      <a:pt x="453" y="568"/>
                    </a:lnTo>
                    <a:lnTo>
                      <a:pt x="440" y="581"/>
                    </a:lnTo>
                    <a:lnTo>
                      <a:pt x="436" y="583"/>
                    </a:lnTo>
                    <a:lnTo>
                      <a:pt x="429" y="583"/>
                    </a:lnTo>
                    <a:lnTo>
                      <a:pt x="398" y="581"/>
                    </a:lnTo>
                    <a:lnTo>
                      <a:pt x="387" y="589"/>
                    </a:lnTo>
                    <a:lnTo>
                      <a:pt x="378" y="589"/>
                    </a:lnTo>
                    <a:lnTo>
                      <a:pt x="371" y="591"/>
                    </a:lnTo>
                    <a:lnTo>
                      <a:pt x="366" y="590"/>
                    </a:lnTo>
                    <a:lnTo>
                      <a:pt x="361" y="588"/>
                    </a:lnTo>
                    <a:lnTo>
                      <a:pt x="355" y="580"/>
                    </a:lnTo>
                    <a:lnTo>
                      <a:pt x="348" y="578"/>
                    </a:lnTo>
                    <a:lnTo>
                      <a:pt x="340" y="578"/>
                    </a:lnTo>
                    <a:lnTo>
                      <a:pt x="334" y="583"/>
                    </a:lnTo>
                    <a:lnTo>
                      <a:pt x="331" y="584"/>
                    </a:lnTo>
                    <a:lnTo>
                      <a:pt x="290" y="583"/>
                    </a:lnTo>
                    <a:lnTo>
                      <a:pt x="290" y="579"/>
                    </a:lnTo>
                    <a:lnTo>
                      <a:pt x="285" y="570"/>
                    </a:lnTo>
                    <a:lnTo>
                      <a:pt x="280" y="567"/>
                    </a:lnTo>
                    <a:lnTo>
                      <a:pt x="275" y="559"/>
                    </a:lnTo>
                    <a:lnTo>
                      <a:pt x="274" y="557"/>
                    </a:lnTo>
                    <a:lnTo>
                      <a:pt x="275" y="538"/>
                    </a:lnTo>
                    <a:lnTo>
                      <a:pt x="270" y="531"/>
                    </a:lnTo>
                    <a:lnTo>
                      <a:pt x="269" y="513"/>
                    </a:lnTo>
                    <a:lnTo>
                      <a:pt x="264" y="494"/>
                    </a:lnTo>
                    <a:lnTo>
                      <a:pt x="261" y="487"/>
                    </a:lnTo>
                    <a:lnTo>
                      <a:pt x="249" y="476"/>
                    </a:lnTo>
                    <a:lnTo>
                      <a:pt x="237" y="472"/>
                    </a:lnTo>
                    <a:lnTo>
                      <a:pt x="232" y="480"/>
                    </a:lnTo>
                    <a:lnTo>
                      <a:pt x="230" y="476"/>
                    </a:lnTo>
                    <a:lnTo>
                      <a:pt x="229" y="473"/>
                    </a:lnTo>
                    <a:lnTo>
                      <a:pt x="226" y="472"/>
                    </a:lnTo>
                    <a:lnTo>
                      <a:pt x="221" y="472"/>
                    </a:lnTo>
                    <a:lnTo>
                      <a:pt x="210" y="476"/>
                    </a:lnTo>
                    <a:lnTo>
                      <a:pt x="208" y="475"/>
                    </a:lnTo>
                    <a:lnTo>
                      <a:pt x="203" y="468"/>
                    </a:lnTo>
                    <a:lnTo>
                      <a:pt x="193" y="470"/>
                    </a:lnTo>
                    <a:lnTo>
                      <a:pt x="182" y="462"/>
                    </a:lnTo>
                    <a:lnTo>
                      <a:pt x="178" y="459"/>
                    </a:lnTo>
                    <a:lnTo>
                      <a:pt x="176" y="456"/>
                    </a:lnTo>
                    <a:lnTo>
                      <a:pt x="165" y="456"/>
                    </a:lnTo>
                    <a:lnTo>
                      <a:pt x="154" y="452"/>
                    </a:lnTo>
                    <a:lnTo>
                      <a:pt x="125" y="440"/>
                    </a:lnTo>
                    <a:lnTo>
                      <a:pt x="117" y="438"/>
                    </a:lnTo>
                    <a:lnTo>
                      <a:pt x="109" y="434"/>
                    </a:lnTo>
                    <a:lnTo>
                      <a:pt x="105" y="427"/>
                    </a:lnTo>
                    <a:lnTo>
                      <a:pt x="95" y="418"/>
                    </a:lnTo>
                    <a:lnTo>
                      <a:pt x="87" y="416"/>
                    </a:lnTo>
                    <a:lnTo>
                      <a:pt x="81" y="417"/>
                    </a:lnTo>
                    <a:lnTo>
                      <a:pt x="70" y="398"/>
                    </a:lnTo>
                    <a:lnTo>
                      <a:pt x="65" y="386"/>
                    </a:lnTo>
                    <a:lnTo>
                      <a:pt x="58" y="374"/>
                    </a:lnTo>
                    <a:lnTo>
                      <a:pt x="49" y="352"/>
                    </a:lnTo>
                    <a:lnTo>
                      <a:pt x="50" y="338"/>
                    </a:lnTo>
                    <a:lnTo>
                      <a:pt x="49" y="328"/>
                    </a:lnTo>
                    <a:lnTo>
                      <a:pt x="31" y="310"/>
                    </a:lnTo>
                    <a:lnTo>
                      <a:pt x="9" y="298"/>
                    </a:lnTo>
                    <a:lnTo>
                      <a:pt x="6" y="284"/>
                    </a:lnTo>
                    <a:lnTo>
                      <a:pt x="11" y="278"/>
                    </a:lnTo>
                    <a:lnTo>
                      <a:pt x="15" y="272"/>
                    </a:lnTo>
                    <a:lnTo>
                      <a:pt x="11" y="258"/>
                    </a:lnTo>
                    <a:lnTo>
                      <a:pt x="9" y="246"/>
                    </a:lnTo>
                    <a:lnTo>
                      <a:pt x="9" y="231"/>
                    </a:lnTo>
                    <a:lnTo>
                      <a:pt x="5" y="225"/>
                    </a:lnTo>
                    <a:lnTo>
                      <a:pt x="1" y="222"/>
                    </a:lnTo>
                    <a:lnTo>
                      <a:pt x="0" y="206"/>
                    </a:lnTo>
                    <a:lnTo>
                      <a:pt x="0" y="187"/>
                    </a:lnTo>
                    <a:lnTo>
                      <a:pt x="3" y="186"/>
                    </a:lnTo>
                    <a:lnTo>
                      <a:pt x="14" y="183"/>
                    </a:lnTo>
                    <a:lnTo>
                      <a:pt x="28" y="179"/>
                    </a:lnTo>
                    <a:lnTo>
                      <a:pt x="39" y="159"/>
                    </a:lnTo>
                    <a:lnTo>
                      <a:pt x="44" y="153"/>
                    </a:lnTo>
                    <a:lnTo>
                      <a:pt x="50" y="139"/>
                    </a:lnTo>
                    <a:lnTo>
                      <a:pt x="60" y="127"/>
                    </a:lnTo>
                    <a:lnTo>
                      <a:pt x="64" y="121"/>
                    </a:lnTo>
                    <a:lnTo>
                      <a:pt x="64" y="113"/>
                    </a:lnTo>
                    <a:lnTo>
                      <a:pt x="62" y="107"/>
                    </a:lnTo>
                    <a:lnTo>
                      <a:pt x="58" y="104"/>
                    </a:lnTo>
                    <a:lnTo>
                      <a:pt x="52" y="102"/>
                    </a:lnTo>
                    <a:lnTo>
                      <a:pt x="48" y="99"/>
                    </a:lnTo>
                    <a:lnTo>
                      <a:pt x="48" y="95"/>
                    </a:lnTo>
                    <a:lnTo>
                      <a:pt x="48" y="89"/>
                    </a:lnTo>
                    <a:lnTo>
                      <a:pt x="49" y="83"/>
                    </a:lnTo>
                    <a:lnTo>
                      <a:pt x="54" y="78"/>
                    </a:lnTo>
                    <a:lnTo>
                      <a:pt x="65" y="63"/>
                    </a:lnTo>
                    <a:lnTo>
                      <a:pt x="68" y="53"/>
                    </a:lnTo>
                    <a:lnTo>
                      <a:pt x="66" y="46"/>
                    </a:lnTo>
                    <a:lnTo>
                      <a:pt x="62" y="31"/>
                    </a:lnTo>
                    <a:lnTo>
                      <a:pt x="49" y="10"/>
                    </a:lnTo>
                    <a:lnTo>
                      <a:pt x="44" y="3"/>
                    </a:lnTo>
                    <a:lnTo>
                      <a:pt x="66" y="5"/>
                    </a:lnTo>
                    <a:lnTo>
                      <a:pt x="73" y="2"/>
                    </a:lnTo>
                    <a:lnTo>
                      <a:pt x="73" y="0"/>
                    </a:lnTo>
                    <a:lnTo>
                      <a:pt x="118" y="0"/>
                    </a:lnTo>
                    <a:lnTo>
                      <a:pt x="119" y="7"/>
                    </a:lnTo>
                    <a:lnTo>
                      <a:pt x="118" y="26"/>
                    </a:lnTo>
                    <a:lnTo>
                      <a:pt x="114" y="40"/>
                    </a:lnTo>
                    <a:lnTo>
                      <a:pt x="113" y="61"/>
                    </a:lnTo>
                    <a:lnTo>
                      <a:pt x="118" y="83"/>
                    </a:lnTo>
                    <a:lnTo>
                      <a:pt x="117" y="90"/>
                    </a:lnTo>
                    <a:lnTo>
                      <a:pt x="122" y="99"/>
                    </a:lnTo>
                    <a:lnTo>
                      <a:pt x="129" y="95"/>
                    </a:lnTo>
                    <a:lnTo>
                      <a:pt x="133" y="88"/>
                    </a:lnTo>
                    <a:lnTo>
                      <a:pt x="139" y="86"/>
                    </a:lnTo>
                    <a:lnTo>
                      <a:pt x="138" y="78"/>
                    </a:lnTo>
                    <a:lnTo>
                      <a:pt x="143" y="72"/>
                    </a:lnTo>
                    <a:lnTo>
                      <a:pt x="148" y="75"/>
                    </a:lnTo>
                    <a:lnTo>
                      <a:pt x="157" y="85"/>
                    </a:lnTo>
                    <a:lnTo>
                      <a:pt x="163" y="90"/>
                    </a:lnTo>
                    <a:lnTo>
                      <a:pt x="170" y="86"/>
                    </a:lnTo>
                    <a:lnTo>
                      <a:pt x="173" y="86"/>
                    </a:lnTo>
                    <a:lnTo>
                      <a:pt x="176" y="107"/>
                    </a:lnTo>
                    <a:lnTo>
                      <a:pt x="183" y="101"/>
                    </a:lnTo>
                    <a:lnTo>
                      <a:pt x="182" y="94"/>
                    </a:lnTo>
                    <a:lnTo>
                      <a:pt x="186" y="84"/>
                    </a:lnTo>
                    <a:lnTo>
                      <a:pt x="189" y="83"/>
                    </a:lnTo>
                    <a:lnTo>
                      <a:pt x="200" y="83"/>
                    </a:lnTo>
                    <a:lnTo>
                      <a:pt x="205" y="83"/>
                    </a:lnTo>
                    <a:lnTo>
                      <a:pt x="214" y="79"/>
                    </a:lnTo>
                    <a:lnTo>
                      <a:pt x="225" y="72"/>
                    </a:lnTo>
                    <a:lnTo>
                      <a:pt x="226" y="69"/>
                    </a:lnTo>
                    <a:lnTo>
                      <a:pt x="224" y="64"/>
                    </a:lnTo>
                    <a:lnTo>
                      <a:pt x="209" y="66"/>
                    </a:lnTo>
                    <a:lnTo>
                      <a:pt x="200" y="62"/>
                    </a:lnTo>
                    <a:lnTo>
                      <a:pt x="202" y="58"/>
                    </a:lnTo>
                    <a:lnTo>
                      <a:pt x="211" y="52"/>
                    </a:lnTo>
                    <a:lnTo>
                      <a:pt x="209" y="48"/>
                    </a:lnTo>
                    <a:lnTo>
                      <a:pt x="211" y="46"/>
                    </a:lnTo>
                    <a:lnTo>
                      <a:pt x="219" y="46"/>
                    </a:lnTo>
                    <a:lnTo>
                      <a:pt x="220" y="42"/>
                    </a:lnTo>
                    <a:lnTo>
                      <a:pt x="225" y="35"/>
                    </a:lnTo>
                    <a:lnTo>
                      <a:pt x="226" y="30"/>
                    </a:lnTo>
                    <a:lnTo>
                      <a:pt x="231" y="29"/>
                    </a:lnTo>
                    <a:lnTo>
                      <a:pt x="234" y="20"/>
                    </a:lnTo>
                    <a:lnTo>
                      <a:pt x="238" y="21"/>
                    </a:lnTo>
                    <a:lnTo>
                      <a:pt x="240" y="18"/>
                    </a:lnTo>
                    <a:lnTo>
                      <a:pt x="236" y="12"/>
                    </a:lnTo>
                    <a:lnTo>
                      <a:pt x="240" y="5"/>
                    </a:lnTo>
                    <a:lnTo>
                      <a:pt x="251" y="0"/>
                    </a:lnTo>
                    <a:lnTo>
                      <a:pt x="442" y="11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87" name="Freeform 53">
                <a:extLst>
                  <a:ext uri="{FF2B5EF4-FFF2-40B4-BE49-F238E27FC236}">
                    <a16:creationId xmlns:a16="http://schemas.microsoft.com/office/drawing/2014/main" id="{7A698AB6-40F1-6E7D-24F0-5180C19A694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70" y="2377"/>
                <a:ext cx="33" cy="33"/>
              </a:xfrm>
              <a:custGeom>
                <a:avLst/>
                <a:gdLst>
                  <a:gd name="T0" fmla="*/ 0 w 167"/>
                  <a:gd name="T1" fmla="*/ 2 h 166"/>
                  <a:gd name="T2" fmla="*/ 1 w 167"/>
                  <a:gd name="T3" fmla="*/ 2 h 166"/>
                  <a:gd name="T4" fmla="*/ 1 w 167"/>
                  <a:gd name="T5" fmla="*/ 2 h 166"/>
                  <a:gd name="T6" fmla="*/ 1 w 167"/>
                  <a:gd name="T7" fmla="*/ 1 h 166"/>
                  <a:gd name="T8" fmla="*/ 1 w 167"/>
                  <a:gd name="T9" fmla="*/ 1 h 166"/>
                  <a:gd name="T10" fmla="*/ 2 w 167"/>
                  <a:gd name="T11" fmla="*/ 1 h 166"/>
                  <a:gd name="T12" fmla="*/ 2 w 167"/>
                  <a:gd name="T13" fmla="*/ 0 h 166"/>
                  <a:gd name="T14" fmla="*/ 2 w 167"/>
                  <a:gd name="T15" fmla="*/ 0 h 166"/>
                  <a:gd name="T16" fmla="*/ 3 w 167"/>
                  <a:gd name="T17" fmla="*/ 0 h 166"/>
                  <a:gd name="T18" fmla="*/ 3 w 167"/>
                  <a:gd name="T19" fmla="*/ 0 h 166"/>
                  <a:gd name="T20" fmla="*/ 5 w 167"/>
                  <a:gd name="T21" fmla="*/ 0 h 166"/>
                  <a:gd name="T22" fmla="*/ 5 w 167"/>
                  <a:gd name="T23" fmla="*/ 0 h 166"/>
                  <a:gd name="T24" fmla="*/ 5 w 167"/>
                  <a:gd name="T25" fmla="*/ 1 h 166"/>
                  <a:gd name="T26" fmla="*/ 5 w 167"/>
                  <a:gd name="T27" fmla="*/ 1 h 166"/>
                  <a:gd name="T28" fmla="*/ 5 w 167"/>
                  <a:gd name="T29" fmla="*/ 1 h 166"/>
                  <a:gd name="T30" fmla="*/ 6 w 167"/>
                  <a:gd name="T31" fmla="*/ 1 h 166"/>
                  <a:gd name="T32" fmla="*/ 6 w 167"/>
                  <a:gd name="T33" fmla="*/ 2 h 166"/>
                  <a:gd name="T34" fmla="*/ 6 w 167"/>
                  <a:gd name="T35" fmla="*/ 2 h 166"/>
                  <a:gd name="T36" fmla="*/ 6 w 167"/>
                  <a:gd name="T37" fmla="*/ 2 h 166"/>
                  <a:gd name="T38" fmla="*/ 6 w 167"/>
                  <a:gd name="T39" fmla="*/ 2 h 166"/>
                  <a:gd name="T40" fmla="*/ 6 w 167"/>
                  <a:gd name="T41" fmla="*/ 3 h 166"/>
                  <a:gd name="T42" fmla="*/ 6 w 167"/>
                  <a:gd name="T43" fmla="*/ 3 h 166"/>
                  <a:gd name="T44" fmla="*/ 6 w 167"/>
                  <a:gd name="T45" fmla="*/ 4 h 166"/>
                  <a:gd name="T46" fmla="*/ 6 w 167"/>
                  <a:gd name="T47" fmla="*/ 3 h 166"/>
                  <a:gd name="T48" fmla="*/ 6 w 167"/>
                  <a:gd name="T49" fmla="*/ 3 h 166"/>
                  <a:gd name="T50" fmla="*/ 6 w 167"/>
                  <a:gd name="T51" fmla="*/ 4 h 166"/>
                  <a:gd name="T52" fmla="*/ 7 w 167"/>
                  <a:gd name="T53" fmla="*/ 4 h 166"/>
                  <a:gd name="T54" fmla="*/ 6 w 167"/>
                  <a:gd name="T55" fmla="*/ 4 h 166"/>
                  <a:gd name="T56" fmla="*/ 6 w 167"/>
                  <a:gd name="T57" fmla="*/ 5 h 166"/>
                  <a:gd name="T58" fmla="*/ 6 w 167"/>
                  <a:gd name="T59" fmla="*/ 5 h 166"/>
                  <a:gd name="T60" fmla="*/ 5 w 167"/>
                  <a:gd name="T61" fmla="*/ 5 h 166"/>
                  <a:gd name="T62" fmla="*/ 5 w 167"/>
                  <a:gd name="T63" fmla="*/ 6 h 166"/>
                  <a:gd name="T64" fmla="*/ 4 w 167"/>
                  <a:gd name="T65" fmla="*/ 6 h 166"/>
                  <a:gd name="T66" fmla="*/ 4 w 167"/>
                  <a:gd name="T67" fmla="*/ 6 h 166"/>
                  <a:gd name="T68" fmla="*/ 4 w 167"/>
                  <a:gd name="T69" fmla="*/ 6 h 166"/>
                  <a:gd name="T70" fmla="*/ 4 w 167"/>
                  <a:gd name="T71" fmla="*/ 7 h 166"/>
                  <a:gd name="T72" fmla="*/ 2 w 167"/>
                  <a:gd name="T73" fmla="*/ 6 h 166"/>
                  <a:gd name="T74" fmla="*/ 2 w 167"/>
                  <a:gd name="T75" fmla="*/ 6 h 166"/>
                  <a:gd name="T76" fmla="*/ 1 w 167"/>
                  <a:gd name="T77" fmla="*/ 5 h 166"/>
                  <a:gd name="T78" fmla="*/ 1 w 167"/>
                  <a:gd name="T79" fmla="*/ 5 h 166"/>
                  <a:gd name="T80" fmla="*/ 1 w 167"/>
                  <a:gd name="T81" fmla="*/ 4 h 166"/>
                  <a:gd name="T82" fmla="*/ 1 w 167"/>
                  <a:gd name="T83" fmla="*/ 4 h 166"/>
                  <a:gd name="T84" fmla="*/ 0 w 167"/>
                  <a:gd name="T85" fmla="*/ 4 h 166"/>
                  <a:gd name="T86" fmla="*/ 0 w 167"/>
                  <a:gd name="T87" fmla="*/ 3 h 166"/>
                  <a:gd name="T88" fmla="*/ 1 w 167"/>
                  <a:gd name="T89" fmla="*/ 3 h 166"/>
                  <a:gd name="T90" fmla="*/ 0 w 167"/>
                  <a:gd name="T91" fmla="*/ 3 h 166"/>
                  <a:gd name="T92" fmla="*/ 0 w 167"/>
                  <a:gd name="T93" fmla="*/ 3 h 166"/>
                  <a:gd name="T94" fmla="*/ 0 w 167"/>
                  <a:gd name="T95" fmla="*/ 3 h 166"/>
                  <a:gd name="T96" fmla="*/ 0 w 167"/>
                  <a:gd name="T97" fmla="*/ 2 h 166"/>
                  <a:gd name="T98" fmla="*/ 0 w 167"/>
                  <a:gd name="T99" fmla="*/ 2 h 16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167"/>
                  <a:gd name="T151" fmla="*/ 0 h 166"/>
                  <a:gd name="T152" fmla="*/ 167 w 167"/>
                  <a:gd name="T153" fmla="*/ 166 h 16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167" h="166">
                    <a:moveTo>
                      <a:pt x="2" y="49"/>
                    </a:moveTo>
                    <a:lnTo>
                      <a:pt x="8" y="51"/>
                    </a:lnTo>
                    <a:lnTo>
                      <a:pt x="14" y="51"/>
                    </a:lnTo>
                    <a:lnTo>
                      <a:pt x="17" y="50"/>
                    </a:lnTo>
                    <a:lnTo>
                      <a:pt x="19" y="49"/>
                    </a:lnTo>
                    <a:lnTo>
                      <a:pt x="23" y="39"/>
                    </a:lnTo>
                    <a:lnTo>
                      <a:pt x="28" y="39"/>
                    </a:lnTo>
                    <a:lnTo>
                      <a:pt x="32" y="37"/>
                    </a:lnTo>
                    <a:lnTo>
                      <a:pt x="32" y="32"/>
                    </a:lnTo>
                    <a:lnTo>
                      <a:pt x="37" y="31"/>
                    </a:lnTo>
                    <a:lnTo>
                      <a:pt x="43" y="23"/>
                    </a:lnTo>
                    <a:lnTo>
                      <a:pt x="46" y="16"/>
                    </a:lnTo>
                    <a:lnTo>
                      <a:pt x="45" y="7"/>
                    </a:lnTo>
                    <a:lnTo>
                      <a:pt x="49" y="6"/>
                    </a:lnTo>
                    <a:lnTo>
                      <a:pt x="57" y="5"/>
                    </a:lnTo>
                    <a:lnTo>
                      <a:pt x="61" y="7"/>
                    </a:lnTo>
                    <a:lnTo>
                      <a:pt x="65" y="7"/>
                    </a:lnTo>
                    <a:lnTo>
                      <a:pt x="70" y="5"/>
                    </a:lnTo>
                    <a:lnTo>
                      <a:pt x="76" y="5"/>
                    </a:lnTo>
                    <a:lnTo>
                      <a:pt x="76" y="0"/>
                    </a:lnTo>
                    <a:lnTo>
                      <a:pt x="102" y="0"/>
                    </a:lnTo>
                    <a:lnTo>
                      <a:pt x="115" y="1"/>
                    </a:lnTo>
                    <a:lnTo>
                      <a:pt x="119" y="8"/>
                    </a:lnTo>
                    <a:lnTo>
                      <a:pt x="125" y="12"/>
                    </a:lnTo>
                    <a:lnTo>
                      <a:pt x="129" y="17"/>
                    </a:lnTo>
                    <a:lnTo>
                      <a:pt x="134" y="21"/>
                    </a:lnTo>
                    <a:lnTo>
                      <a:pt x="134" y="23"/>
                    </a:lnTo>
                    <a:lnTo>
                      <a:pt x="136" y="27"/>
                    </a:lnTo>
                    <a:lnTo>
                      <a:pt x="135" y="29"/>
                    </a:lnTo>
                    <a:lnTo>
                      <a:pt x="135" y="32"/>
                    </a:lnTo>
                    <a:lnTo>
                      <a:pt x="142" y="34"/>
                    </a:lnTo>
                    <a:lnTo>
                      <a:pt x="145" y="35"/>
                    </a:lnTo>
                    <a:lnTo>
                      <a:pt x="145" y="38"/>
                    </a:lnTo>
                    <a:lnTo>
                      <a:pt x="143" y="40"/>
                    </a:lnTo>
                    <a:lnTo>
                      <a:pt x="145" y="45"/>
                    </a:lnTo>
                    <a:lnTo>
                      <a:pt x="143" y="45"/>
                    </a:lnTo>
                    <a:lnTo>
                      <a:pt x="145" y="50"/>
                    </a:lnTo>
                    <a:lnTo>
                      <a:pt x="146" y="53"/>
                    </a:lnTo>
                    <a:lnTo>
                      <a:pt x="151" y="56"/>
                    </a:lnTo>
                    <a:lnTo>
                      <a:pt x="152" y="60"/>
                    </a:lnTo>
                    <a:lnTo>
                      <a:pt x="155" y="70"/>
                    </a:lnTo>
                    <a:lnTo>
                      <a:pt x="153" y="71"/>
                    </a:lnTo>
                    <a:lnTo>
                      <a:pt x="148" y="74"/>
                    </a:lnTo>
                    <a:lnTo>
                      <a:pt x="146" y="85"/>
                    </a:lnTo>
                    <a:lnTo>
                      <a:pt x="143" y="90"/>
                    </a:lnTo>
                    <a:lnTo>
                      <a:pt x="143" y="92"/>
                    </a:lnTo>
                    <a:lnTo>
                      <a:pt x="156" y="87"/>
                    </a:lnTo>
                    <a:lnTo>
                      <a:pt x="162" y="82"/>
                    </a:lnTo>
                    <a:lnTo>
                      <a:pt x="163" y="82"/>
                    </a:lnTo>
                    <a:lnTo>
                      <a:pt x="164" y="85"/>
                    </a:lnTo>
                    <a:lnTo>
                      <a:pt x="164" y="88"/>
                    </a:lnTo>
                    <a:lnTo>
                      <a:pt x="163" y="93"/>
                    </a:lnTo>
                    <a:lnTo>
                      <a:pt x="167" y="97"/>
                    </a:lnTo>
                    <a:lnTo>
                      <a:pt x="167" y="98"/>
                    </a:lnTo>
                    <a:lnTo>
                      <a:pt x="157" y="99"/>
                    </a:lnTo>
                    <a:lnTo>
                      <a:pt x="152" y="105"/>
                    </a:lnTo>
                    <a:lnTo>
                      <a:pt x="150" y="107"/>
                    </a:lnTo>
                    <a:lnTo>
                      <a:pt x="150" y="123"/>
                    </a:lnTo>
                    <a:lnTo>
                      <a:pt x="146" y="124"/>
                    </a:lnTo>
                    <a:lnTo>
                      <a:pt x="143" y="129"/>
                    </a:lnTo>
                    <a:lnTo>
                      <a:pt x="140" y="129"/>
                    </a:lnTo>
                    <a:lnTo>
                      <a:pt x="136" y="136"/>
                    </a:lnTo>
                    <a:lnTo>
                      <a:pt x="130" y="137"/>
                    </a:lnTo>
                    <a:lnTo>
                      <a:pt x="121" y="146"/>
                    </a:lnTo>
                    <a:lnTo>
                      <a:pt x="118" y="148"/>
                    </a:lnTo>
                    <a:lnTo>
                      <a:pt x="113" y="148"/>
                    </a:lnTo>
                    <a:lnTo>
                      <a:pt x="112" y="151"/>
                    </a:lnTo>
                    <a:lnTo>
                      <a:pt x="112" y="156"/>
                    </a:lnTo>
                    <a:lnTo>
                      <a:pt x="109" y="157"/>
                    </a:lnTo>
                    <a:lnTo>
                      <a:pt x="108" y="163"/>
                    </a:lnTo>
                    <a:lnTo>
                      <a:pt x="103" y="166"/>
                    </a:lnTo>
                    <a:lnTo>
                      <a:pt x="102" y="166"/>
                    </a:lnTo>
                    <a:lnTo>
                      <a:pt x="91" y="163"/>
                    </a:lnTo>
                    <a:lnTo>
                      <a:pt x="61" y="147"/>
                    </a:lnTo>
                    <a:lnTo>
                      <a:pt x="53" y="146"/>
                    </a:lnTo>
                    <a:lnTo>
                      <a:pt x="51" y="140"/>
                    </a:lnTo>
                    <a:lnTo>
                      <a:pt x="48" y="135"/>
                    </a:lnTo>
                    <a:lnTo>
                      <a:pt x="32" y="124"/>
                    </a:lnTo>
                    <a:lnTo>
                      <a:pt x="24" y="120"/>
                    </a:lnTo>
                    <a:lnTo>
                      <a:pt x="23" y="118"/>
                    </a:lnTo>
                    <a:lnTo>
                      <a:pt x="23" y="113"/>
                    </a:lnTo>
                    <a:lnTo>
                      <a:pt x="22" y="110"/>
                    </a:lnTo>
                    <a:lnTo>
                      <a:pt x="22" y="107"/>
                    </a:lnTo>
                    <a:lnTo>
                      <a:pt x="16" y="102"/>
                    </a:lnTo>
                    <a:lnTo>
                      <a:pt x="10" y="102"/>
                    </a:lnTo>
                    <a:lnTo>
                      <a:pt x="5" y="93"/>
                    </a:lnTo>
                    <a:lnTo>
                      <a:pt x="5" y="86"/>
                    </a:lnTo>
                    <a:lnTo>
                      <a:pt x="8" y="86"/>
                    </a:lnTo>
                    <a:lnTo>
                      <a:pt x="10" y="87"/>
                    </a:lnTo>
                    <a:lnTo>
                      <a:pt x="13" y="87"/>
                    </a:lnTo>
                    <a:lnTo>
                      <a:pt x="13" y="86"/>
                    </a:lnTo>
                    <a:lnTo>
                      <a:pt x="11" y="82"/>
                    </a:lnTo>
                    <a:lnTo>
                      <a:pt x="7" y="81"/>
                    </a:lnTo>
                    <a:lnTo>
                      <a:pt x="5" y="78"/>
                    </a:lnTo>
                    <a:lnTo>
                      <a:pt x="6" y="71"/>
                    </a:lnTo>
                    <a:lnTo>
                      <a:pt x="5" y="65"/>
                    </a:lnTo>
                    <a:lnTo>
                      <a:pt x="3" y="62"/>
                    </a:lnTo>
                    <a:lnTo>
                      <a:pt x="0" y="60"/>
                    </a:lnTo>
                    <a:lnTo>
                      <a:pt x="0" y="55"/>
                    </a:lnTo>
                    <a:lnTo>
                      <a:pt x="2" y="4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88" name="Freeform 54">
                <a:extLst>
                  <a:ext uri="{FF2B5EF4-FFF2-40B4-BE49-F238E27FC236}">
                    <a16:creationId xmlns:a16="http://schemas.microsoft.com/office/drawing/2014/main" id="{774A2D47-AF5B-1858-92EA-7E39F2C8968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22" y="2369"/>
                <a:ext cx="67" cy="70"/>
              </a:xfrm>
              <a:custGeom>
                <a:avLst/>
                <a:gdLst>
                  <a:gd name="T0" fmla="*/ 4 w 337"/>
                  <a:gd name="T1" fmla="*/ 13 h 354"/>
                  <a:gd name="T2" fmla="*/ 7 w 337"/>
                  <a:gd name="T3" fmla="*/ 12 h 354"/>
                  <a:gd name="T4" fmla="*/ 10 w 337"/>
                  <a:gd name="T5" fmla="*/ 12 h 354"/>
                  <a:gd name="T6" fmla="*/ 12 w 337"/>
                  <a:gd name="T7" fmla="*/ 12 h 354"/>
                  <a:gd name="T8" fmla="*/ 13 w 337"/>
                  <a:gd name="T9" fmla="*/ 12 h 354"/>
                  <a:gd name="T10" fmla="*/ 13 w 337"/>
                  <a:gd name="T11" fmla="*/ 11 h 354"/>
                  <a:gd name="T12" fmla="*/ 12 w 337"/>
                  <a:gd name="T13" fmla="*/ 9 h 354"/>
                  <a:gd name="T14" fmla="*/ 12 w 337"/>
                  <a:gd name="T15" fmla="*/ 8 h 354"/>
                  <a:gd name="T16" fmla="*/ 13 w 337"/>
                  <a:gd name="T17" fmla="*/ 6 h 354"/>
                  <a:gd name="T18" fmla="*/ 13 w 337"/>
                  <a:gd name="T19" fmla="*/ 6 h 354"/>
                  <a:gd name="T20" fmla="*/ 13 w 337"/>
                  <a:gd name="T21" fmla="*/ 4 h 354"/>
                  <a:gd name="T22" fmla="*/ 13 w 337"/>
                  <a:gd name="T23" fmla="*/ 3 h 354"/>
                  <a:gd name="T24" fmla="*/ 13 w 337"/>
                  <a:gd name="T25" fmla="*/ 3 h 354"/>
                  <a:gd name="T26" fmla="*/ 12 w 337"/>
                  <a:gd name="T27" fmla="*/ 2 h 354"/>
                  <a:gd name="T28" fmla="*/ 12 w 337"/>
                  <a:gd name="T29" fmla="*/ 2 h 354"/>
                  <a:gd name="T30" fmla="*/ 10 w 337"/>
                  <a:gd name="T31" fmla="*/ 2 h 354"/>
                  <a:gd name="T32" fmla="*/ 9 w 337"/>
                  <a:gd name="T33" fmla="*/ 2 h 354"/>
                  <a:gd name="T34" fmla="*/ 9 w 337"/>
                  <a:gd name="T35" fmla="*/ 2 h 354"/>
                  <a:gd name="T36" fmla="*/ 8 w 337"/>
                  <a:gd name="T37" fmla="*/ 2 h 354"/>
                  <a:gd name="T38" fmla="*/ 8 w 337"/>
                  <a:gd name="T39" fmla="*/ 2 h 354"/>
                  <a:gd name="T40" fmla="*/ 7 w 337"/>
                  <a:gd name="T41" fmla="*/ 1 h 354"/>
                  <a:gd name="T42" fmla="*/ 7 w 337"/>
                  <a:gd name="T43" fmla="*/ 1 h 354"/>
                  <a:gd name="T44" fmla="*/ 6 w 337"/>
                  <a:gd name="T45" fmla="*/ 1 h 354"/>
                  <a:gd name="T46" fmla="*/ 6 w 337"/>
                  <a:gd name="T47" fmla="*/ 1 h 354"/>
                  <a:gd name="T48" fmla="*/ 5 w 337"/>
                  <a:gd name="T49" fmla="*/ 0 h 354"/>
                  <a:gd name="T50" fmla="*/ 5 w 337"/>
                  <a:gd name="T51" fmla="*/ 0 h 354"/>
                  <a:gd name="T52" fmla="*/ 4 w 337"/>
                  <a:gd name="T53" fmla="*/ 0 h 354"/>
                  <a:gd name="T54" fmla="*/ 4 w 337"/>
                  <a:gd name="T55" fmla="*/ 1 h 354"/>
                  <a:gd name="T56" fmla="*/ 3 w 337"/>
                  <a:gd name="T57" fmla="*/ 1 h 354"/>
                  <a:gd name="T58" fmla="*/ 3 w 337"/>
                  <a:gd name="T59" fmla="*/ 1 h 354"/>
                  <a:gd name="T60" fmla="*/ 3 w 337"/>
                  <a:gd name="T61" fmla="*/ 1 h 354"/>
                  <a:gd name="T62" fmla="*/ 2 w 337"/>
                  <a:gd name="T63" fmla="*/ 1 h 354"/>
                  <a:gd name="T64" fmla="*/ 2 w 337"/>
                  <a:gd name="T65" fmla="*/ 1 h 354"/>
                  <a:gd name="T66" fmla="*/ 1 w 337"/>
                  <a:gd name="T67" fmla="*/ 2 h 354"/>
                  <a:gd name="T68" fmla="*/ 1 w 337"/>
                  <a:gd name="T69" fmla="*/ 3 h 354"/>
                  <a:gd name="T70" fmla="*/ 1 w 337"/>
                  <a:gd name="T71" fmla="*/ 4 h 354"/>
                  <a:gd name="T72" fmla="*/ 2 w 337"/>
                  <a:gd name="T73" fmla="*/ 4 h 354"/>
                  <a:gd name="T74" fmla="*/ 2 w 337"/>
                  <a:gd name="T75" fmla="*/ 4 h 354"/>
                  <a:gd name="T76" fmla="*/ 2 w 337"/>
                  <a:gd name="T77" fmla="*/ 5 h 354"/>
                  <a:gd name="T78" fmla="*/ 2 w 337"/>
                  <a:gd name="T79" fmla="*/ 5 h 354"/>
                  <a:gd name="T80" fmla="*/ 1 w 337"/>
                  <a:gd name="T81" fmla="*/ 5 h 354"/>
                  <a:gd name="T82" fmla="*/ 1 w 337"/>
                  <a:gd name="T83" fmla="*/ 5 h 354"/>
                  <a:gd name="T84" fmla="*/ 1 w 337"/>
                  <a:gd name="T85" fmla="*/ 6 h 354"/>
                  <a:gd name="T86" fmla="*/ 1 w 337"/>
                  <a:gd name="T87" fmla="*/ 6 h 354"/>
                  <a:gd name="T88" fmla="*/ 1 w 337"/>
                  <a:gd name="T89" fmla="*/ 7 h 354"/>
                  <a:gd name="T90" fmla="*/ 0 w 337"/>
                  <a:gd name="T91" fmla="*/ 8 h 354"/>
                  <a:gd name="T92" fmla="*/ 1 w 337"/>
                  <a:gd name="T93" fmla="*/ 8 h 354"/>
                  <a:gd name="T94" fmla="*/ 0 w 337"/>
                  <a:gd name="T95" fmla="*/ 9 h 354"/>
                  <a:gd name="T96" fmla="*/ 0 w 337"/>
                  <a:gd name="T97" fmla="*/ 9 h 354"/>
                  <a:gd name="T98" fmla="*/ 1 w 337"/>
                  <a:gd name="T99" fmla="*/ 9 h 354"/>
                  <a:gd name="T100" fmla="*/ 2 w 337"/>
                  <a:gd name="T101" fmla="*/ 10 h 354"/>
                  <a:gd name="T102" fmla="*/ 2 w 337"/>
                  <a:gd name="T103" fmla="*/ 10 h 354"/>
                  <a:gd name="T104" fmla="*/ 3 w 337"/>
                  <a:gd name="T105" fmla="*/ 11 h 354"/>
                  <a:gd name="T106" fmla="*/ 3 w 337"/>
                  <a:gd name="T107" fmla="*/ 12 h 354"/>
                  <a:gd name="T108" fmla="*/ 2 w 337"/>
                  <a:gd name="T109" fmla="*/ 12 h 354"/>
                  <a:gd name="T110" fmla="*/ 2 w 337"/>
                  <a:gd name="T111" fmla="*/ 14 h 35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337"/>
                  <a:gd name="T169" fmla="*/ 0 h 354"/>
                  <a:gd name="T170" fmla="*/ 337 w 337"/>
                  <a:gd name="T171" fmla="*/ 354 h 35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337" h="354">
                    <a:moveTo>
                      <a:pt x="57" y="350"/>
                    </a:moveTo>
                    <a:lnTo>
                      <a:pt x="58" y="353"/>
                    </a:lnTo>
                    <a:lnTo>
                      <a:pt x="74" y="354"/>
                    </a:lnTo>
                    <a:lnTo>
                      <a:pt x="97" y="342"/>
                    </a:lnTo>
                    <a:lnTo>
                      <a:pt x="121" y="332"/>
                    </a:lnTo>
                    <a:lnTo>
                      <a:pt x="135" y="326"/>
                    </a:lnTo>
                    <a:lnTo>
                      <a:pt x="160" y="318"/>
                    </a:lnTo>
                    <a:lnTo>
                      <a:pt x="173" y="317"/>
                    </a:lnTo>
                    <a:lnTo>
                      <a:pt x="208" y="311"/>
                    </a:lnTo>
                    <a:lnTo>
                      <a:pt x="219" y="310"/>
                    </a:lnTo>
                    <a:lnTo>
                      <a:pt x="240" y="307"/>
                    </a:lnTo>
                    <a:lnTo>
                      <a:pt x="258" y="307"/>
                    </a:lnTo>
                    <a:lnTo>
                      <a:pt x="274" y="312"/>
                    </a:lnTo>
                    <a:lnTo>
                      <a:pt x="295" y="316"/>
                    </a:lnTo>
                    <a:lnTo>
                      <a:pt x="299" y="316"/>
                    </a:lnTo>
                    <a:lnTo>
                      <a:pt x="301" y="315"/>
                    </a:lnTo>
                    <a:lnTo>
                      <a:pt x="305" y="308"/>
                    </a:lnTo>
                    <a:lnTo>
                      <a:pt x="307" y="307"/>
                    </a:lnTo>
                    <a:lnTo>
                      <a:pt x="313" y="307"/>
                    </a:lnTo>
                    <a:lnTo>
                      <a:pt x="317" y="310"/>
                    </a:lnTo>
                    <a:lnTo>
                      <a:pt x="323" y="308"/>
                    </a:lnTo>
                    <a:lnTo>
                      <a:pt x="323" y="294"/>
                    </a:lnTo>
                    <a:lnTo>
                      <a:pt x="321" y="281"/>
                    </a:lnTo>
                    <a:lnTo>
                      <a:pt x="318" y="280"/>
                    </a:lnTo>
                    <a:lnTo>
                      <a:pt x="311" y="279"/>
                    </a:lnTo>
                    <a:lnTo>
                      <a:pt x="307" y="274"/>
                    </a:lnTo>
                    <a:lnTo>
                      <a:pt x="304" y="258"/>
                    </a:lnTo>
                    <a:lnTo>
                      <a:pt x="296" y="238"/>
                    </a:lnTo>
                    <a:lnTo>
                      <a:pt x="296" y="230"/>
                    </a:lnTo>
                    <a:lnTo>
                      <a:pt x="297" y="213"/>
                    </a:lnTo>
                    <a:lnTo>
                      <a:pt x="301" y="206"/>
                    </a:lnTo>
                    <a:lnTo>
                      <a:pt x="307" y="199"/>
                    </a:lnTo>
                    <a:lnTo>
                      <a:pt x="310" y="194"/>
                    </a:lnTo>
                    <a:lnTo>
                      <a:pt x="310" y="183"/>
                    </a:lnTo>
                    <a:lnTo>
                      <a:pt x="312" y="174"/>
                    </a:lnTo>
                    <a:lnTo>
                      <a:pt x="318" y="161"/>
                    </a:lnTo>
                    <a:lnTo>
                      <a:pt x="322" y="152"/>
                    </a:lnTo>
                    <a:lnTo>
                      <a:pt x="324" y="150"/>
                    </a:lnTo>
                    <a:lnTo>
                      <a:pt x="328" y="145"/>
                    </a:lnTo>
                    <a:lnTo>
                      <a:pt x="332" y="144"/>
                    </a:lnTo>
                    <a:lnTo>
                      <a:pt x="332" y="139"/>
                    </a:lnTo>
                    <a:lnTo>
                      <a:pt x="337" y="138"/>
                    </a:lnTo>
                    <a:lnTo>
                      <a:pt x="334" y="122"/>
                    </a:lnTo>
                    <a:lnTo>
                      <a:pt x="327" y="95"/>
                    </a:lnTo>
                    <a:lnTo>
                      <a:pt x="324" y="91"/>
                    </a:lnTo>
                    <a:lnTo>
                      <a:pt x="321" y="90"/>
                    </a:lnTo>
                    <a:lnTo>
                      <a:pt x="321" y="87"/>
                    </a:lnTo>
                    <a:lnTo>
                      <a:pt x="326" y="82"/>
                    </a:lnTo>
                    <a:lnTo>
                      <a:pt x="323" y="77"/>
                    </a:lnTo>
                    <a:lnTo>
                      <a:pt x="324" y="74"/>
                    </a:lnTo>
                    <a:lnTo>
                      <a:pt x="324" y="68"/>
                    </a:lnTo>
                    <a:lnTo>
                      <a:pt x="322" y="70"/>
                    </a:lnTo>
                    <a:lnTo>
                      <a:pt x="316" y="70"/>
                    </a:lnTo>
                    <a:lnTo>
                      <a:pt x="313" y="69"/>
                    </a:lnTo>
                    <a:lnTo>
                      <a:pt x="308" y="59"/>
                    </a:lnTo>
                    <a:lnTo>
                      <a:pt x="307" y="54"/>
                    </a:lnTo>
                    <a:lnTo>
                      <a:pt x="302" y="53"/>
                    </a:lnTo>
                    <a:lnTo>
                      <a:pt x="296" y="43"/>
                    </a:lnTo>
                    <a:lnTo>
                      <a:pt x="295" y="43"/>
                    </a:lnTo>
                    <a:lnTo>
                      <a:pt x="290" y="48"/>
                    </a:lnTo>
                    <a:lnTo>
                      <a:pt x="279" y="43"/>
                    </a:lnTo>
                    <a:lnTo>
                      <a:pt x="272" y="43"/>
                    </a:lnTo>
                    <a:lnTo>
                      <a:pt x="262" y="46"/>
                    </a:lnTo>
                    <a:lnTo>
                      <a:pt x="250" y="49"/>
                    </a:lnTo>
                    <a:lnTo>
                      <a:pt x="242" y="52"/>
                    </a:lnTo>
                    <a:lnTo>
                      <a:pt x="236" y="53"/>
                    </a:lnTo>
                    <a:lnTo>
                      <a:pt x="234" y="59"/>
                    </a:lnTo>
                    <a:lnTo>
                      <a:pt x="230" y="61"/>
                    </a:lnTo>
                    <a:lnTo>
                      <a:pt x="223" y="58"/>
                    </a:lnTo>
                    <a:lnTo>
                      <a:pt x="221" y="54"/>
                    </a:lnTo>
                    <a:lnTo>
                      <a:pt x="220" y="54"/>
                    </a:lnTo>
                    <a:lnTo>
                      <a:pt x="218" y="57"/>
                    </a:lnTo>
                    <a:lnTo>
                      <a:pt x="214" y="57"/>
                    </a:lnTo>
                    <a:lnTo>
                      <a:pt x="214" y="58"/>
                    </a:lnTo>
                    <a:lnTo>
                      <a:pt x="207" y="54"/>
                    </a:lnTo>
                    <a:lnTo>
                      <a:pt x="205" y="50"/>
                    </a:lnTo>
                    <a:lnTo>
                      <a:pt x="202" y="47"/>
                    </a:lnTo>
                    <a:lnTo>
                      <a:pt x="198" y="47"/>
                    </a:lnTo>
                    <a:lnTo>
                      <a:pt x="198" y="42"/>
                    </a:lnTo>
                    <a:lnTo>
                      <a:pt x="197" y="39"/>
                    </a:lnTo>
                    <a:lnTo>
                      <a:pt x="194" y="38"/>
                    </a:lnTo>
                    <a:lnTo>
                      <a:pt x="191" y="32"/>
                    </a:lnTo>
                    <a:lnTo>
                      <a:pt x="189" y="31"/>
                    </a:lnTo>
                    <a:lnTo>
                      <a:pt x="188" y="30"/>
                    </a:lnTo>
                    <a:lnTo>
                      <a:pt x="187" y="25"/>
                    </a:lnTo>
                    <a:lnTo>
                      <a:pt x="187" y="23"/>
                    </a:lnTo>
                    <a:lnTo>
                      <a:pt x="184" y="22"/>
                    </a:lnTo>
                    <a:lnTo>
                      <a:pt x="173" y="25"/>
                    </a:lnTo>
                    <a:lnTo>
                      <a:pt x="171" y="23"/>
                    </a:lnTo>
                    <a:lnTo>
                      <a:pt x="167" y="17"/>
                    </a:lnTo>
                    <a:lnTo>
                      <a:pt x="165" y="16"/>
                    </a:lnTo>
                    <a:lnTo>
                      <a:pt x="154" y="16"/>
                    </a:lnTo>
                    <a:lnTo>
                      <a:pt x="150" y="16"/>
                    </a:lnTo>
                    <a:lnTo>
                      <a:pt x="148" y="23"/>
                    </a:lnTo>
                    <a:lnTo>
                      <a:pt x="144" y="23"/>
                    </a:lnTo>
                    <a:lnTo>
                      <a:pt x="140" y="27"/>
                    </a:lnTo>
                    <a:lnTo>
                      <a:pt x="130" y="27"/>
                    </a:lnTo>
                    <a:lnTo>
                      <a:pt x="132" y="25"/>
                    </a:lnTo>
                    <a:lnTo>
                      <a:pt x="130" y="14"/>
                    </a:lnTo>
                    <a:lnTo>
                      <a:pt x="129" y="10"/>
                    </a:lnTo>
                    <a:lnTo>
                      <a:pt x="129" y="9"/>
                    </a:lnTo>
                    <a:lnTo>
                      <a:pt x="129" y="4"/>
                    </a:lnTo>
                    <a:lnTo>
                      <a:pt x="127" y="0"/>
                    </a:lnTo>
                    <a:lnTo>
                      <a:pt x="124" y="1"/>
                    </a:lnTo>
                    <a:lnTo>
                      <a:pt x="118" y="1"/>
                    </a:lnTo>
                    <a:lnTo>
                      <a:pt x="116" y="9"/>
                    </a:lnTo>
                    <a:lnTo>
                      <a:pt x="114" y="9"/>
                    </a:lnTo>
                    <a:lnTo>
                      <a:pt x="108" y="5"/>
                    </a:lnTo>
                    <a:lnTo>
                      <a:pt x="106" y="5"/>
                    </a:lnTo>
                    <a:lnTo>
                      <a:pt x="103" y="9"/>
                    </a:lnTo>
                    <a:lnTo>
                      <a:pt x="103" y="12"/>
                    </a:lnTo>
                    <a:lnTo>
                      <a:pt x="105" y="18"/>
                    </a:lnTo>
                    <a:lnTo>
                      <a:pt x="103" y="21"/>
                    </a:lnTo>
                    <a:lnTo>
                      <a:pt x="92" y="21"/>
                    </a:lnTo>
                    <a:lnTo>
                      <a:pt x="86" y="23"/>
                    </a:lnTo>
                    <a:lnTo>
                      <a:pt x="86" y="27"/>
                    </a:lnTo>
                    <a:lnTo>
                      <a:pt x="84" y="32"/>
                    </a:lnTo>
                    <a:lnTo>
                      <a:pt x="80" y="32"/>
                    </a:lnTo>
                    <a:lnTo>
                      <a:pt x="76" y="30"/>
                    </a:lnTo>
                    <a:lnTo>
                      <a:pt x="73" y="25"/>
                    </a:lnTo>
                    <a:lnTo>
                      <a:pt x="70" y="25"/>
                    </a:lnTo>
                    <a:lnTo>
                      <a:pt x="68" y="26"/>
                    </a:lnTo>
                    <a:lnTo>
                      <a:pt x="66" y="27"/>
                    </a:lnTo>
                    <a:lnTo>
                      <a:pt x="65" y="27"/>
                    </a:lnTo>
                    <a:lnTo>
                      <a:pt x="64" y="21"/>
                    </a:lnTo>
                    <a:lnTo>
                      <a:pt x="60" y="16"/>
                    </a:lnTo>
                    <a:lnTo>
                      <a:pt x="57" y="15"/>
                    </a:lnTo>
                    <a:lnTo>
                      <a:pt x="53" y="18"/>
                    </a:lnTo>
                    <a:lnTo>
                      <a:pt x="48" y="17"/>
                    </a:lnTo>
                    <a:lnTo>
                      <a:pt x="46" y="18"/>
                    </a:lnTo>
                    <a:lnTo>
                      <a:pt x="43" y="21"/>
                    </a:lnTo>
                    <a:lnTo>
                      <a:pt x="42" y="25"/>
                    </a:lnTo>
                    <a:lnTo>
                      <a:pt x="39" y="28"/>
                    </a:lnTo>
                    <a:lnTo>
                      <a:pt x="33" y="30"/>
                    </a:lnTo>
                    <a:lnTo>
                      <a:pt x="32" y="32"/>
                    </a:lnTo>
                    <a:lnTo>
                      <a:pt x="26" y="39"/>
                    </a:lnTo>
                    <a:lnTo>
                      <a:pt x="25" y="42"/>
                    </a:lnTo>
                    <a:lnTo>
                      <a:pt x="22" y="44"/>
                    </a:lnTo>
                    <a:lnTo>
                      <a:pt x="24" y="53"/>
                    </a:lnTo>
                    <a:lnTo>
                      <a:pt x="24" y="70"/>
                    </a:lnTo>
                    <a:lnTo>
                      <a:pt x="24" y="73"/>
                    </a:lnTo>
                    <a:lnTo>
                      <a:pt x="31" y="76"/>
                    </a:lnTo>
                    <a:lnTo>
                      <a:pt x="38" y="76"/>
                    </a:lnTo>
                    <a:lnTo>
                      <a:pt x="37" y="90"/>
                    </a:lnTo>
                    <a:lnTo>
                      <a:pt x="41" y="89"/>
                    </a:lnTo>
                    <a:lnTo>
                      <a:pt x="44" y="93"/>
                    </a:lnTo>
                    <a:lnTo>
                      <a:pt x="44" y="96"/>
                    </a:lnTo>
                    <a:lnTo>
                      <a:pt x="42" y="97"/>
                    </a:lnTo>
                    <a:lnTo>
                      <a:pt x="38" y="101"/>
                    </a:lnTo>
                    <a:lnTo>
                      <a:pt x="35" y="109"/>
                    </a:lnTo>
                    <a:lnTo>
                      <a:pt x="37" y="109"/>
                    </a:lnTo>
                    <a:lnTo>
                      <a:pt x="41" y="111"/>
                    </a:lnTo>
                    <a:lnTo>
                      <a:pt x="44" y="111"/>
                    </a:lnTo>
                    <a:lnTo>
                      <a:pt x="44" y="117"/>
                    </a:lnTo>
                    <a:lnTo>
                      <a:pt x="47" y="120"/>
                    </a:lnTo>
                    <a:lnTo>
                      <a:pt x="47" y="125"/>
                    </a:lnTo>
                    <a:lnTo>
                      <a:pt x="48" y="134"/>
                    </a:lnTo>
                    <a:lnTo>
                      <a:pt x="47" y="134"/>
                    </a:lnTo>
                    <a:lnTo>
                      <a:pt x="44" y="128"/>
                    </a:lnTo>
                    <a:lnTo>
                      <a:pt x="41" y="129"/>
                    </a:lnTo>
                    <a:lnTo>
                      <a:pt x="38" y="129"/>
                    </a:lnTo>
                    <a:lnTo>
                      <a:pt x="35" y="125"/>
                    </a:lnTo>
                    <a:lnTo>
                      <a:pt x="26" y="124"/>
                    </a:lnTo>
                    <a:lnTo>
                      <a:pt x="17" y="128"/>
                    </a:lnTo>
                    <a:lnTo>
                      <a:pt x="17" y="129"/>
                    </a:lnTo>
                    <a:lnTo>
                      <a:pt x="19" y="129"/>
                    </a:lnTo>
                    <a:lnTo>
                      <a:pt x="20" y="134"/>
                    </a:lnTo>
                    <a:lnTo>
                      <a:pt x="17" y="139"/>
                    </a:lnTo>
                    <a:lnTo>
                      <a:pt x="20" y="141"/>
                    </a:lnTo>
                    <a:lnTo>
                      <a:pt x="26" y="141"/>
                    </a:lnTo>
                    <a:lnTo>
                      <a:pt x="30" y="141"/>
                    </a:lnTo>
                    <a:lnTo>
                      <a:pt x="31" y="145"/>
                    </a:lnTo>
                    <a:lnTo>
                      <a:pt x="30" y="147"/>
                    </a:lnTo>
                    <a:lnTo>
                      <a:pt x="32" y="147"/>
                    </a:lnTo>
                    <a:lnTo>
                      <a:pt x="33" y="150"/>
                    </a:lnTo>
                    <a:lnTo>
                      <a:pt x="28" y="152"/>
                    </a:lnTo>
                    <a:lnTo>
                      <a:pt x="27" y="157"/>
                    </a:lnTo>
                    <a:lnTo>
                      <a:pt x="27" y="166"/>
                    </a:lnTo>
                    <a:lnTo>
                      <a:pt x="22" y="172"/>
                    </a:lnTo>
                    <a:lnTo>
                      <a:pt x="22" y="177"/>
                    </a:lnTo>
                    <a:lnTo>
                      <a:pt x="9" y="176"/>
                    </a:lnTo>
                    <a:lnTo>
                      <a:pt x="5" y="178"/>
                    </a:lnTo>
                    <a:lnTo>
                      <a:pt x="6" y="183"/>
                    </a:lnTo>
                    <a:lnTo>
                      <a:pt x="8" y="192"/>
                    </a:lnTo>
                    <a:lnTo>
                      <a:pt x="10" y="193"/>
                    </a:lnTo>
                    <a:lnTo>
                      <a:pt x="12" y="197"/>
                    </a:lnTo>
                    <a:lnTo>
                      <a:pt x="12" y="198"/>
                    </a:lnTo>
                    <a:lnTo>
                      <a:pt x="17" y="202"/>
                    </a:lnTo>
                    <a:lnTo>
                      <a:pt x="14" y="217"/>
                    </a:lnTo>
                    <a:lnTo>
                      <a:pt x="12" y="220"/>
                    </a:lnTo>
                    <a:lnTo>
                      <a:pt x="4" y="227"/>
                    </a:lnTo>
                    <a:lnTo>
                      <a:pt x="0" y="233"/>
                    </a:lnTo>
                    <a:lnTo>
                      <a:pt x="0" y="235"/>
                    </a:lnTo>
                    <a:lnTo>
                      <a:pt x="3" y="235"/>
                    </a:lnTo>
                    <a:lnTo>
                      <a:pt x="4" y="237"/>
                    </a:lnTo>
                    <a:lnTo>
                      <a:pt x="8" y="236"/>
                    </a:lnTo>
                    <a:lnTo>
                      <a:pt x="9" y="238"/>
                    </a:lnTo>
                    <a:lnTo>
                      <a:pt x="11" y="240"/>
                    </a:lnTo>
                    <a:lnTo>
                      <a:pt x="15" y="240"/>
                    </a:lnTo>
                    <a:lnTo>
                      <a:pt x="22" y="245"/>
                    </a:lnTo>
                    <a:lnTo>
                      <a:pt x="32" y="245"/>
                    </a:lnTo>
                    <a:lnTo>
                      <a:pt x="35" y="245"/>
                    </a:lnTo>
                    <a:lnTo>
                      <a:pt x="38" y="252"/>
                    </a:lnTo>
                    <a:lnTo>
                      <a:pt x="38" y="256"/>
                    </a:lnTo>
                    <a:lnTo>
                      <a:pt x="41" y="257"/>
                    </a:lnTo>
                    <a:lnTo>
                      <a:pt x="44" y="262"/>
                    </a:lnTo>
                    <a:lnTo>
                      <a:pt x="46" y="265"/>
                    </a:lnTo>
                    <a:lnTo>
                      <a:pt x="52" y="267"/>
                    </a:lnTo>
                    <a:lnTo>
                      <a:pt x="57" y="272"/>
                    </a:lnTo>
                    <a:lnTo>
                      <a:pt x="63" y="270"/>
                    </a:lnTo>
                    <a:lnTo>
                      <a:pt x="63" y="275"/>
                    </a:lnTo>
                    <a:lnTo>
                      <a:pt x="65" y="280"/>
                    </a:lnTo>
                    <a:lnTo>
                      <a:pt x="66" y="286"/>
                    </a:lnTo>
                    <a:lnTo>
                      <a:pt x="64" y="294"/>
                    </a:lnTo>
                    <a:lnTo>
                      <a:pt x="66" y="299"/>
                    </a:lnTo>
                    <a:lnTo>
                      <a:pt x="66" y="300"/>
                    </a:lnTo>
                    <a:lnTo>
                      <a:pt x="62" y="300"/>
                    </a:lnTo>
                    <a:lnTo>
                      <a:pt x="60" y="303"/>
                    </a:lnTo>
                    <a:lnTo>
                      <a:pt x="60" y="311"/>
                    </a:lnTo>
                    <a:lnTo>
                      <a:pt x="57" y="311"/>
                    </a:lnTo>
                    <a:lnTo>
                      <a:pt x="57" y="313"/>
                    </a:lnTo>
                    <a:lnTo>
                      <a:pt x="57" y="318"/>
                    </a:lnTo>
                    <a:lnTo>
                      <a:pt x="55" y="323"/>
                    </a:lnTo>
                    <a:lnTo>
                      <a:pt x="57" y="35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89" name="Freeform 55">
                <a:extLst>
                  <a:ext uri="{FF2B5EF4-FFF2-40B4-BE49-F238E27FC236}">
                    <a16:creationId xmlns:a16="http://schemas.microsoft.com/office/drawing/2014/main" id="{C2032602-1FC7-5DE0-C2AB-16E5B442773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14" y="2364"/>
                <a:ext cx="24" cy="57"/>
              </a:xfrm>
              <a:custGeom>
                <a:avLst/>
                <a:gdLst>
                  <a:gd name="T0" fmla="*/ 3 w 120"/>
                  <a:gd name="T1" fmla="*/ 12 h 281"/>
                  <a:gd name="T2" fmla="*/ 3 w 120"/>
                  <a:gd name="T3" fmla="*/ 12 h 281"/>
                  <a:gd name="T4" fmla="*/ 2 w 120"/>
                  <a:gd name="T5" fmla="*/ 11 h 281"/>
                  <a:gd name="T6" fmla="*/ 2 w 120"/>
                  <a:gd name="T7" fmla="*/ 10 h 281"/>
                  <a:gd name="T8" fmla="*/ 2 w 120"/>
                  <a:gd name="T9" fmla="*/ 10 h 281"/>
                  <a:gd name="T10" fmla="*/ 2 w 120"/>
                  <a:gd name="T11" fmla="*/ 10 h 281"/>
                  <a:gd name="T12" fmla="*/ 2 w 120"/>
                  <a:gd name="T13" fmla="*/ 9 h 281"/>
                  <a:gd name="T14" fmla="*/ 2 w 120"/>
                  <a:gd name="T15" fmla="*/ 8 h 281"/>
                  <a:gd name="T16" fmla="*/ 2 w 120"/>
                  <a:gd name="T17" fmla="*/ 6 h 281"/>
                  <a:gd name="T18" fmla="*/ 2 w 120"/>
                  <a:gd name="T19" fmla="*/ 5 h 281"/>
                  <a:gd name="T20" fmla="*/ 2 w 120"/>
                  <a:gd name="T21" fmla="*/ 4 h 281"/>
                  <a:gd name="T22" fmla="*/ 2 w 120"/>
                  <a:gd name="T23" fmla="*/ 4 h 281"/>
                  <a:gd name="T24" fmla="*/ 1 w 120"/>
                  <a:gd name="T25" fmla="*/ 4 h 281"/>
                  <a:gd name="T26" fmla="*/ 1 w 120"/>
                  <a:gd name="T27" fmla="*/ 3 h 281"/>
                  <a:gd name="T28" fmla="*/ 1 w 120"/>
                  <a:gd name="T29" fmla="*/ 2 h 281"/>
                  <a:gd name="T30" fmla="*/ 1 w 120"/>
                  <a:gd name="T31" fmla="*/ 2 h 281"/>
                  <a:gd name="T32" fmla="*/ 1 w 120"/>
                  <a:gd name="T33" fmla="*/ 2 h 281"/>
                  <a:gd name="T34" fmla="*/ 1 w 120"/>
                  <a:gd name="T35" fmla="*/ 1 h 281"/>
                  <a:gd name="T36" fmla="*/ 0 w 120"/>
                  <a:gd name="T37" fmla="*/ 1 h 281"/>
                  <a:gd name="T38" fmla="*/ 0 w 120"/>
                  <a:gd name="T39" fmla="*/ 1 h 281"/>
                  <a:gd name="T40" fmla="*/ 0 w 120"/>
                  <a:gd name="T41" fmla="*/ 1 h 281"/>
                  <a:gd name="T42" fmla="*/ 0 w 120"/>
                  <a:gd name="T43" fmla="*/ 0 h 281"/>
                  <a:gd name="T44" fmla="*/ 0 w 120"/>
                  <a:gd name="T45" fmla="*/ 0 h 281"/>
                  <a:gd name="T46" fmla="*/ 0 w 120"/>
                  <a:gd name="T47" fmla="*/ 0 h 281"/>
                  <a:gd name="T48" fmla="*/ 0 w 120"/>
                  <a:gd name="T49" fmla="*/ 0 h 281"/>
                  <a:gd name="T50" fmla="*/ 0 w 120"/>
                  <a:gd name="T51" fmla="*/ 0 h 281"/>
                  <a:gd name="T52" fmla="*/ 0 w 120"/>
                  <a:gd name="T53" fmla="*/ 0 h 281"/>
                  <a:gd name="T54" fmla="*/ 0 w 120"/>
                  <a:gd name="T55" fmla="*/ 0 h 281"/>
                  <a:gd name="T56" fmla="*/ 1 w 120"/>
                  <a:gd name="T57" fmla="*/ 0 h 281"/>
                  <a:gd name="T58" fmla="*/ 2 w 120"/>
                  <a:gd name="T59" fmla="*/ 0 h 281"/>
                  <a:gd name="T60" fmla="*/ 2 w 120"/>
                  <a:gd name="T61" fmla="*/ 0 h 281"/>
                  <a:gd name="T62" fmla="*/ 2 w 120"/>
                  <a:gd name="T63" fmla="*/ 0 h 281"/>
                  <a:gd name="T64" fmla="*/ 2 w 120"/>
                  <a:gd name="T65" fmla="*/ 0 h 281"/>
                  <a:gd name="T66" fmla="*/ 2 w 120"/>
                  <a:gd name="T67" fmla="*/ 0 h 281"/>
                  <a:gd name="T68" fmla="*/ 2 w 120"/>
                  <a:gd name="T69" fmla="*/ 0 h 281"/>
                  <a:gd name="T70" fmla="*/ 2 w 120"/>
                  <a:gd name="T71" fmla="*/ 1 h 281"/>
                  <a:gd name="T72" fmla="*/ 2 w 120"/>
                  <a:gd name="T73" fmla="*/ 1 h 281"/>
                  <a:gd name="T74" fmla="*/ 2 w 120"/>
                  <a:gd name="T75" fmla="*/ 1 h 281"/>
                  <a:gd name="T76" fmla="*/ 2 w 120"/>
                  <a:gd name="T77" fmla="*/ 2 h 281"/>
                  <a:gd name="T78" fmla="*/ 2 w 120"/>
                  <a:gd name="T79" fmla="*/ 2 h 281"/>
                  <a:gd name="T80" fmla="*/ 3 w 120"/>
                  <a:gd name="T81" fmla="*/ 2 h 281"/>
                  <a:gd name="T82" fmla="*/ 3 w 120"/>
                  <a:gd name="T83" fmla="*/ 2 h 281"/>
                  <a:gd name="T84" fmla="*/ 3 w 120"/>
                  <a:gd name="T85" fmla="*/ 2 h 281"/>
                  <a:gd name="T86" fmla="*/ 3 w 120"/>
                  <a:gd name="T87" fmla="*/ 3 h 281"/>
                  <a:gd name="T88" fmla="*/ 4 w 120"/>
                  <a:gd name="T89" fmla="*/ 4 h 281"/>
                  <a:gd name="T90" fmla="*/ 4 w 120"/>
                  <a:gd name="T91" fmla="*/ 4 h 281"/>
                  <a:gd name="T92" fmla="*/ 4 w 120"/>
                  <a:gd name="T93" fmla="*/ 5 h 281"/>
                  <a:gd name="T94" fmla="*/ 4 w 120"/>
                  <a:gd name="T95" fmla="*/ 5 h 281"/>
                  <a:gd name="T96" fmla="*/ 4 w 120"/>
                  <a:gd name="T97" fmla="*/ 5 h 281"/>
                  <a:gd name="T98" fmla="*/ 4 w 120"/>
                  <a:gd name="T99" fmla="*/ 6 h 281"/>
                  <a:gd name="T100" fmla="*/ 4 w 120"/>
                  <a:gd name="T101" fmla="*/ 7 h 281"/>
                  <a:gd name="T102" fmla="*/ 4 w 120"/>
                  <a:gd name="T103" fmla="*/ 9 h 281"/>
                  <a:gd name="T104" fmla="*/ 4 w 120"/>
                  <a:gd name="T105" fmla="*/ 10 h 281"/>
                  <a:gd name="T106" fmla="*/ 4 w 120"/>
                  <a:gd name="T107" fmla="*/ 10 h 281"/>
                  <a:gd name="T108" fmla="*/ 4 w 120"/>
                  <a:gd name="T109" fmla="*/ 11 h 281"/>
                  <a:gd name="T110" fmla="*/ 4 w 120"/>
                  <a:gd name="T111" fmla="*/ 11 h 281"/>
                  <a:gd name="T112" fmla="*/ 5 w 120"/>
                  <a:gd name="T113" fmla="*/ 11 h 281"/>
                  <a:gd name="T114" fmla="*/ 5 w 120"/>
                  <a:gd name="T115" fmla="*/ 11 h 281"/>
                  <a:gd name="T116" fmla="*/ 4 w 120"/>
                  <a:gd name="T117" fmla="*/ 11 h 281"/>
                  <a:gd name="T118" fmla="*/ 3 w 120"/>
                  <a:gd name="T119" fmla="*/ 12 h 281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120"/>
                  <a:gd name="T181" fmla="*/ 0 h 281"/>
                  <a:gd name="T182" fmla="*/ 120 w 120"/>
                  <a:gd name="T183" fmla="*/ 281 h 281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120" h="281">
                    <a:moveTo>
                      <a:pt x="80" y="281"/>
                    </a:moveTo>
                    <a:lnTo>
                      <a:pt x="77" y="279"/>
                    </a:lnTo>
                    <a:lnTo>
                      <a:pt x="61" y="262"/>
                    </a:lnTo>
                    <a:lnTo>
                      <a:pt x="53" y="252"/>
                    </a:lnTo>
                    <a:lnTo>
                      <a:pt x="48" y="241"/>
                    </a:lnTo>
                    <a:lnTo>
                      <a:pt x="47" y="231"/>
                    </a:lnTo>
                    <a:lnTo>
                      <a:pt x="46" y="209"/>
                    </a:lnTo>
                    <a:lnTo>
                      <a:pt x="47" y="188"/>
                    </a:lnTo>
                    <a:lnTo>
                      <a:pt x="43" y="148"/>
                    </a:lnTo>
                    <a:lnTo>
                      <a:pt x="42" y="114"/>
                    </a:lnTo>
                    <a:lnTo>
                      <a:pt x="41" y="101"/>
                    </a:lnTo>
                    <a:lnTo>
                      <a:pt x="38" y="95"/>
                    </a:lnTo>
                    <a:lnTo>
                      <a:pt x="34" y="89"/>
                    </a:lnTo>
                    <a:lnTo>
                      <a:pt x="32" y="68"/>
                    </a:lnTo>
                    <a:lnTo>
                      <a:pt x="29" y="53"/>
                    </a:lnTo>
                    <a:lnTo>
                      <a:pt x="25" y="48"/>
                    </a:lnTo>
                    <a:lnTo>
                      <a:pt x="18" y="41"/>
                    </a:lnTo>
                    <a:lnTo>
                      <a:pt x="14" y="33"/>
                    </a:lnTo>
                    <a:lnTo>
                      <a:pt x="5" y="27"/>
                    </a:lnTo>
                    <a:lnTo>
                      <a:pt x="4" y="21"/>
                    </a:lnTo>
                    <a:lnTo>
                      <a:pt x="8" y="16"/>
                    </a:lnTo>
                    <a:lnTo>
                      <a:pt x="8" y="11"/>
                    </a:lnTo>
                    <a:lnTo>
                      <a:pt x="11" y="6"/>
                    </a:lnTo>
                    <a:lnTo>
                      <a:pt x="10" y="5"/>
                    </a:lnTo>
                    <a:lnTo>
                      <a:pt x="2" y="4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35" y="6"/>
                    </a:lnTo>
                    <a:lnTo>
                      <a:pt x="38" y="11"/>
                    </a:lnTo>
                    <a:lnTo>
                      <a:pt x="42" y="11"/>
                    </a:lnTo>
                    <a:lnTo>
                      <a:pt x="45" y="8"/>
                    </a:lnTo>
                    <a:lnTo>
                      <a:pt x="59" y="9"/>
                    </a:lnTo>
                    <a:lnTo>
                      <a:pt x="61" y="8"/>
                    </a:lnTo>
                    <a:lnTo>
                      <a:pt x="58" y="10"/>
                    </a:lnTo>
                    <a:lnTo>
                      <a:pt x="57" y="17"/>
                    </a:lnTo>
                    <a:lnTo>
                      <a:pt x="53" y="25"/>
                    </a:lnTo>
                    <a:lnTo>
                      <a:pt x="52" y="35"/>
                    </a:lnTo>
                    <a:lnTo>
                      <a:pt x="52" y="43"/>
                    </a:lnTo>
                    <a:lnTo>
                      <a:pt x="57" y="47"/>
                    </a:lnTo>
                    <a:lnTo>
                      <a:pt x="63" y="51"/>
                    </a:lnTo>
                    <a:lnTo>
                      <a:pt x="67" y="51"/>
                    </a:lnTo>
                    <a:lnTo>
                      <a:pt x="72" y="53"/>
                    </a:lnTo>
                    <a:lnTo>
                      <a:pt x="84" y="69"/>
                    </a:lnTo>
                    <a:lnTo>
                      <a:pt x="93" y="89"/>
                    </a:lnTo>
                    <a:lnTo>
                      <a:pt x="99" y="110"/>
                    </a:lnTo>
                    <a:lnTo>
                      <a:pt x="102" y="119"/>
                    </a:lnTo>
                    <a:lnTo>
                      <a:pt x="104" y="125"/>
                    </a:lnTo>
                    <a:lnTo>
                      <a:pt x="106" y="134"/>
                    </a:lnTo>
                    <a:lnTo>
                      <a:pt x="108" y="145"/>
                    </a:lnTo>
                    <a:lnTo>
                      <a:pt x="110" y="164"/>
                    </a:lnTo>
                    <a:lnTo>
                      <a:pt x="110" y="215"/>
                    </a:lnTo>
                    <a:lnTo>
                      <a:pt x="106" y="238"/>
                    </a:lnTo>
                    <a:lnTo>
                      <a:pt x="106" y="248"/>
                    </a:lnTo>
                    <a:lnTo>
                      <a:pt x="110" y="261"/>
                    </a:lnTo>
                    <a:lnTo>
                      <a:pt x="112" y="268"/>
                    </a:lnTo>
                    <a:lnTo>
                      <a:pt x="113" y="269"/>
                    </a:lnTo>
                    <a:lnTo>
                      <a:pt x="120" y="270"/>
                    </a:lnTo>
                    <a:lnTo>
                      <a:pt x="99" y="275"/>
                    </a:lnTo>
                    <a:lnTo>
                      <a:pt x="80" y="28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90" name="Freeform 56">
                <a:extLst>
                  <a:ext uri="{FF2B5EF4-FFF2-40B4-BE49-F238E27FC236}">
                    <a16:creationId xmlns:a16="http://schemas.microsoft.com/office/drawing/2014/main" id="{B9D17171-EC73-E910-35BF-7235A1A3166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650" y="2429"/>
                <a:ext cx="209" cy="204"/>
              </a:xfrm>
              <a:custGeom>
                <a:avLst/>
                <a:gdLst>
                  <a:gd name="T0" fmla="*/ 38 w 1045"/>
                  <a:gd name="T1" fmla="*/ 27 h 1018"/>
                  <a:gd name="T2" fmla="*/ 38 w 1045"/>
                  <a:gd name="T3" fmla="*/ 24 h 1018"/>
                  <a:gd name="T4" fmla="*/ 37 w 1045"/>
                  <a:gd name="T5" fmla="*/ 21 h 1018"/>
                  <a:gd name="T6" fmla="*/ 37 w 1045"/>
                  <a:gd name="T7" fmla="*/ 20 h 1018"/>
                  <a:gd name="T8" fmla="*/ 37 w 1045"/>
                  <a:gd name="T9" fmla="*/ 17 h 1018"/>
                  <a:gd name="T10" fmla="*/ 37 w 1045"/>
                  <a:gd name="T11" fmla="*/ 16 h 1018"/>
                  <a:gd name="T12" fmla="*/ 38 w 1045"/>
                  <a:gd name="T13" fmla="*/ 14 h 1018"/>
                  <a:gd name="T14" fmla="*/ 39 w 1045"/>
                  <a:gd name="T15" fmla="*/ 10 h 1018"/>
                  <a:gd name="T16" fmla="*/ 41 w 1045"/>
                  <a:gd name="T17" fmla="*/ 8 h 1018"/>
                  <a:gd name="T18" fmla="*/ 42 w 1045"/>
                  <a:gd name="T19" fmla="*/ 7 h 1018"/>
                  <a:gd name="T20" fmla="*/ 41 w 1045"/>
                  <a:gd name="T21" fmla="*/ 6 h 1018"/>
                  <a:gd name="T22" fmla="*/ 41 w 1045"/>
                  <a:gd name="T23" fmla="*/ 4 h 1018"/>
                  <a:gd name="T24" fmla="*/ 38 w 1045"/>
                  <a:gd name="T25" fmla="*/ 1 h 1018"/>
                  <a:gd name="T26" fmla="*/ 36 w 1045"/>
                  <a:gd name="T27" fmla="*/ 2 h 1018"/>
                  <a:gd name="T28" fmla="*/ 34 w 1045"/>
                  <a:gd name="T29" fmla="*/ 0 h 1018"/>
                  <a:gd name="T30" fmla="*/ 31 w 1045"/>
                  <a:gd name="T31" fmla="*/ 0 h 1018"/>
                  <a:gd name="T32" fmla="*/ 28 w 1045"/>
                  <a:gd name="T33" fmla="*/ 1 h 1018"/>
                  <a:gd name="T34" fmla="*/ 27 w 1045"/>
                  <a:gd name="T35" fmla="*/ 0 h 1018"/>
                  <a:gd name="T36" fmla="*/ 24 w 1045"/>
                  <a:gd name="T37" fmla="*/ 1 h 1018"/>
                  <a:gd name="T38" fmla="*/ 20 w 1045"/>
                  <a:gd name="T39" fmla="*/ 2 h 1018"/>
                  <a:gd name="T40" fmla="*/ 17 w 1045"/>
                  <a:gd name="T41" fmla="*/ 1 h 1018"/>
                  <a:gd name="T42" fmla="*/ 15 w 1045"/>
                  <a:gd name="T43" fmla="*/ 1 h 1018"/>
                  <a:gd name="T44" fmla="*/ 14 w 1045"/>
                  <a:gd name="T45" fmla="*/ 3 h 1018"/>
                  <a:gd name="T46" fmla="*/ 13 w 1045"/>
                  <a:gd name="T47" fmla="*/ 6 h 1018"/>
                  <a:gd name="T48" fmla="*/ 12 w 1045"/>
                  <a:gd name="T49" fmla="*/ 13 h 1018"/>
                  <a:gd name="T50" fmla="*/ 9 w 1045"/>
                  <a:gd name="T51" fmla="*/ 17 h 1018"/>
                  <a:gd name="T52" fmla="*/ 7 w 1045"/>
                  <a:gd name="T53" fmla="*/ 21 h 1018"/>
                  <a:gd name="T54" fmla="*/ 4 w 1045"/>
                  <a:gd name="T55" fmla="*/ 21 h 1018"/>
                  <a:gd name="T56" fmla="*/ 3 w 1045"/>
                  <a:gd name="T57" fmla="*/ 22 h 1018"/>
                  <a:gd name="T58" fmla="*/ 1 w 1045"/>
                  <a:gd name="T59" fmla="*/ 22 h 1018"/>
                  <a:gd name="T60" fmla="*/ 0 w 1045"/>
                  <a:gd name="T61" fmla="*/ 25 h 1018"/>
                  <a:gd name="T62" fmla="*/ 0 w 1045"/>
                  <a:gd name="T63" fmla="*/ 25 h 1018"/>
                  <a:gd name="T64" fmla="*/ 3 w 1045"/>
                  <a:gd name="T65" fmla="*/ 24 h 1018"/>
                  <a:gd name="T66" fmla="*/ 6 w 1045"/>
                  <a:gd name="T67" fmla="*/ 24 h 1018"/>
                  <a:gd name="T68" fmla="*/ 9 w 1045"/>
                  <a:gd name="T69" fmla="*/ 25 h 1018"/>
                  <a:gd name="T70" fmla="*/ 10 w 1045"/>
                  <a:gd name="T71" fmla="*/ 26 h 1018"/>
                  <a:gd name="T72" fmla="*/ 12 w 1045"/>
                  <a:gd name="T73" fmla="*/ 29 h 1018"/>
                  <a:gd name="T74" fmla="*/ 15 w 1045"/>
                  <a:gd name="T75" fmla="*/ 29 h 1018"/>
                  <a:gd name="T76" fmla="*/ 16 w 1045"/>
                  <a:gd name="T77" fmla="*/ 28 h 1018"/>
                  <a:gd name="T78" fmla="*/ 18 w 1045"/>
                  <a:gd name="T79" fmla="*/ 27 h 1018"/>
                  <a:gd name="T80" fmla="*/ 21 w 1045"/>
                  <a:gd name="T81" fmla="*/ 28 h 1018"/>
                  <a:gd name="T82" fmla="*/ 21 w 1045"/>
                  <a:gd name="T83" fmla="*/ 31 h 1018"/>
                  <a:gd name="T84" fmla="*/ 22 w 1045"/>
                  <a:gd name="T85" fmla="*/ 34 h 1018"/>
                  <a:gd name="T86" fmla="*/ 21 w 1045"/>
                  <a:gd name="T87" fmla="*/ 36 h 1018"/>
                  <a:gd name="T88" fmla="*/ 22 w 1045"/>
                  <a:gd name="T89" fmla="*/ 36 h 1018"/>
                  <a:gd name="T90" fmla="*/ 25 w 1045"/>
                  <a:gd name="T91" fmla="*/ 36 h 1018"/>
                  <a:gd name="T92" fmla="*/ 26 w 1045"/>
                  <a:gd name="T93" fmla="*/ 35 h 1018"/>
                  <a:gd name="T94" fmla="*/ 27 w 1045"/>
                  <a:gd name="T95" fmla="*/ 36 h 1018"/>
                  <a:gd name="T96" fmla="*/ 28 w 1045"/>
                  <a:gd name="T97" fmla="*/ 36 h 1018"/>
                  <a:gd name="T98" fmla="*/ 29 w 1045"/>
                  <a:gd name="T99" fmla="*/ 37 h 1018"/>
                  <a:gd name="T100" fmla="*/ 32 w 1045"/>
                  <a:gd name="T101" fmla="*/ 37 h 1018"/>
                  <a:gd name="T102" fmla="*/ 34 w 1045"/>
                  <a:gd name="T103" fmla="*/ 39 h 1018"/>
                  <a:gd name="T104" fmla="*/ 36 w 1045"/>
                  <a:gd name="T105" fmla="*/ 40 h 1018"/>
                  <a:gd name="T106" fmla="*/ 38 w 1045"/>
                  <a:gd name="T107" fmla="*/ 40 h 1018"/>
                  <a:gd name="T108" fmla="*/ 38 w 1045"/>
                  <a:gd name="T109" fmla="*/ 41 h 1018"/>
                  <a:gd name="T110" fmla="*/ 38 w 1045"/>
                  <a:gd name="T111" fmla="*/ 38 h 1018"/>
                  <a:gd name="T112" fmla="*/ 36 w 1045"/>
                  <a:gd name="T113" fmla="*/ 38 h 1018"/>
                  <a:gd name="T114" fmla="*/ 36 w 1045"/>
                  <a:gd name="T115" fmla="*/ 37 h 1018"/>
                  <a:gd name="T116" fmla="*/ 36 w 1045"/>
                  <a:gd name="T117" fmla="*/ 33 h 1018"/>
                  <a:gd name="T118" fmla="*/ 37 w 1045"/>
                  <a:gd name="T119" fmla="*/ 31 h 1018"/>
                  <a:gd name="T120" fmla="*/ 38 w 1045"/>
                  <a:gd name="T121" fmla="*/ 30 h 1018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045"/>
                  <a:gd name="T184" fmla="*/ 0 h 1018"/>
                  <a:gd name="T185" fmla="*/ 1045 w 1045"/>
                  <a:gd name="T186" fmla="*/ 1018 h 1018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045" h="1018">
                    <a:moveTo>
                      <a:pt x="1003" y="735"/>
                    </a:moveTo>
                    <a:lnTo>
                      <a:pt x="995" y="700"/>
                    </a:lnTo>
                    <a:lnTo>
                      <a:pt x="986" y="688"/>
                    </a:lnTo>
                    <a:lnTo>
                      <a:pt x="972" y="684"/>
                    </a:lnTo>
                    <a:lnTo>
                      <a:pt x="960" y="671"/>
                    </a:lnTo>
                    <a:lnTo>
                      <a:pt x="952" y="662"/>
                    </a:lnTo>
                    <a:lnTo>
                      <a:pt x="945" y="646"/>
                    </a:lnTo>
                    <a:lnTo>
                      <a:pt x="940" y="639"/>
                    </a:lnTo>
                    <a:lnTo>
                      <a:pt x="936" y="622"/>
                    </a:lnTo>
                    <a:lnTo>
                      <a:pt x="939" y="609"/>
                    </a:lnTo>
                    <a:lnTo>
                      <a:pt x="939" y="597"/>
                    </a:lnTo>
                    <a:lnTo>
                      <a:pt x="933" y="585"/>
                    </a:lnTo>
                    <a:lnTo>
                      <a:pt x="927" y="566"/>
                    </a:lnTo>
                    <a:lnTo>
                      <a:pt x="928" y="551"/>
                    </a:lnTo>
                    <a:lnTo>
                      <a:pt x="933" y="528"/>
                    </a:lnTo>
                    <a:lnTo>
                      <a:pt x="932" y="517"/>
                    </a:lnTo>
                    <a:lnTo>
                      <a:pt x="928" y="520"/>
                    </a:lnTo>
                    <a:lnTo>
                      <a:pt x="927" y="515"/>
                    </a:lnTo>
                    <a:lnTo>
                      <a:pt x="928" y="503"/>
                    </a:lnTo>
                    <a:lnTo>
                      <a:pt x="933" y="488"/>
                    </a:lnTo>
                    <a:lnTo>
                      <a:pt x="934" y="478"/>
                    </a:lnTo>
                    <a:lnTo>
                      <a:pt x="938" y="471"/>
                    </a:lnTo>
                    <a:lnTo>
                      <a:pt x="935" y="447"/>
                    </a:lnTo>
                    <a:lnTo>
                      <a:pt x="933" y="441"/>
                    </a:lnTo>
                    <a:lnTo>
                      <a:pt x="927" y="435"/>
                    </a:lnTo>
                    <a:lnTo>
                      <a:pt x="922" y="428"/>
                    </a:lnTo>
                    <a:lnTo>
                      <a:pt x="920" y="424"/>
                    </a:lnTo>
                    <a:lnTo>
                      <a:pt x="920" y="417"/>
                    </a:lnTo>
                    <a:lnTo>
                      <a:pt x="930" y="403"/>
                    </a:lnTo>
                    <a:lnTo>
                      <a:pt x="934" y="392"/>
                    </a:lnTo>
                    <a:lnTo>
                      <a:pt x="941" y="379"/>
                    </a:lnTo>
                    <a:lnTo>
                      <a:pt x="949" y="367"/>
                    </a:lnTo>
                    <a:lnTo>
                      <a:pt x="956" y="360"/>
                    </a:lnTo>
                    <a:lnTo>
                      <a:pt x="959" y="358"/>
                    </a:lnTo>
                    <a:lnTo>
                      <a:pt x="960" y="337"/>
                    </a:lnTo>
                    <a:lnTo>
                      <a:pt x="962" y="309"/>
                    </a:lnTo>
                    <a:lnTo>
                      <a:pt x="962" y="295"/>
                    </a:lnTo>
                    <a:lnTo>
                      <a:pt x="970" y="264"/>
                    </a:lnTo>
                    <a:lnTo>
                      <a:pt x="976" y="253"/>
                    </a:lnTo>
                    <a:lnTo>
                      <a:pt x="979" y="248"/>
                    </a:lnTo>
                    <a:lnTo>
                      <a:pt x="992" y="234"/>
                    </a:lnTo>
                    <a:lnTo>
                      <a:pt x="1003" y="221"/>
                    </a:lnTo>
                    <a:lnTo>
                      <a:pt x="1009" y="215"/>
                    </a:lnTo>
                    <a:lnTo>
                      <a:pt x="1011" y="209"/>
                    </a:lnTo>
                    <a:lnTo>
                      <a:pt x="1015" y="202"/>
                    </a:lnTo>
                    <a:lnTo>
                      <a:pt x="1026" y="197"/>
                    </a:lnTo>
                    <a:lnTo>
                      <a:pt x="1032" y="192"/>
                    </a:lnTo>
                    <a:lnTo>
                      <a:pt x="1041" y="183"/>
                    </a:lnTo>
                    <a:lnTo>
                      <a:pt x="1045" y="175"/>
                    </a:lnTo>
                    <a:lnTo>
                      <a:pt x="1043" y="167"/>
                    </a:lnTo>
                    <a:lnTo>
                      <a:pt x="1041" y="162"/>
                    </a:lnTo>
                    <a:lnTo>
                      <a:pt x="1032" y="160"/>
                    </a:lnTo>
                    <a:lnTo>
                      <a:pt x="1027" y="156"/>
                    </a:lnTo>
                    <a:lnTo>
                      <a:pt x="1022" y="151"/>
                    </a:lnTo>
                    <a:lnTo>
                      <a:pt x="1020" y="143"/>
                    </a:lnTo>
                    <a:lnTo>
                      <a:pt x="1019" y="121"/>
                    </a:lnTo>
                    <a:lnTo>
                      <a:pt x="1022" y="103"/>
                    </a:lnTo>
                    <a:lnTo>
                      <a:pt x="1025" y="94"/>
                    </a:lnTo>
                    <a:lnTo>
                      <a:pt x="1025" y="90"/>
                    </a:lnTo>
                    <a:lnTo>
                      <a:pt x="1019" y="90"/>
                    </a:lnTo>
                    <a:lnTo>
                      <a:pt x="1013" y="85"/>
                    </a:lnTo>
                    <a:lnTo>
                      <a:pt x="1004" y="76"/>
                    </a:lnTo>
                    <a:lnTo>
                      <a:pt x="990" y="68"/>
                    </a:lnTo>
                    <a:lnTo>
                      <a:pt x="966" y="42"/>
                    </a:lnTo>
                    <a:lnTo>
                      <a:pt x="955" y="36"/>
                    </a:lnTo>
                    <a:lnTo>
                      <a:pt x="943" y="46"/>
                    </a:lnTo>
                    <a:lnTo>
                      <a:pt x="932" y="47"/>
                    </a:lnTo>
                    <a:lnTo>
                      <a:pt x="905" y="41"/>
                    </a:lnTo>
                    <a:lnTo>
                      <a:pt x="898" y="49"/>
                    </a:lnTo>
                    <a:lnTo>
                      <a:pt x="892" y="52"/>
                    </a:lnTo>
                    <a:lnTo>
                      <a:pt x="869" y="43"/>
                    </a:lnTo>
                    <a:lnTo>
                      <a:pt x="864" y="33"/>
                    </a:lnTo>
                    <a:lnTo>
                      <a:pt x="858" y="25"/>
                    </a:lnTo>
                    <a:lnTo>
                      <a:pt x="846" y="16"/>
                    </a:lnTo>
                    <a:lnTo>
                      <a:pt x="839" y="5"/>
                    </a:lnTo>
                    <a:lnTo>
                      <a:pt x="811" y="5"/>
                    </a:lnTo>
                    <a:lnTo>
                      <a:pt x="803" y="16"/>
                    </a:lnTo>
                    <a:lnTo>
                      <a:pt x="791" y="9"/>
                    </a:lnTo>
                    <a:lnTo>
                      <a:pt x="784" y="16"/>
                    </a:lnTo>
                    <a:lnTo>
                      <a:pt x="771" y="0"/>
                    </a:lnTo>
                    <a:lnTo>
                      <a:pt x="756" y="5"/>
                    </a:lnTo>
                    <a:lnTo>
                      <a:pt x="733" y="9"/>
                    </a:lnTo>
                    <a:lnTo>
                      <a:pt x="713" y="4"/>
                    </a:lnTo>
                    <a:lnTo>
                      <a:pt x="709" y="16"/>
                    </a:lnTo>
                    <a:lnTo>
                      <a:pt x="697" y="16"/>
                    </a:lnTo>
                    <a:lnTo>
                      <a:pt x="690" y="19"/>
                    </a:lnTo>
                    <a:lnTo>
                      <a:pt x="682" y="16"/>
                    </a:lnTo>
                    <a:lnTo>
                      <a:pt x="683" y="16"/>
                    </a:lnTo>
                    <a:lnTo>
                      <a:pt x="682" y="10"/>
                    </a:lnTo>
                    <a:lnTo>
                      <a:pt x="676" y="10"/>
                    </a:lnTo>
                    <a:lnTo>
                      <a:pt x="665" y="16"/>
                    </a:lnTo>
                    <a:lnTo>
                      <a:pt x="639" y="21"/>
                    </a:lnTo>
                    <a:lnTo>
                      <a:pt x="628" y="27"/>
                    </a:lnTo>
                    <a:lnTo>
                      <a:pt x="610" y="32"/>
                    </a:lnTo>
                    <a:lnTo>
                      <a:pt x="601" y="27"/>
                    </a:lnTo>
                    <a:lnTo>
                      <a:pt x="583" y="24"/>
                    </a:lnTo>
                    <a:lnTo>
                      <a:pt x="569" y="32"/>
                    </a:lnTo>
                    <a:lnTo>
                      <a:pt x="567" y="49"/>
                    </a:lnTo>
                    <a:lnTo>
                      <a:pt x="559" y="53"/>
                    </a:lnTo>
                    <a:lnTo>
                      <a:pt x="509" y="53"/>
                    </a:lnTo>
                    <a:lnTo>
                      <a:pt x="486" y="47"/>
                    </a:lnTo>
                    <a:lnTo>
                      <a:pt x="472" y="37"/>
                    </a:lnTo>
                    <a:lnTo>
                      <a:pt x="465" y="46"/>
                    </a:lnTo>
                    <a:lnTo>
                      <a:pt x="457" y="43"/>
                    </a:lnTo>
                    <a:lnTo>
                      <a:pt x="436" y="25"/>
                    </a:lnTo>
                    <a:lnTo>
                      <a:pt x="434" y="16"/>
                    </a:lnTo>
                    <a:lnTo>
                      <a:pt x="427" y="6"/>
                    </a:lnTo>
                    <a:lnTo>
                      <a:pt x="411" y="5"/>
                    </a:lnTo>
                    <a:lnTo>
                      <a:pt x="397" y="5"/>
                    </a:lnTo>
                    <a:lnTo>
                      <a:pt x="384" y="16"/>
                    </a:lnTo>
                    <a:lnTo>
                      <a:pt x="378" y="22"/>
                    </a:lnTo>
                    <a:lnTo>
                      <a:pt x="371" y="37"/>
                    </a:lnTo>
                    <a:lnTo>
                      <a:pt x="363" y="42"/>
                    </a:lnTo>
                    <a:lnTo>
                      <a:pt x="360" y="56"/>
                    </a:lnTo>
                    <a:lnTo>
                      <a:pt x="359" y="75"/>
                    </a:lnTo>
                    <a:lnTo>
                      <a:pt x="362" y="84"/>
                    </a:lnTo>
                    <a:lnTo>
                      <a:pt x="349" y="86"/>
                    </a:lnTo>
                    <a:lnTo>
                      <a:pt x="352" y="103"/>
                    </a:lnTo>
                    <a:lnTo>
                      <a:pt x="347" y="122"/>
                    </a:lnTo>
                    <a:lnTo>
                      <a:pt x="326" y="159"/>
                    </a:lnTo>
                    <a:lnTo>
                      <a:pt x="316" y="183"/>
                    </a:lnTo>
                    <a:lnTo>
                      <a:pt x="307" y="227"/>
                    </a:lnTo>
                    <a:lnTo>
                      <a:pt x="306" y="293"/>
                    </a:lnTo>
                    <a:lnTo>
                      <a:pt x="299" y="323"/>
                    </a:lnTo>
                    <a:lnTo>
                      <a:pt x="298" y="327"/>
                    </a:lnTo>
                    <a:lnTo>
                      <a:pt x="283" y="340"/>
                    </a:lnTo>
                    <a:lnTo>
                      <a:pt x="264" y="350"/>
                    </a:lnTo>
                    <a:lnTo>
                      <a:pt x="247" y="366"/>
                    </a:lnTo>
                    <a:lnTo>
                      <a:pt x="224" y="402"/>
                    </a:lnTo>
                    <a:lnTo>
                      <a:pt x="217" y="423"/>
                    </a:lnTo>
                    <a:lnTo>
                      <a:pt x="213" y="444"/>
                    </a:lnTo>
                    <a:lnTo>
                      <a:pt x="213" y="462"/>
                    </a:lnTo>
                    <a:lnTo>
                      <a:pt x="209" y="480"/>
                    </a:lnTo>
                    <a:lnTo>
                      <a:pt x="196" y="501"/>
                    </a:lnTo>
                    <a:lnTo>
                      <a:pt x="181" y="516"/>
                    </a:lnTo>
                    <a:lnTo>
                      <a:pt x="167" y="523"/>
                    </a:lnTo>
                    <a:lnTo>
                      <a:pt x="144" y="544"/>
                    </a:lnTo>
                    <a:lnTo>
                      <a:pt x="123" y="552"/>
                    </a:lnTo>
                    <a:lnTo>
                      <a:pt x="113" y="549"/>
                    </a:lnTo>
                    <a:lnTo>
                      <a:pt x="112" y="531"/>
                    </a:lnTo>
                    <a:lnTo>
                      <a:pt x="110" y="526"/>
                    </a:lnTo>
                    <a:lnTo>
                      <a:pt x="96" y="530"/>
                    </a:lnTo>
                    <a:lnTo>
                      <a:pt x="83" y="532"/>
                    </a:lnTo>
                    <a:lnTo>
                      <a:pt x="75" y="538"/>
                    </a:lnTo>
                    <a:lnTo>
                      <a:pt x="68" y="551"/>
                    </a:lnTo>
                    <a:lnTo>
                      <a:pt x="56" y="554"/>
                    </a:lnTo>
                    <a:lnTo>
                      <a:pt x="40" y="544"/>
                    </a:lnTo>
                    <a:lnTo>
                      <a:pt x="36" y="546"/>
                    </a:lnTo>
                    <a:lnTo>
                      <a:pt x="27" y="552"/>
                    </a:lnTo>
                    <a:lnTo>
                      <a:pt x="18" y="560"/>
                    </a:lnTo>
                    <a:lnTo>
                      <a:pt x="14" y="576"/>
                    </a:lnTo>
                    <a:lnTo>
                      <a:pt x="11" y="591"/>
                    </a:lnTo>
                    <a:lnTo>
                      <a:pt x="10" y="603"/>
                    </a:lnTo>
                    <a:lnTo>
                      <a:pt x="2" y="608"/>
                    </a:lnTo>
                    <a:lnTo>
                      <a:pt x="3" y="612"/>
                    </a:lnTo>
                    <a:lnTo>
                      <a:pt x="3" y="619"/>
                    </a:lnTo>
                    <a:lnTo>
                      <a:pt x="0" y="625"/>
                    </a:lnTo>
                    <a:lnTo>
                      <a:pt x="2" y="629"/>
                    </a:lnTo>
                    <a:lnTo>
                      <a:pt x="3" y="627"/>
                    </a:lnTo>
                    <a:lnTo>
                      <a:pt x="9" y="624"/>
                    </a:lnTo>
                    <a:lnTo>
                      <a:pt x="27" y="619"/>
                    </a:lnTo>
                    <a:lnTo>
                      <a:pt x="41" y="612"/>
                    </a:lnTo>
                    <a:lnTo>
                      <a:pt x="54" y="607"/>
                    </a:lnTo>
                    <a:lnTo>
                      <a:pt x="63" y="607"/>
                    </a:lnTo>
                    <a:lnTo>
                      <a:pt x="70" y="606"/>
                    </a:lnTo>
                    <a:lnTo>
                      <a:pt x="94" y="607"/>
                    </a:lnTo>
                    <a:lnTo>
                      <a:pt x="116" y="605"/>
                    </a:lnTo>
                    <a:lnTo>
                      <a:pt x="123" y="607"/>
                    </a:lnTo>
                    <a:lnTo>
                      <a:pt x="142" y="608"/>
                    </a:lnTo>
                    <a:lnTo>
                      <a:pt x="155" y="606"/>
                    </a:lnTo>
                    <a:lnTo>
                      <a:pt x="169" y="606"/>
                    </a:lnTo>
                    <a:lnTo>
                      <a:pt x="202" y="603"/>
                    </a:lnTo>
                    <a:lnTo>
                      <a:pt x="218" y="605"/>
                    </a:lnTo>
                    <a:lnTo>
                      <a:pt x="220" y="606"/>
                    </a:lnTo>
                    <a:lnTo>
                      <a:pt x="225" y="613"/>
                    </a:lnTo>
                    <a:lnTo>
                      <a:pt x="229" y="614"/>
                    </a:lnTo>
                    <a:lnTo>
                      <a:pt x="233" y="613"/>
                    </a:lnTo>
                    <a:lnTo>
                      <a:pt x="237" y="622"/>
                    </a:lnTo>
                    <a:lnTo>
                      <a:pt x="242" y="640"/>
                    </a:lnTo>
                    <a:lnTo>
                      <a:pt x="244" y="654"/>
                    </a:lnTo>
                    <a:lnTo>
                      <a:pt x="245" y="659"/>
                    </a:lnTo>
                    <a:lnTo>
                      <a:pt x="252" y="671"/>
                    </a:lnTo>
                    <a:lnTo>
                      <a:pt x="256" y="687"/>
                    </a:lnTo>
                    <a:lnTo>
                      <a:pt x="268" y="700"/>
                    </a:lnTo>
                    <a:lnTo>
                      <a:pt x="289" y="727"/>
                    </a:lnTo>
                    <a:lnTo>
                      <a:pt x="301" y="732"/>
                    </a:lnTo>
                    <a:lnTo>
                      <a:pt x="315" y="732"/>
                    </a:lnTo>
                    <a:lnTo>
                      <a:pt x="336" y="725"/>
                    </a:lnTo>
                    <a:lnTo>
                      <a:pt x="349" y="722"/>
                    </a:lnTo>
                    <a:lnTo>
                      <a:pt x="366" y="725"/>
                    </a:lnTo>
                    <a:lnTo>
                      <a:pt x="386" y="725"/>
                    </a:lnTo>
                    <a:lnTo>
                      <a:pt x="389" y="710"/>
                    </a:lnTo>
                    <a:lnTo>
                      <a:pt x="390" y="703"/>
                    </a:lnTo>
                    <a:lnTo>
                      <a:pt x="392" y="698"/>
                    </a:lnTo>
                    <a:lnTo>
                      <a:pt x="393" y="694"/>
                    </a:lnTo>
                    <a:lnTo>
                      <a:pt x="395" y="689"/>
                    </a:lnTo>
                    <a:lnTo>
                      <a:pt x="396" y="678"/>
                    </a:lnTo>
                    <a:lnTo>
                      <a:pt x="398" y="670"/>
                    </a:lnTo>
                    <a:lnTo>
                      <a:pt x="441" y="670"/>
                    </a:lnTo>
                    <a:lnTo>
                      <a:pt x="444" y="664"/>
                    </a:lnTo>
                    <a:lnTo>
                      <a:pt x="467" y="664"/>
                    </a:lnTo>
                    <a:lnTo>
                      <a:pt x="466" y="686"/>
                    </a:lnTo>
                    <a:lnTo>
                      <a:pt x="514" y="687"/>
                    </a:lnTo>
                    <a:lnTo>
                      <a:pt x="518" y="691"/>
                    </a:lnTo>
                    <a:lnTo>
                      <a:pt x="520" y="699"/>
                    </a:lnTo>
                    <a:lnTo>
                      <a:pt x="522" y="731"/>
                    </a:lnTo>
                    <a:lnTo>
                      <a:pt x="525" y="743"/>
                    </a:lnTo>
                    <a:lnTo>
                      <a:pt x="525" y="759"/>
                    </a:lnTo>
                    <a:lnTo>
                      <a:pt x="527" y="775"/>
                    </a:lnTo>
                    <a:lnTo>
                      <a:pt x="527" y="781"/>
                    </a:lnTo>
                    <a:lnTo>
                      <a:pt x="524" y="792"/>
                    </a:lnTo>
                    <a:lnTo>
                      <a:pt x="524" y="806"/>
                    </a:lnTo>
                    <a:lnTo>
                      <a:pt x="526" y="815"/>
                    </a:lnTo>
                    <a:lnTo>
                      <a:pt x="535" y="829"/>
                    </a:lnTo>
                    <a:lnTo>
                      <a:pt x="541" y="850"/>
                    </a:lnTo>
                    <a:lnTo>
                      <a:pt x="547" y="866"/>
                    </a:lnTo>
                    <a:lnTo>
                      <a:pt x="547" y="874"/>
                    </a:lnTo>
                    <a:lnTo>
                      <a:pt x="542" y="881"/>
                    </a:lnTo>
                    <a:lnTo>
                      <a:pt x="531" y="892"/>
                    </a:lnTo>
                    <a:lnTo>
                      <a:pt x="531" y="894"/>
                    </a:lnTo>
                    <a:lnTo>
                      <a:pt x="532" y="897"/>
                    </a:lnTo>
                    <a:lnTo>
                      <a:pt x="534" y="898"/>
                    </a:lnTo>
                    <a:lnTo>
                      <a:pt x="537" y="899"/>
                    </a:lnTo>
                    <a:lnTo>
                      <a:pt x="543" y="907"/>
                    </a:lnTo>
                    <a:lnTo>
                      <a:pt x="549" y="908"/>
                    </a:lnTo>
                    <a:lnTo>
                      <a:pt x="552" y="907"/>
                    </a:lnTo>
                    <a:lnTo>
                      <a:pt x="554" y="901"/>
                    </a:lnTo>
                    <a:lnTo>
                      <a:pt x="557" y="893"/>
                    </a:lnTo>
                    <a:lnTo>
                      <a:pt x="562" y="891"/>
                    </a:lnTo>
                    <a:lnTo>
                      <a:pt x="613" y="891"/>
                    </a:lnTo>
                    <a:lnTo>
                      <a:pt x="623" y="887"/>
                    </a:lnTo>
                    <a:lnTo>
                      <a:pt x="632" y="890"/>
                    </a:lnTo>
                    <a:lnTo>
                      <a:pt x="634" y="890"/>
                    </a:lnTo>
                    <a:lnTo>
                      <a:pt x="644" y="882"/>
                    </a:lnTo>
                    <a:lnTo>
                      <a:pt x="645" y="882"/>
                    </a:lnTo>
                    <a:lnTo>
                      <a:pt x="655" y="880"/>
                    </a:lnTo>
                    <a:lnTo>
                      <a:pt x="659" y="880"/>
                    </a:lnTo>
                    <a:lnTo>
                      <a:pt x="661" y="881"/>
                    </a:lnTo>
                    <a:lnTo>
                      <a:pt x="667" y="891"/>
                    </a:lnTo>
                    <a:lnTo>
                      <a:pt x="667" y="903"/>
                    </a:lnTo>
                    <a:lnTo>
                      <a:pt x="669" y="908"/>
                    </a:lnTo>
                    <a:lnTo>
                      <a:pt x="672" y="908"/>
                    </a:lnTo>
                    <a:lnTo>
                      <a:pt x="686" y="902"/>
                    </a:lnTo>
                    <a:lnTo>
                      <a:pt x="691" y="901"/>
                    </a:lnTo>
                    <a:lnTo>
                      <a:pt x="697" y="901"/>
                    </a:lnTo>
                    <a:lnTo>
                      <a:pt x="708" y="896"/>
                    </a:lnTo>
                    <a:lnTo>
                      <a:pt x="714" y="904"/>
                    </a:lnTo>
                    <a:lnTo>
                      <a:pt x="718" y="913"/>
                    </a:lnTo>
                    <a:lnTo>
                      <a:pt x="723" y="919"/>
                    </a:lnTo>
                    <a:lnTo>
                      <a:pt x="736" y="925"/>
                    </a:lnTo>
                    <a:lnTo>
                      <a:pt x="748" y="933"/>
                    </a:lnTo>
                    <a:lnTo>
                      <a:pt x="766" y="940"/>
                    </a:lnTo>
                    <a:lnTo>
                      <a:pt x="778" y="941"/>
                    </a:lnTo>
                    <a:lnTo>
                      <a:pt x="787" y="939"/>
                    </a:lnTo>
                    <a:lnTo>
                      <a:pt x="799" y="934"/>
                    </a:lnTo>
                    <a:lnTo>
                      <a:pt x="809" y="931"/>
                    </a:lnTo>
                    <a:lnTo>
                      <a:pt x="814" y="933"/>
                    </a:lnTo>
                    <a:lnTo>
                      <a:pt x="833" y="951"/>
                    </a:lnTo>
                    <a:lnTo>
                      <a:pt x="847" y="957"/>
                    </a:lnTo>
                    <a:lnTo>
                      <a:pt x="858" y="961"/>
                    </a:lnTo>
                    <a:lnTo>
                      <a:pt x="869" y="962"/>
                    </a:lnTo>
                    <a:lnTo>
                      <a:pt x="876" y="968"/>
                    </a:lnTo>
                    <a:lnTo>
                      <a:pt x="881" y="980"/>
                    </a:lnTo>
                    <a:lnTo>
                      <a:pt x="885" y="987"/>
                    </a:lnTo>
                    <a:lnTo>
                      <a:pt x="898" y="999"/>
                    </a:lnTo>
                    <a:lnTo>
                      <a:pt x="912" y="1007"/>
                    </a:lnTo>
                    <a:lnTo>
                      <a:pt x="922" y="1011"/>
                    </a:lnTo>
                    <a:lnTo>
                      <a:pt x="932" y="1012"/>
                    </a:lnTo>
                    <a:lnTo>
                      <a:pt x="935" y="1012"/>
                    </a:lnTo>
                    <a:lnTo>
                      <a:pt x="941" y="1010"/>
                    </a:lnTo>
                    <a:lnTo>
                      <a:pt x="945" y="1009"/>
                    </a:lnTo>
                    <a:lnTo>
                      <a:pt x="946" y="1010"/>
                    </a:lnTo>
                    <a:lnTo>
                      <a:pt x="951" y="1017"/>
                    </a:lnTo>
                    <a:lnTo>
                      <a:pt x="955" y="1018"/>
                    </a:lnTo>
                    <a:lnTo>
                      <a:pt x="959" y="1018"/>
                    </a:lnTo>
                    <a:lnTo>
                      <a:pt x="961" y="1016"/>
                    </a:lnTo>
                    <a:lnTo>
                      <a:pt x="961" y="1009"/>
                    </a:lnTo>
                    <a:lnTo>
                      <a:pt x="960" y="1001"/>
                    </a:lnTo>
                    <a:lnTo>
                      <a:pt x="959" y="966"/>
                    </a:lnTo>
                    <a:lnTo>
                      <a:pt x="956" y="958"/>
                    </a:lnTo>
                    <a:lnTo>
                      <a:pt x="950" y="957"/>
                    </a:lnTo>
                    <a:lnTo>
                      <a:pt x="941" y="962"/>
                    </a:lnTo>
                    <a:lnTo>
                      <a:pt x="930" y="960"/>
                    </a:lnTo>
                    <a:lnTo>
                      <a:pt x="918" y="960"/>
                    </a:lnTo>
                    <a:lnTo>
                      <a:pt x="911" y="955"/>
                    </a:lnTo>
                    <a:lnTo>
                      <a:pt x="901" y="942"/>
                    </a:lnTo>
                    <a:lnTo>
                      <a:pt x="895" y="936"/>
                    </a:lnTo>
                    <a:lnTo>
                      <a:pt x="893" y="934"/>
                    </a:lnTo>
                    <a:lnTo>
                      <a:pt x="892" y="924"/>
                    </a:lnTo>
                    <a:lnTo>
                      <a:pt x="895" y="917"/>
                    </a:lnTo>
                    <a:lnTo>
                      <a:pt x="897" y="905"/>
                    </a:lnTo>
                    <a:lnTo>
                      <a:pt x="912" y="866"/>
                    </a:lnTo>
                    <a:lnTo>
                      <a:pt x="913" y="859"/>
                    </a:lnTo>
                    <a:lnTo>
                      <a:pt x="914" y="834"/>
                    </a:lnTo>
                    <a:lnTo>
                      <a:pt x="912" y="820"/>
                    </a:lnTo>
                    <a:lnTo>
                      <a:pt x="905" y="801"/>
                    </a:lnTo>
                    <a:lnTo>
                      <a:pt x="905" y="791"/>
                    </a:lnTo>
                    <a:lnTo>
                      <a:pt x="907" y="788"/>
                    </a:lnTo>
                    <a:lnTo>
                      <a:pt x="909" y="779"/>
                    </a:lnTo>
                    <a:lnTo>
                      <a:pt x="914" y="772"/>
                    </a:lnTo>
                    <a:lnTo>
                      <a:pt x="922" y="758"/>
                    </a:lnTo>
                    <a:lnTo>
                      <a:pt x="924" y="756"/>
                    </a:lnTo>
                    <a:lnTo>
                      <a:pt x="929" y="752"/>
                    </a:lnTo>
                    <a:lnTo>
                      <a:pt x="932" y="752"/>
                    </a:lnTo>
                    <a:lnTo>
                      <a:pt x="941" y="748"/>
                    </a:lnTo>
                    <a:lnTo>
                      <a:pt x="1003" y="73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grpSp>
          <p:nvGrpSpPr>
            <p:cNvPr id="9" name="Group 69">
              <a:extLst>
                <a:ext uri="{FF2B5EF4-FFF2-40B4-BE49-F238E27FC236}">
                  <a16:creationId xmlns:a16="http://schemas.microsoft.com/office/drawing/2014/main" id="{072F03EF-11C8-630E-1D4E-033B3868571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861439" y="2133548"/>
              <a:ext cx="719516" cy="649582"/>
              <a:chOff x="2802" y="1979"/>
              <a:chExt cx="408" cy="369"/>
            </a:xfrm>
            <a:grpFill/>
          </p:grpSpPr>
          <p:sp>
            <p:nvSpPr>
              <p:cNvPr id="114" name="Freeform 70">
                <a:extLst>
                  <a:ext uri="{FF2B5EF4-FFF2-40B4-BE49-F238E27FC236}">
                    <a16:creationId xmlns:a16="http://schemas.microsoft.com/office/drawing/2014/main" id="{C2ADB1E5-3C6B-3FE0-E87D-5B7F5280C40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99" y="2082"/>
                <a:ext cx="19" cy="23"/>
              </a:xfrm>
              <a:custGeom>
                <a:avLst/>
                <a:gdLst>
                  <a:gd name="T0" fmla="*/ 2 w 95"/>
                  <a:gd name="T1" fmla="*/ 4 h 116"/>
                  <a:gd name="T2" fmla="*/ 2 w 95"/>
                  <a:gd name="T3" fmla="*/ 4 h 116"/>
                  <a:gd name="T4" fmla="*/ 2 w 95"/>
                  <a:gd name="T5" fmla="*/ 3 h 116"/>
                  <a:gd name="T6" fmla="*/ 2 w 95"/>
                  <a:gd name="T7" fmla="*/ 3 h 116"/>
                  <a:gd name="T8" fmla="*/ 2 w 95"/>
                  <a:gd name="T9" fmla="*/ 3 h 116"/>
                  <a:gd name="T10" fmla="*/ 2 w 95"/>
                  <a:gd name="T11" fmla="*/ 3 h 116"/>
                  <a:gd name="T12" fmla="*/ 3 w 95"/>
                  <a:gd name="T13" fmla="*/ 2 h 116"/>
                  <a:gd name="T14" fmla="*/ 3 w 95"/>
                  <a:gd name="T15" fmla="*/ 2 h 116"/>
                  <a:gd name="T16" fmla="*/ 3 w 95"/>
                  <a:gd name="T17" fmla="*/ 2 h 116"/>
                  <a:gd name="T18" fmla="*/ 3 w 95"/>
                  <a:gd name="T19" fmla="*/ 2 h 116"/>
                  <a:gd name="T20" fmla="*/ 3 w 95"/>
                  <a:gd name="T21" fmla="*/ 2 h 116"/>
                  <a:gd name="T22" fmla="*/ 3 w 95"/>
                  <a:gd name="T23" fmla="*/ 2 h 116"/>
                  <a:gd name="T24" fmla="*/ 4 w 95"/>
                  <a:gd name="T25" fmla="*/ 2 h 116"/>
                  <a:gd name="T26" fmla="*/ 4 w 95"/>
                  <a:gd name="T27" fmla="*/ 1 h 116"/>
                  <a:gd name="T28" fmla="*/ 4 w 95"/>
                  <a:gd name="T29" fmla="*/ 1 h 116"/>
                  <a:gd name="T30" fmla="*/ 3 w 95"/>
                  <a:gd name="T31" fmla="*/ 1 h 116"/>
                  <a:gd name="T32" fmla="*/ 3 w 95"/>
                  <a:gd name="T33" fmla="*/ 1 h 116"/>
                  <a:gd name="T34" fmla="*/ 3 w 95"/>
                  <a:gd name="T35" fmla="*/ 0 h 116"/>
                  <a:gd name="T36" fmla="*/ 3 w 95"/>
                  <a:gd name="T37" fmla="*/ 0 h 116"/>
                  <a:gd name="T38" fmla="*/ 3 w 95"/>
                  <a:gd name="T39" fmla="*/ 0 h 116"/>
                  <a:gd name="T40" fmla="*/ 3 w 95"/>
                  <a:gd name="T41" fmla="*/ 0 h 116"/>
                  <a:gd name="T42" fmla="*/ 3 w 95"/>
                  <a:gd name="T43" fmla="*/ 0 h 116"/>
                  <a:gd name="T44" fmla="*/ 2 w 95"/>
                  <a:gd name="T45" fmla="*/ 1 h 116"/>
                  <a:gd name="T46" fmla="*/ 2 w 95"/>
                  <a:gd name="T47" fmla="*/ 1 h 116"/>
                  <a:gd name="T48" fmla="*/ 1 w 95"/>
                  <a:gd name="T49" fmla="*/ 2 h 116"/>
                  <a:gd name="T50" fmla="*/ 1 w 95"/>
                  <a:gd name="T51" fmla="*/ 2 h 116"/>
                  <a:gd name="T52" fmla="*/ 1 w 95"/>
                  <a:gd name="T53" fmla="*/ 3 h 116"/>
                  <a:gd name="T54" fmla="*/ 0 w 95"/>
                  <a:gd name="T55" fmla="*/ 3 h 116"/>
                  <a:gd name="T56" fmla="*/ 0 w 95"/>
                  <a:gd name="T57" fmla="*/ 4 h 116"/>
                  <a:gd name="T58" fmla="*/ 0 w 95"/>
                  <a:gd name="T59" fmla="*/ 4 h 116"/>
                  <a:gd name="T60" fmla="*/ 1 w 95"/>
                  <a:gd name="T61" fmla="*/ 5 h 116"/>
                  <a:gd name="T62" fmla="*/ 1 w 95"/>
                  <a:gd name="T63" fmla="*/ 4 h 116"/>
                  <a:gd name="T64" fmla="*/ 1 w 95"/>
                  <a:gd name="T65" fmla="*/ 4 h 116"/>
                  <a:gd name="T66" fmla="*/ 1 w 95"/>
                  <a:gd name="T67" fmla="*/ 4 h 11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95"/>
                  <a:gd name="T103" fmla="*/ 0 h 116"/>
                  <a:gd name="T104" fmla="*/ 95 w 95"/>
                  <a:gd name="T105" fmla="*/ 116 h 11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95" h="116">
                    <a:moveTo>
                      <a:pt x="32" y="102"/>
                    </a:moveTo>
                    <a:lnTo>
                      <a:pt x="39" y="96"/>
                    </a:lnTo>
                    <a:lnTo>
                      <a:pt x="44" y="95"/>
                    </a:lnTo>
                    <a:lnTo>
                      <a:pt x="45" y="93"/>
                    </a:lnTo>
                    <a:lnTo>
                      <a:pt x="52" y="88"/>
                    </a:lnTo>
                    <a:lnTo>
                      <a:pt x="55" y="83"/>
                    </a:lnTo>
                    <a:lnTo>
                      <a:pt x="58" y="83"/>
                    </a:lnTo>
                    <a:lnTo>
                      <a:pt x="58" y="78"/>
                    </a:lnTo>
                    <a:lnTo>
                      <a:pt x="53" y="75"/>
                    </a:lnTo>
                    <a:lnTo>
                      <a:pt x="55" y="69"/>
                    </a:lnTo>
                    <a:lnTo>
                      <a:pt x="58" y="68"/>
                    </a:lnTo>
                    <a:lnTo>
                      <a:pt x="59" y="63"/>
                    </a:lnTo>
                    <a:lnTo>
                      <a:pt x="72" y="62"/>
                    </a:lnTo>
                    <a:lnTo>
                      <a:pt x="77" y="63"/>
                    </a:lnTo>
                    <a:lnTo>
                      <a:pt x="79" y="62"/>
                    </a:lnTo>
                    <a:lnTo>
                      <a:pt x="80" y="62"/>
                    </a:lnTo>
                    <a:lnTo>
                      <a:pt x="77" y="59"/>
                    </a:lnTo>
                    <a:lnTo>
                      <a:pt x="72" y="56"/>
                    </a:lnTo>
                    <a:lnTo>
                      <a:pt x="74" y="53"/>
                    </a:lnTo>
                    <a:lnTo>
                      <a:pt x="77" y="52"/>
                    </a:lnTo>
                    <a:lnTo>
                      <a:pt x="77" y="48"/>
                    </a:lnTo>
                    <a:lnTo>
                      <a:pt x="82" y="47"/>
                    </a:lnTo>
                    <a:lnTo>
                      <a:pt x="87" y="42"/>
                    </a:lnTo>
                    <a:lnTo>
                      <a:pt x="90" y="42"/>
                    </a:lnTo>
                    <a:lnTo>
                      <a:pt x="91" y="38"/>
                    </a:lnTo>
                    <a:lnTo>
                      <a:pt x="95" y="36"/>
                    </a:lnTo>
                    <a:lnTo>
                      <a:pt x="91" y="34"/>
                    </a:lnTo>
                    <a:lnTo>
                      <a:pt x="92" y="30"/>
                    </a:lnTo>
                    <a:lnTo>
                      <a:pt x="88" y="25"/>
                    </a:lnTo>
                    <a:lnTo>
                      <a:pt x="90" y="21"/>
                    </a:lnTo>
                    <a:lnTo>
                      <a:pt x="85" y="19"/>
                    </a:lnTo>
                    <a:lnTo>
                      <a:pt x="84" y="15"/>
                    </a:lnTo>
                    <a:lnTo>
                      <a:pt x="77" y="15"/>
                    </a:lnTo>
                    <a:lnTo>
                      <a:pt x="77" y="13"/>
                    </a:lnTo>
                    <a:lnTo>
                      <a:pt x="81" y="10"/>
                    </a:lnTo>
                    <a:lnTo>
                      <a:pt x="81" y="9"/>
                    </a:lnTo>
                    <a:lnTo>
                      <a:pt x="85" y="9"/>
                    </a:lnTo>
                    <a:lnTo>
                      <a:pt x="85" y="7"/>
                    </a:lnTo>
                    <a:lnTo>
                      <a:pt x="84" y="4"/>
                    </a:lnTo>
                    <a:lnTo>
                      <a:pt x="79" y="4"/>
                    </a:lnTo>
                    <a:lnTo>
                      <a:pt x="77" y="0"/>
                    </a:lnTo>
                    <a:lnTo>
                      <a:pt x="75" y="0"/>
                    </a:lnTo>
                    <a:lnTo>
                      <a:pt x="72" y="4"/>
                    </a:lnTo>
                    <a:lnTo>
                      <a:pt x="55" y="4"/>
                    </a:lnTo>
                    <a:lnTo>
                      <a:pt x="58" y="14"/>
                    </a:lnTo>
                    <a:lnTo>
                      <a:pt x="48" y="21"/>
                    </a:lnTo>
                    <a:lnTo>
                      <a:pt x="41" y="29"/>
                    </a:lnTo>
                    <a:lnTo>
                      <a:pt x="33" y="53"/>
                    </a:lnTo>
                    <a:lnTo>
                      <a:pt x="27" y="54"/>
                    </a:lnTo>
                    <a:lnTo>
                      <a:pt x="27" y="58"/>
                    </a:lnTo>
                    <a:lnTo>
                      <a:pt x="25" y="58"/>
                    </a:lnTo>
                    <a:lnTo>
                      <a:pt x="22" y="63"/>
                    </a:lnTo>
                    <a:lnTo>
                      <a:pt x="17" y="73"/>
                    </a:lnTo>
                    <a:lnTo>
                      <a:pt x="16" y="77"/>
                    </a:lnTo>
                    <a:lnTo>
                      <a:pt x="11" y="85"/>
                    </a:lnTo>
                    <a:lnTo>
                      <a:pt x="6" y="99"/>
                    </a:lnTo>
                    <a:lnTo>
                      <a:pt x="1" y="106"/>
                    </a:lnTo>
                    <a:lnTo>
                      <a:pt x="0" y="111"/>
                    </a:lnTo>
                    <a:lnTo>
                      <a:pt x="2" y="113"/>
                    </a:lnTo>
                    <a:lnTo>
                      <a:pt x="14" y="112"/>
                    </a:lnTo>
                    <a:lnTo>
                      <a:pt x="16" y="116"/>
                    </a:lnTo>
                    <a:lnTo>
                      <a:pt x="18" y="116"/>
                    </a:lnTo>
                    <a:lnTo>
                      <a:pt x="21" y="113"/>
                    </a:lnTo>
                    <a:lnTo>
                      <a:pt x="26" y="115"/>
                    </a:lnTo>
                    <a:lnTo>
                      <a:pt x="27" y="101"/>
                    </a:lnTo>
                    <a:lnTo>
                      <a:pt x="29" y="99"/>
                    </a:lnTo>
                    <a:lnTo>
                      <a:pt x="31" y="100"/>
                    </a:lnTo>
                    <a:lnTo>
                      <a:pt x="32" y="10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grpSp>
            <p:nvGrpSpPr>
              <p:cNvPr id="115" name="Group 71">
                <a:extLst>
                  <a:ext uri="{FF2B5EF4-FFF2-40B4-BE49-F238E27FC236}">
                    <a16:creationId xmlns:a16="http://schemas.microsoft.com/office/drawing/2014/main" id="{AA2C5719-C87B-A5E8-CB06-B75C7B3EE045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889" y="2101"/>
                <a:ext cx="17" cy="51"/>
                <a:chOff x="2889" y="2101"/>
                <a:chExt cx="17" cy="51"/>
              </a:xfrm>
              <a:grpFill/>
            </p:grpSpPr>
            <p:sp>
              <p:nvSpPr>
                <p:cNvPr id="140" name="Freeform 72">
                  <a:extLst>
                    <a:ext uri="{FF2B5EF4-FFF2-40B4-BE49-F238E27FC236}">
                      <a16:creationId xmlns:a16="http://schemas.microsoft.com/office/drawing/2014/main" id="{BB3229A2-8298-0033-285A-B8FA54714F7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897" y="2111"/>
                  <a:ext cx="8" cy="16"/>
                </a:xfrm>
                <a:custGeom>
                  <a:avLst/>
                  <a:gdLst>
                    <a:gd name="T0" fmla="*/ 1 w 37"/>
                    <a:gd name="T1" fmla="*/ 3 h 80"/>
                    <a:gd name="T2" fmla="*/ 2 w 37"/>
                    <a:gd name="T3" fmla="*/ 3 h 80"/>
                    <a:gd name="T4" fmla="*/ 2 w 37"/>
                    <a:gd name="T5" fmla="*/ 2 h 80"/>
                    <a:gd name="T6" fmla="*/ 2 w 37"/>
                    <a:gd name="T7" fmla="*/ 2 h 80"/>
                    <a:gd name="T8" fmla="*/ 2 w 37"/>
                    <a:gd name="T9" fmla="*/ 2 h 80"/>
                    <a:gd name="T10" fmla="*/ 2 w 37"/>
                    <a:gd name="T11" fmla="*/ 1 h 80"/>
                    <a:gd name="T12" fmla="*/ 2 w 37"/>
                    <a:gd name="T13" fmla="*/ 1 h 80"/>
                    <a:gd name="T14" fmla="*/ 2 w 37"/>
                    <a:gd name="T15" fmla="*/ 0 h 80"/>
                    <a:gd name="T16" fmla="*/ 2 w 37"/>
                    <a:gd name="T17" fmla="*/ 0 h 80"/>
                    <a:gd name="T18" fmla="*/ 2 w 37"/>
                    <a:gd name="T19" fmla="*/ 0 h 80"/>
                    <a:gd name="T20" fmla="*/ 2 w 37"/>
                    <a:gd name="T21" fmla="*/ 0 h 80"/>
                    <a:gd name="T22" fmla="*/ 1 w 37"/>
                    <a:gd name="T23" fmla="*/ 0 h 80"/>
                    <a:gd name="T24" fmla="*/ 1 w 37"/>
                    <a:gd name="T25" fmla="*/ 0 h 80"/>
                    <a:gd name="T26" fmla="*/ 1 w 37"/>
                    <a:gd name="T27" fmla="*/ 0 h 80"/>
                    <a:gd name="T28" fmla="*/ 1 w 37"/>
                    <a:gd name="T29" fmla="*/ 0 h 80"/>
                    <a:gd name="T30" fmla="*/ 1 w 37"/>
                    <a:gd name="T31" fmla="*/ 0 h 80"/>
                    <a:gd name="T32" fmla="*/ 0 w 37"/>
                    <a:gd name="T33" fmla="*/ 0 h 80"/>
                    <a:gd name="T34" fmla="*/ 0 w 37"/>
                    <a:gd name="T35" fmla="*/ 1 h 80"/>
                    <a:gd name="T36" fmla="*/ 0 w 37"/>
                    <a:gd name="T37" fmla="*/ 1 h 80"/>
                    <a:gd name="T38" fmla="*/ 0 w 37"/>
                    <a:gd name="T39" fmla="*/ 1 h 80"/>
                    <a:gd name="T40" fmla="*/ 0 w 37"/>
                    <a:gd name="T41" fmla="*/ 2 h 80"/>
                    <a:gd name="T42" fmla="*/ 0 w 37"/>
                    <a:gd name="T43" fmla="*/ 2 h 80"/>
                    <a:gd name="T44" fmla="*/ 1 w 37"/>
                    <a:gd name="T45" fmla="*/ 2 h 80"/>
                    <a:gd name="T46" fmla="*/ 1 w 37"/>
                    <a:gd name="T47" fmla="*/ 2 h 80"/>
                    <a:gd name="T48" fmla="*/ 1 w 37"/>
                    <a:gd name="T49" fmla="*/ 2 h 80"/>
                    <a:gd name="T50" fmla="*/ 1 w 37"/>
                    <a:gd name="T51" fmla="*/ 2 h 80"/>
                    <a:gd name="T52" fmla="*/ 0 w 37"/>
                    <a:gd name="T53" fmla="*/ 2 h 80"/>
                    <a:gd name="T54" fmla="*/ 0 w 37"/>
                    <a:gd name="T55" fmla="*/ 2 h 80"/>
                    <a:gd name="T56" fmla="*/ 0 w 37"/>
                    <a:gd name="T57" fmla="*/ 2 h 80"/>
                    <a:gd name="T58" fmla="*/ 0 w 37"/>
                    <a:gd name="T59" fmla="*/ 3 h 80"/>
                    <a:gd name="T60" fmla="*/ 0 w 37"/>
                    <a:gd name="T61" fmla="*/ 3 h 80"/>
                    <a:gd name="T62" fmla="*/ 0 w 37"/>
                    <a:gd name="T63" fmla="*/ 3 h 80"/>
                    <a:gd name="T64" fmla="*/ 0 w 37"/>
                    <a:gd name="T65" fmla="*/ 3 h 80"/>
                    <a:gd name="T66" fmla="*/ 0 w 37"/>
                    <a:gd name="T67" fmla="*/ 3 h 80"/>
                    <a:gd name="T68" fmla="*/ 1 w 37"/>
                    <a:gd name="T69" fmla="*/ 3 h 80"/>
                    <a:gd name="T70" fmla="*/ 1 w 37"/>
                    <a:gd name="T71" fmla="*/ 3 h 80"/>
                    <a:gd name="T72" fmla="*/ 1 w 37"/>
                    <a:gd name="T73" fmla="*/ 3 h 80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37"/>
                    <a:gd name="T112" fmla="*/ 0 h 80"/>
                    <a:gd name="T113" fmla="*/ 37 w 37"/>
                    <a:gd name="T114" fmla="*/ 80 h 80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37" h="80">
                      <a:moveTo>
                        <a:pt x="30" y="66"/>
                      </a:moveTo>
                      <a:lnTo>
                        <a:pt x="32" y="64"/>
                      </a:lnTo>
                      <a:lnTo>
                        <a:pt x="33" y="55"/>
                      </a:lnTo>
                      <a:lnTo>
                        <a:pt x="36" y="49"/>
                      </a:lnTo>
                      <a:lnTo>
                        <a:pt x="33" y="40"/>
                      </a:lnTo>
                      <a:lnTo>
                        <a:pt x="35" y="29"/>
                      </a:lnTo>
                      <a:lnTo>
                        <a:pt x="36" y="21"/>
                      </a:lnTo>
                      <a:lnTo>
                        <a:pt x="37" y="12"/>
                      </a:lnTo>
                      <a:lnTo>
                        <a:pt x="37" y="10"/>
                      </a:lnTo>
                      <a:lnTo>
                        <a:pt x="33" y="10"/>
                      </a:lnTo>
                      <a:lnTo>
                        <a:pt x="30" y="7"/>
                      </a:lnTo>
                      <a:lnTo>
                        <a:pt x="28" y="0"/>
                      </a:lnTo>
                      <a:lnTo>
                        <a:pt x="24" y="1"/>
                      </a:lnTo>
                      <a:lnTo>
                        <a:pt x="16" y="0"/>
                      </a:lnTo>
                      <a:lnTo>
                        <a:pt x="12" y="1"/>
                      </a:lnTo>
                      <a:lnTo>
                        <a:pt x="10" y="3"/>
                      </a:lnTo>
                      <a:lnTo>
                        <a:pt x="10" y="13"/>
                      </a:lnTo>
                      <a:lnTo>
                        <a:pt x="4" y="19"/>
                      </a:lnTo>
                      <a:lnTo>
                        <a:pt x="4" y="34"/>
                      </a:lnTo>
                      <a:lnTo>
                        <a:pt x="6" y="39"/>
                      </a:lnTo>
                      <a:lnTo>
                        <a:pt x="5" y="45"/>
                      </a:lnTo>
                      <a:lnTo>
                        <a:pt x="15" y="44"/>
                      </a:lnTo>
                      <a:lnTo>
                        <a:pt x="19" y="45"/>
                      </a:lnTo>
                      <a:lnTo>
                        <a:pt x="19" y="48"/>
                      </a:lnTo>
                      <a:lnTo>
                        <a:pt x="17" y="49"/>
                      </a:lnTo>
                      <a:lnTo>
                        <a:pt x="11" y="50"/>
                      </a:lnTo>
                      <a:lnTo>
                        <a:pt x="8" y="53"/>
                      </a:lnTo>
                      <a:lnTo>
                        <a:pt x="6" y="56"/>
                      </a:lnTo>
                      <a:lnTo>
                        <a:pt x="4" y="65"/>
                      </a:lnTo>
                      <a:lnTo>
                        <a:pt x="0" y="69"/>
                      </a:lnTo>
                      <a:lnTo>
                        <a:pt x="0" y="75"/>
                      </a:lnTo>
                      <a:lnTo>
                        <a:pt x="4" y="80"/>
                      </a:lnTo>
                      <a:lnTo>
                        <a:pt x="4" y="76"/>
                      </a:lnTo>
                      <a:lnTo>
                        <a:pt x="16" y="75"/>
                      </a:lnTo>
                      <a:lnTo>
                        <a:pt x="26" y="66"/>
                      </a:lnTo>
                      <a:lnTo>
                        <a:pt x="30" y="66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rgbClr val="77E2C3">
                      <a:lumMod val="40000"/>
                      <a:lumOff val="6000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77898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313C"/>
                    </a:solidFill>
                    <a:effectLst/>
                    <a:uLnTx/>
                    <a:uFillTx/>
                    <a:latin typeface="Arial"/>
                    <a:cs typeface="+mn-cs"/>
                  </a:endParaRPr>
                </a:p>
              </p:txBody>
            </p:sp>
            <p:sp>
              <p:nvSpPr>
                <p:cNvPr id="141" name="Freeform 73">
                  <a:extLst>
                    <a:ext uri="{FF2B5EF4-FFF2-40B4-BE49-F238E27FC236}">
                      <a16:creationId xmlns:a16="http://schemas.microsoft.com/office/drawing/2014/main" id="{45E40643-7C69-9B07-1FBF-3AEF166D589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889" y="2124"/>
                  <a:ext cx="4" cy="5"/>
                </a:xfrm>
                <a:custGeom>
                  <a:avLst/>
                  <a:gdLst>
                    <a:gd name="T0" fmla="*/ 0 w 18"/>
                    <a:gd name="T1" fmla="*/ 1 h 24"/>
                    <a:gd name="T2" fmla="*/ 0 w 18"/>
                    <a:gd name="T3" fmla="*/ 1 h 24"/>
                    <a:gd name="T4" fmla="*/ 0 w 18"/>
                    <a:gd name="T5" fmla="*/ 1 h 24"/>
                    <a:gd name="T6" fmla="*/ 1 w 18"/>
                    <a:gd name="T7" fmla="*/ 0 h 24"/>
                    <a:gd name="T8" fmla="*/ 1 w 18"/>
                    <a:gd name="T9" fmla="*/ 0 h 24"/>
                    <a:gd name="T10" fmla="*/ 0 w 18"/>
                    <a:gd name="T11" fmla="*/ 1 h 24"/>
                    <a:gd name="T12" fmla="*/ 0 w 18"/>
                    <a:gd name="T13" fmla="*/ 1 h 2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8"/>
                    <a:gd name="T22" fmla="*/ 0 h 24"/>
                    <a:gd name="T23" fmla="*/ 18 w 18"/>
                    <a:gd name="T24" fmla="*/ 24 h 2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8" h="24">
                      <a:moveTo>
                        <a:pt x="1" y="24"/>
                      </a:moveTo>
                      <a:lnTo>
                        <a:pt x="8" y="21"/>
                      </a:lnTo>
                      <a:lnTo>
                        <a:pt x="7" y="16"/>
                      </a:lnTo>
                      <a:lnTo>
                        <a:pt x="18" y="5"/>
                      </a:lnTo>
                      <a:lnTo>
                        <a:pt x="14" y="0"/>
                      </a:lnTo>
                      <a:lnTo>
                        <a:pt x="0" y="14"/>
                      </a:lnTo>
                      <a:lnTo>
                        <a:pt x="1" y="24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rgbClr val="77E2C3">
                      <a:lumMod val="40000"/>
                      <a:lumOff val="6000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77898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313C"/>
                    </a:solidFill>
                    <a:effectLst/>
                    <a:uLnTx/>
                    <a:uFillTx/>
                    <a:latin typeface="Arial"/>
                    <a:cs typeface="+mn-cs"/>
                  </a:endParaRPr>
                </a:p>
              </p:txBody>
            </p:sp>
            <p:sp>
              <p:nvSpPr>
                <p:cNvPr id="142" name="Freeform 74">
                  <a:extLst>
                    <a:ext uri="{FF2B5EF4-FFF2-40B4-BE49-F238E27FC236}">
                      <a16:creationId xmlns:a16="http://schemas.microsoft.com/office/drawing/2014/main" id="{D0B9F8E7-E7C8-F8AB-F67F-CEA8798CE2A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890" y="2101"/>
                  <a:ext cx="16" cy="51"/>
                </a:xfrm>
                <a:custGeom>
                  <a:avLst/>
                  <a:gdLst>
                    <a:gd name="T0" fmla="*/ 2 w 81"/>
                    <a:gd name="T1" fmla="*/ 10 h 251"/>
                    <a:gd name="T2" fmla="*/ 2 w 81"/>
                    <a:gd name="T3" fmla="*/ 7 h 251"/>
                    <a:gd name="T4" fmla="*/ 3 w 81"/>
                    <a:gd name="T5" fmla="*/ 6 h 251"/>
                    <a:gd name="T6" fmla="*/ 3 w 81"/>
                    <a:gd name="T7" fmla="*/ 5 h 251"/>
                    <a:gd name="T8" fmla="*/ 3 w 81"/>
                    <a:gd name="T9" fmla="*/ 5 h 251"/>
                    <a:gd name="T10" fmla="*/ 2 w 81"/>
                    <a:gd name="T11" fmla="*/ 5 h 251"/>
                    <a:gd name="T12" fmla="*/ 2 w 81"/>
                    <a:gd name="T13" fmla="*/ 5 h 251"/>
                    <a:gd name="T14" fmla="*/ 2 w 81"/>
                    <a:gd name="T15" fmla="*/ 5 h 251"/>
                    <a:gd name="T16" fmla="*/ 2 w 81"/>
                    <a:gd name="T17" fmla="*/ 4 h 251"/>
                    <a:gd name="T18" fmla="*/ 2 w 81"/>
                    <a:gd name="T19" fmla="*/ 4 h 251"/>
                    <a:gd name="T20" fmla="*/ 2 w 81"/>
                    <a:gd name="T21" fmla="*/ 4 h 251"/>
                    <a:gd name="T22" fmla="*/ 2 w 81"/>
                    <a:gd name="T23" fmla="*/ 4 h 251"/>
                    <a:gd name="T24" fmla="*/ 2 w 81"/>
                    <a:gd name="T25" fmla="*/ 3 h 251"/>
                    <a:gd name="T26" fmla="*/ 2 w 81"/>
                    <a:gd name="T27" fmla="*/ 3 h 251"/>
                    <a:gd name="T28" fmla="*/ 2 w 81"/>
                    <a:gd name="T29" fmla="*/ 2 h 251"/>
                    <a:gd name="T30" fmla="*/ 2 w 81"/>
                    <a:gd name="T31" fmla="*/ 2 h 251"/>
                    <a:gd name="T32" fmla="*/ 3 w 81"/>
                    <a:gd name="T33" fmla="*/ 2 h 251"/>
                    <a:gd name="T34" fmla="*/ 3 w 81"/>
                    <a:gd name="T35" fmla="*/ 2 h 251"/>
                    <a:gd name="T36" fmla="*/ 3 w 81"/>
                    <a:gd name="T37" fmla="*/ 1 h 251"/>
                    <a:gd name="T38" fmla="*/ 3 w 81"/>
                    <a:gd name="T39" fmla="*/ 1 h 251"/>
                    <a:gd name="T40" fmla="*/ 3 w 81"/>
                    <a:gd name="T41" fmla="*/ 1 h 251"/>
                    <a:gd name="T42" fmla="*/ 3 w 81"/>
                    <a:gd name="T43" fmla="*/ 0 h 251"/>
                    <a:gd name="T44" fmla="*/ 3 w 81"/>
                    <a:gd name="T45" fmla="*/ 0 h 251"/>
                    <a:gd name="T46" fmla="*/ 3 w 81"/>
                    <a:gd name="T47" fmla="*/ 1 h 251"/>
                    <a:gd name="T48" fmla="*/ 3 w 81"/>
                    <a:gd name="T49" fmla="*/ 1 h 251"/>
                    <a:gd name="T50" fmla="*/ 2 w 81"/>
                    <a:gd name="T51" fmla="*/ 1 h 251"/>
                    <a:gd name="T52" fmla="*/ 2 w 81"/>
                    <a:gd name="T53" fmla="*/ 1 h 251"/>
                    <a:gd name="T54" fmla="*/ 2 w 81"/>
                    <a:gd name="T55" fmla="*/ 2 h 251"/>
                    <a:gd name="T56" fmla="*/ 1 w 81"/>
                    <a:gd name="T57" fmla="*/ 3 h 251"/>
                    <a:gd name="T58" fmla="*/ 1 w 81"/>
                    <a:gd name="T59" fmla="*/ 5 h 251"/>
                    <a:gd name="T60" fmla="*/ 0 w 81"/>
                    <a:gd name="T61" fmla="*/ 5 h 251"/>
                    <a:gd name="T62" fmla="*/ 0 w 81"/>
                    <a:gd name="T63" fmla="*/ 6 h 251"/>
                    <a:gd name="T64" fmla="*/ 0 w 81"/>
                    <a:gd name="T65" fmla="*/ 6 h 251"/>
                    <a:gd name="T66" fmla="*/ 2 w 81"/>
                    <a:gd name="T67" fmla="*/ 10 h 251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81"/>
                    <a:gd name="T103" fmla="*/ 0 h 251"/>
                    <a:gd name="T104" fmla="*/ 81 w 81"/>
                    <a:gd name="T105" fmla="*/ 251 h 251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81" h="251">
                      <a:moveTo>
                        <a:pt x="44" y="248"/>
                      </a:moveTo>
                      <a:lnTo>
                        <a:pt x="45" y="242"/>
                      </a:lnTo>
                      <a:lnTo>
                        <a:pt x="49" y="232"/>
                      </a:lnTo>
                      <a:lnTo>
                        <a:pt x="55" y="178"/>
                      </a:lnTo>
                      <a:lnTo>
                        <a:pt x="61" y="158"/>
                      </a:lnTo>
                      <a:lnTo>
                        <a:pt x="70" y="140"/>
                      </a:lnTo>
                      <a:lnTo>
                        <a:pt x="67" y="132"/>
                      </a:lnTo>
                      <a:lnTo>
                        <a:pt x="71" y="119"/>
                      </a:lnTo>
                      <a:lnTo>
                        <a:pt x="69" y="115"/>
                      </a:lnTo>
                      <a:lnTo>
                        <a:pt x="65" y="115"/>
                      </a:lnTo>
                      <a:lnTo>
                        <a:pt x="55" y="124"/>
                      </a:lnTo>
                      <a:lnTo>
                        <a:pt x="43" y="125"/>
                      </a:lnTo>
                      <a:lnTo>
                        <a:pt x="43" y="129"/>
                      </a:lnTo>
                      <a:lnTo>
                        <a:pt x="39" y="124"/>
                      </a:lnTo>
                      <a:lnTo>
                        <a:pt x="39" y="118"/>
                      </a:lnTo>
                      <a:lnTo>
                        <a:pt x="43" y="114"/>
                      </a:lnTo>
                      <a:lnTo>
                        <a:pt x="45" y="105"/>
                      </a:lnTo>
                      <a:lnTo>
                        <a:pt x="47" y="102"/>
                      </a:lnTo>
                      <a:lnTo>
                        <a:pt x="50" y="99"/>
                      </a:lnTo>
                      <a:lnTo>
                        <a:pt x="56" y="98"/>
                      </a:lnTo>
                      <a:lnTo>
                        <a:pt x="58" y="97"/>
                      </a:lnTo>
                      <a:lnTo>
                        <a:pt x="58" y="94"/>
                      </a:lnTo>
                      <a:lnTo>
                        <a:pt x="54" y="93"/>
                      </a:lnTo>
                      <a:lnTo>
                        <a:pt x="44" y="94"/>
                      </a:lnTo>
                      <a:lnTo>
                        <a:pt x="45" y="88"/>
                      </a:lnTo>
                      <a:lnTo>
                        <a:pt x="43" y="83"/>
                      </a:lnTo>
                      <a:lnTo>
                        <a:pt x="43" y="68"/>
                      </a:lnTo>
                      <a:lnTo>
                        <a:pt x="49" y="62"/>
                      </a:lnTo>
                      <a:lnTo>
                        <a:pt x="49" y="52"/>
                      </a:lnTo>
                      <a:lnTo>
                        <a:pt x="51" y="50"/>
                      </a:lnTo>
                      <a:lnTo>
                        <a:pt x="55" y="49"/>
                      </a:lnTo>
                      <a:lnTo>
                        <a:pt x="63" y="50"/>
                      </a:lnTo>
                      <a:lnTo>
                        <a:pt x="67" y="49"/>
                      </a:lnTo>
                      <a:lnTo>
                        <a:pt x="69" y="56"/>
                      </a:lnTo>
                      <a:lnTo>
                        <a:pt x="72" y="59"/>
                      </a:lnTo>
                      <a:lnTo>
                        <a:pt x="76" y="59"/>
                      </a:lnTo>
                      <a:lnTo>
                        <a:pt x="76" y="39"/>
                      </a:lnTo>
                      <a:lnTo>
                        <a:pt x="81" y="33"/>
                      </a:lnTo>
                      <a:lnTo>
                        <a:pt x="78" y="27"/>
                      </a:lnTo>
                      <a:lnTo>
                        <a:pt x="80" y="22"/>
                      </a:lnTo>
                      <a:lnTo>
                        <a:pt x="78" y="17"/>
                      </a:lnTo>
                      <a:lnTo>
                        <a:pt x="81" y="13"/>
                      </a:lnTo>
                      <a:lnTo>
                        <a:pt x="81" y="3"/>
                      </a:lnTo>
                      <a:lnTo>
                        <a:pt x="80" y="1"/>
                      </a:lnTo>
                      <a:lnTo>
                        <a:pt x="78" y="0"/>
                      </a:lnTo>
                      <a:lnTo>
                        <a:pt x="76" y="2"/>
                      </a:lnTo>
                      <a:lnTo>
                        <a:pt x="75" y="16"/>
                      </a:lnTo>
                      <a:lnTo>
                        <a:pt x="70" y="14"/>
                      </a:lnTo>
                      <a:lnTo>
                        <a:pt x="67" y="17"/>
                      </a:lnTo>
                      <a:lnTo>
                        <a:pt x="65" y="17"/>
                      </a:lnTo>
                      <a:lnTo>
                        <a:pt x="63" y="13"/>
                      </a:lnTo>
                      <a:lnTo>
                        <a:pt x="51" y="14"/>
                      </a:lnTo>
                      <a:lnTo>
                        <a:pt x="49" y="12"/>
                      </a:lnTo>
                      <a:lnTo>
                        <a:pt x="47" y="17"/>
                      </a:lnTo>
                      <a:lnTo>
                        <a:pt x="47" y="27"/>
                      </a:lnTo>
                      <a:lnTo>
                        <a:pt x="39" y="41"/>
                      </a:lnTo>
                      <a:lnTo>
                        <a:pt x="38" y="49"/>
                      </a:lnTo>
                      <a:lnTo>
                        <a:pt x="29" y="80"/>
                      </a:lnTo>
                      <a:lnTo>
                        <a:pt x="22" y="104"/>
                      </a:lnTo>
                      <a:lnTo>
                        <a:pt x="13" y="113"/>
                      </a:lnTo>
                      <a:lnTo>
                        <a:pt x="17" y="118"/>
                      </a:lnTo>
                      <a:lnTo>
                        <a:pt x="6" y="129"/>
                      </a:lnTo>
                      <a:lnTo>
                        <a:pt x="7" y="134"/>
                      </a:lnTo>
                      <a:lnTo>
                        <a:pt x="0" y="137"/>
                      </a:lnTo>
                      <a:lnTo>
                        <a:pt x="1" y="142"/>
                      </a:lnTo>
                      <a:lnTo>
                        <a:pt x="4" y="148"/>
                      </a:lnTo>
                      <a:lnTo>
                        <a:pt x="23" y="206"/>
                      </a:lnTo>
                      <a:lnTo>
                        <a:pt x="39" y="251"/>
                      </a:lnTo>
                      <a:lnTo>
                        <a:pt x="44" y="248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rgbClr val="77E2C3">
                      <a:lumMod val="40000"/>
                      <a:lumOff val="6000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77898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313C"/>
                    </a:solidFill>
                    <a:effectLst/>
                    <a:uLnTx/>
                    <a:uFillTx/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116" name="Freeform 75">
                <a:extLst>
                  <a:ext uri="{FF2B5EF4-FFF2-40B4-BE49-F238E27FC236}">
                    <a16:creationId xmlns:a16="http://schemas.microsoft.com/office/drawing/2014/main" id="{25647A94-CE1A-E4C8-33D1-9460F8AFB41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27" y="2143"/>
                <a:ext cx="19" cy="19"/>
              </a:xfrm>
              <a:custGeom>
                <a:avLst/>
                <a:gdLst>
                  <a:gd name="T0" fmla="*/ 4 w 96"/>
                  <a:gd name="T1" fmla="*/ 4 h 95"/>
                  <a:gd name="T2" fmla="*/ 4 w 96"/>
                  <a:gd name="T3" fmla="*/ 3 h 95"/>
                  <a:gd name="T4" fmla="*/ 4 w 96"/>
                  <a:gd name="T5" fmla="*/ 3 h 95"/>
                  <a:gd name="T6" fmla="*/ 3 w 96"/>
                  <a:gd name="T7" fmla="*/ 3 h 95"/>
                  <a:gd name="T8" fmla="*/ 3 w 96"/>
                  <a:gd name="T9" fmla="*/ 2 h 95"/>
                  <a:gd name="T10" fmla="*/ 3 w 96"/>
                  <a:gd name="T11" fmla="*/ 2 h 95"/>
                  <a:gd name="T12" fmla="*/ 2 w 96"/>
                  <a:gd name="T13" fmla="*/ 2 h 95"/>
                  <a:gd name="T14" fmla="*/ 3 w 96"/>
                  <a:gd name="T15" fmla="*/ 2 h 95"/>
                  <a:gd name="T16" fmla="*/ 3 w 96"/>
                  <a:gd name="T17" fmla="*/ 2 h 95"/>
                  <a:gd name="T18" fmla="*/ 3 w 96"/>
                  <a:gd name="T19" fmla="*/ 1 h 95"/>
                  <a:gd name="T20" fmla="*/ 3 w 96"/>
                  <a:gd name="T21" fmla="*/ 1 h 95"/>
                  <a:gd name="T22" fmla="*/ 4 w 96"/>
                  <a:gd name="T23" fmla="*/ 1 h 95"/>
                  <a:gd name="T24" fmla="*/ 4 w 96"/>
                  <a:gd name="T25" fmla="*/ 1 h 95"/>
                  <a:gd name="T26" fmla="*/ 4 w 96"/>
                  <a:gd name="T27" fmla="*/ 1 h 95"/>
                  <a:gd name="T28" fmla="*/ 3 w 96"/>
                  <a:gd name="T29" fmla="*/ 0 h 95"/>
                  <a:gd name="T30" fmla="*/ 3 w 96"/>
                  <a:gd name="T31" fmla="*/ 0 h 95"/>
                  <a:gd name="T32" fmla="*/ 3 w 96"/>
                  <a:gd name="T33" fmla="*/ 0 h 95"/>
                  <a:gd name="T34" fmla="*/ 3 w 96"/>
                  <a:gd name="T35" fmla="*/ 0 h 95"/>
                  <a:gd name="T36" fmla="*/ 2 w 96"/>
                  <a:gd name="T37" fmla="*/ 0 h 95"/>
                  <a:gd name="T38" fmla="*/ 2 w 96"/>
                  <a:gd name="T39" fmla="*/ 0 h 95"/>
                  <a:gd name="T40" fmla="*/ 1 w 96"/>
                  <a:gd name="T41" fmla="*/ 1 h 95"/>
                  <a:gd name="T42" fmla="*/ 1 w 96"/>
                  <a:gd name="T43" fmla="*/ 2 h 95"/>
                  <a:gd name="T44" fmla="*/ 0 w 96"/>
                  <a:gd name="T45" fmla="*/ 2 h 95"/>
                  <a:gd name="T46" fmla="*/ 0 w 96"/>
                  <a:gd name="T47" fmla="*/ 2 h 95"/>
                  <a:gd name="T48" fmla="*/ 1 w 96"/>
                  <a:gd name="T49" fmla="*/ 3 h 95"/>
                  <a:gd name="T50" fmla="*/ 2 w 96"/>
                  <a:gd name="T51" fmla="*/ 3 h 95"/>
                  <a:gd name="T52" fmla="*/ 2 w 96"/>
                  <a:gd name="T53" fmla="*/ 3 h 95"/>
                  <a:gd name="T54" fmla="*/ 2 w 96"/>
                  <a:gd name="T55" fmla="*/ 4 h 95"/>
                  <a:gd name="T56" fmla="*/ 4 w 96"/>
                  <a:gd name="T57" fmla="*/ 4 h 95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96"/>
                  <a:gd name="T88" fmla="*/ 0 h 95"/>
                  <a:gd name="T89" fmla="*/ 96 w 96"/>
                  <a:gd name="T90" fmla="*/ 95 h 95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96" h="95">
                    <a:moveTo>
                      <a:pt x="96" y="95"/>
                    </a:moveTo>
                    <a:lnTo>
                      <a:pt x="94" y="84"/>
                    </a:lnTo>
                    <a:lnTo>
                      <a:pt x="90" y="81"/>
                    </a:lnTo>
                    <a:lnTo>
                      <a:pt x="86" y="73"/>
                    </a:lnTo>
                    <a:lnTo>
                      <a:pt x="81" y="52"/>
                    </a:lnTo>
                    <a:lnTo>
                      <a:pt x="73" y="48"/>
                    </a:lnTo>
                    <a:lnTo>
                      <a:pt x="62" y="47"/>
                    </a:lnTo>
                    <a:lnTo>
                      <a:pt x="64" y="42"/>
                    </a:lnTo>
                    <a:lnTo>
                      <a:pt x="67" y="39"/>
                    </a:lnTo>
                    <a:lnTo>
                      <a:pt x="73" y="36"/>
                    </a:lnTo>
                    <a:lnTo>
                      <a:pt x="85" y="33"/>
                    </a:lnTo>
                    <a:lnTo>
                      <a:pt x="92" y="26"/>
                    </a:lnTo>
                    <a:lnTo>
                      <a:pt x="92" y="22"/>
                    </a:lnTo>
                    <a:lnTo>
                      <a:pt x="90" y="18"/>
                    </a:lnTo>
                    <a:lnTo>
                      <a:pt x="79" y="11"/>
                    </a:lnTo>
                    <a:lnTo>
                      <a:pt x="78" y="6"/>
                    </a:lnTo>
                    <a:lnTo>
                      <a:pt x="79" y="5"/>
                    </a:lnTo>
                    <a:lnTo>
                      <a:pt x="67" y="1"/>
                    </a:lnTo>
                    <a:lnTo>
                      <a:pt x="53" y="0"/>
                    </a:lnTo>
                    <a:lnTo>
                      <a:pt x="38" y="6"/>
                    </a:lnTo>
                    <a:lnTo>
                      <a:pt x="26" y="23"/>
                    </a:lnTo>
                    <a:lnTo>
                      <a:pt x="16" y="43"/>
                    </a:lnTo>
                    <a:lnTo>
                      <a:pt x="0" y="59"/>
                    </a:lnTo>
                    <a:lnTo>
                      <a:pt x="4" y="61"/>
                    </a:lnTo>
                    <a:lnTo>
                      <a:pt x="26" y="65"/>
                    </a:lnTo>
                    <a:lnTo>
                      <a:pt x="46" y="73"/>
                    </a:lnTo>
                    <a:lnTo>
                      <a:pt x="53" y="80"/>
                    </a:lnTo>
                    <a:lnTo>
                      <a:pt x="63" y="95"/>
                    </a:lnTo>
                    <a:lnTo>
                      <a:pt x="96" y="9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grpSp>
            <p:nvGrpSpPr>
              <p:cNvPr id="117" name="Group 76">
                <a:extLst>
                  <a:ext uri="{FF2B5EF4-FFF2-40B4-BE49-F238E27FC236}">
                    <a16:creationId xmlns:a16="http://schemas.microsoft.com/office/drawing/2014/main" id="{3AD3886B-D984-5D2C-6C6C-C3FEBF06017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896" y="2116"/>
                <a:ext cx="231" cy="189"/>
                <a:chOff x="2896" y="2116"/>
                <a:chExt cx="231" cy="189"/>
              </a:xfrm>
              <a:grpFill/>
            </p:grpSpPr>
            <p:sp>
              <p:nvSpPr>
                <p:cNvPr id="138" name="Freeform 77">
                  <a:extLst>
                    <a:ext uri="{FF2B5EF4-FFF2-40B4-BE49-F238E27FC236}">
                      <a16:creationId xmlns:a16="http://schemas.microsoft.com/office/drawing/2014/main" id="{67D949C9-78C5-A3B4-0E64-182B44B2EC8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896" y="2116"/>
                  <a:ext cx="231" cy="189"/>
                </a:xfrm>
                <a:custGeom>
                  <a:avLst/>
                  <a:gdLst>
                    <a:gd name="T0" fmla="*/ 2 w 15957"/>
                    <a:gd name="T1" fmla="*/ 1 h 13229"/>
                    <a:gd name="T2" fmla="*/ 2 w 15957"/>
                    <a:gd name="T3" fmla="*/ 1 h 13229"/>
                    <a:gd name="T4" fmla="*/ 2 w 15957"/>
                    <a:gd name="T5" fmla="*/ 1 h 13229"/>
                    <a:gd name="T6" fmla="*/ 2 w 15957"/>
                    <a:gd name="T7" fmla="*/ 1 h 13229"/>
                    <a:gd name="T8" fmla="*/ 2 w 15957"/>
                    <a:gd name="T9" fmla="*/ 1 h 13229"/>
                    <a:gd name="T10" fmla="*/ 2 w 15957"/>
                    <a:gd name="T11" fmla="*/ 1 h 13229"/>
                    <a:gd name="T12" fmla="*/ 2 w 15957"/>
                    <a:gd name="T13" fmla="*/ 1 h 13229"/>
                    <a:gd name="T14" fmla="*/ 2 w 15957"/>
                    <a:gd name="T15" fmla="*/ 1 h 13229"/>
                    <a:gd name="T16" fmla="*/ 3 w 15957"/>
                    <a:gd name="T17" fmla="*/ 1 h 13229"/>
                    <a:gd name="T18" fmla="*/ 3 w 15957"/>
                    <a:gd name="T19" fmla="*/ 1 h 13229"/>
                    <a:gd name="T20" fmla="*/ 3 w 15957"/>
                    <a:gd name="T21" fmla="*/ 2 h 13229"/>
                    <a:gd name="T22" fmla="*/ 3 w 15957"/>
                    <a:gd name="T23" fmla="*/ 2 h 13229"/>
                    <a:gd name="T24" fmla="*/ 2 w 15957"/>
                    <a:gd name="T25" fmla="*/ 2 h 13229"/>
                    <a:gd name="T26" fmla="*/ 2 w 15957"/>
                    <a:gd name="T27" fmla="*/ 3 h 13229"/>
                    <a:gd name="T28" fmla="*/ 2 w 15957"/>
                    <a:gd name="T29" fmla="*/ 3 h 13229"/>
                    <a:gd name="T30" fmla="*/ 1 w 15957"/>
                    <a:gd name="T31" fmla="*/ 3 h 13229"/>
                    <a:gd name="T32" fmla="*/ 1 w 15957"/>
                    <a:gd name="T33" fmla="*/ 3 h 13229"/>
                    <a:gd name="T34" fmla="*/ 1 w 15957"/>
                    <a:gd name="T35" fmla="*/ 3 h 13229"/>
                    <a:gd name="T36" fmla="*/ 1 w 15957"/>
                    <a:gd name="T37" fmla="*/ 3 h 13229"/>
                    <a:gd name="T38" fmla="*/ 1 w 15957"/>
                    <a:gd name="T39" fmla="*/ 3 h 13229"/>
                    <a:gd name="T40" fmla="*/ 1 w 15957"/>
                    <a:gd name="T41" fmla="*/ 3 h 13229"/>
                    <a:gd name="T42" fmla="*/ 1 w 15957"/>
                    <a:gd name="T43" fmla="*/ 3 h 13229"/>
                    <a:gd name="T44" fmla="*/ 1 w 15957"/>
                    <a:gd name="T45" fmla="*/ 3 h 13229"/>
                    <a:gd name="T46" fmla="*/ 1 w 15957"/>
                    <a:gd name="T47" fmla="*/ 3 h 13229"/>
                    <a:gd name="T48" fmla="*/ 1 w 15957"/>
                    <a:gd name="T49" fmla="*/ 3 h 13229"/>
                    <a:gd name="T50" fmla="*/ 1 w 15957"/>
                    <a:gd name="T51" fmla="*/ 3 h 13229"/>
                    <a:gd name="T52" fmla="*/ 1 w 15957"/>
                    <a:gd name="T53" fmla="*/ 2 h 13229"/>
                    <a:gd name="T54" fmla="*/ 1 w 15957"/>
                    <a:gd name="T55" fmla="*/ 2 h 13229"/>
                    <a:gd name="T56" fmla="*/ 1 w 15957"/>
                    <a:gd name="T57" fmla="*/ 2 h 13229"/>
                    <a:gd name="T58" fmla="*/ 1 w 15957"/>
                    <a:gd name="T59" fmla="*/ 2 h 13229"/>
                    <a:gd name="T60" fmla="*/ 1 w 15957"/>
                    <a:gd name="T61" fmla="*/ 2 h 13229"/>
                    <a:gd name="T62" fmla="*/ 1 w 15957"/>
                    <a:gd name="T63" fmla="*/ 2 h 13229"/>
                    <a:gd name="T64" fmla="*/ 1 w 15957"/>
                    <a:gd name="T65" fmla="*/ 2 h 13229"/>
                    <a:gd name="T66" fmla="*/ 1 w 15957"/>
                    <a:gd name="T67" fmla="*/ 2 h 13229"/>
                    <a:gd name="T68" fmla="*/ 1 w 15957"/>
                    <a:gd name="T69" fmla="*/ 2 h 13229"/>
                    <a:gd name="T70" fmla="*/ 1 w 15957"/>
                    <a:gd name="T71" fmla="*/ 2 h 13229"/>
                    <a:gd name="T72" fmla="*/ 1 w 15957"/>
                    <a:gd name="T73" fmla="*/ 1 h 13229"/>
                    <a:gd name="T74" fmla="*/ 0 w 15957"/>
                    <a:gd name="T75" fmla="*/ 1 h 13229"/>
                    <a:gd name="T76" fmla="*/ 0 w 15957"/>
                    <a:gd name="T77" fmla="*/ 1 h 13229"/>
                    <a:gd name="T78" fmla="*/ 0 w 15957"/>
                    <a:gd name="T79" fmla="*/ 1 h 13229"/>
                    <a:gd name="T80" fmla="*/ 0 w 15957"/>
                    <a:gd name="T81" fmla="*/ 1 h 13229"/>
                    <a:gd name="T82" fmla="*/ 0 w 15957"/>
                    <a:gd name="T83" fmla="*/ 1 h 13229"/>
                    <a:gd name="T84" fmla="*/ 0 w 15957"/>
                    <a:gd name="T85" fmla="*/ 1 h 13229"/>
                    <a:gd name="T86" fmla="*/ 0 w 15957"/>
                    <a:gd name="T87" fmla="*/ 1 h 13229"/>
                    <a:gd name="T88" fmla="*/ 0 w 15957"/>
                    <a:gd name="T89" fmla="*/ 1 h 13229"/>
                    <a:gd name="T90" fmla="*/ 0 w 15957"/>
                    <a:gd name="T91" fmla="*/ 1 h 13229"/>
                    <a:gd name="T92" fmla="*/ 0 w 15957"/>
                    <a:gd name="T93" fmla="*/ 1 h 13229"/>
                    <a:gd name="T94" fmla="*/ 0 w 15957"/>
                    <a:gd name="T95" fmla="*/ 0 h 13229"/>
                    <a:gd name="T96" fmla="*/ 0 w 15957"/>
                    <a:gd name="T97" fmla="*/ 0 h 13229"/>
                    <a:gd name="T98" fmla="*/ 1 w 15957"/>
                    <a:gd name="T99" fmla="*/ 0 h 13229"/>
                    <a:gd name="T100" fmla="*/ 1 w 15957"/>
                    <a:gd name="T101" fmla="*/ 0 h 13229"/>
                    <a:gd name="T102" fmla="*/ 1 w 15957"/>
                    <a:gd name="T103" fmla="*/ 0 h 13229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15957"/>
                    <a:gd name="T157" fmla="*/ 0 h 13229"/>
                    <a:gd name="T158" fmla="*/ 15957 w 15957"/>
                    <a:gd name="T159" fmla="*/ 13229 h 13229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15957" h="13229">
                      <a:moveTo>
                        <a:pt x="9071" y="2723"/>
                      </a:moveTo>
                      <a:lnTo>
                        <a:pt x="9131" y="2757"/>
                      </a:lnTo>
                      <a:lnTo>
                        <a:pt x="9432" y="2810"/>
                      </a:lnTo>
                      <a:lnTo>
                        <a:pt x="9706" y="2910"/>
                      </a:lnTo>
                      <a:lnTo>
                        <a:pt x="9809" y="2999"/>
                      </a:lnTo>
                      <a:lnTo>
                        <a:pt x="9934" y="3216"/>
                      </a:lnTo>
                      <a:lnTo>
                        <a:pt x="10393" y="3219"/>
                      </a:lnTo>
                      <a:lnTo>
                        <a:pt x="10455" y="3296"/>
                      </a:lnTo>
                      <a:lnTo>
                        <a:pt x="10504" y="3434"/>
                      </a:lnTo>
                      <a:lnTo>
                        <a:pt x="10545" y="3497"/>
                      </a:lnTo>
                      <a:lnTo>
                        <a:pt x="10573" y="3599"/>
                      </a:lnTo>
                      <a:lnTo>
                        <a:pt x="10697" y="3824"/>
                      </a:lnTo>
                      <a:lnTo>
                        <a:pt x="10817" y="3869"/>
                      </a:lnTo>
                      <a:lnTo>
                        <a:pt x="10903" y="4039"/>
                      </a:lnTo>
                      <a:lnTo>
                        <a:pt x="11097" y="4175"/>
                      </a:lnTo>
                      <a:lnTo>
                        <a:pt x="11100" y="4189"/>
                      </a:lnTo>
                      <a:lnTo>
                        <a:pt x="11062" y="4232"/>
                      </a:lnTo>
                      <a:lnTo>
                        <a:pt x="11097" y="4290"/>
                      </a:lnTo>
                      <a:lnTo>
                        <a:pt x="11134" y="4426"/>
                      </a:lnTo>
                      <a:lnTo>
                        <a:pt x="11258" y="4460"/>
                      </a:lnTo>
                      <a:lnTo>
                        <a:pt x="11313" y="4512"/>
                      </a:lnTo>
                      <a:lnTo>
                        <a:pt x="11537" y="4658"/>
                      </a:lnTo>
                      <a:lnTo>
                        <a:pt x="11613" y="4723"/>
                      </a:lnTo>
                      <a:lnTo>
                        <a:pt x="11663" y="4798"/>
                      </a:lnTo>
                      <a:lnTo>
                        <a:pt x="11680" y="4839"/>
                      </a:lnTo>
                      <a:lnTo>
                        <a:pt x="11658" y="4977"/>
                      </a:lnTo>
                      <a:lnTo>
                        <a:pt x="11764" y="5127"/>
                      </a:lnTo>
                      <a:lnTo>
                        <a:pt x="11788" y="5234"/>
                      </a:lnTo>
                      <a:lnTo>
                        <a:pt x="11781" y="5294"/>
                      </a:lnTo>
                      <a:lnTo>
                        <a:pt x="11711" y="5381"/>
                      </a:lnTo>
                      <a:lnTo>
                        <a:pt x="11715" y="5546"/>
                      </a:lnTo>
                      <a:lnTo>
                        <a:pt x="11824" y="5695"/>
                      </a:lnTo>
                      <a:lnTo>
                        <a:pt x="12016" y="5908"/>
                      </a:lnTo>
                      <a:lnTo>
                        <a:pt x="12063" y="6177"/>
                      </a:lnTo>
                      <a:lnTo>
                        <a:pt x="12135" y="6264"/>
                      </a:lnTo>
                      <a:lnTo>
                        <a:pt x="12147" y="6336"/>
                      </a:lnTo>
                      <a:lnTo>
                        <a:pt x="12184" y="6371"/>
                      </a:lnTo>
                      <a:lnTo>
                        <a:pt x="12207" y="6448"/>
                      </a:lnTo>
                      <a:lnTo>
                        <a:pt x="12243" y="6448"/>
                      </a:lnTo>
                      <a:lnTo>
                        <a:pt x="12348" y="6619"/>
                      </a:lnTo>
                      <a:lnTo>
                        <a:pt x="12423" y="6638"/>
                      </a:lnTo>
                      <a:lnTo>
                        <a:pt x="12480" y="6842"/>
                      </a:lnTo>
                      <a:lnTo>
                        <a:pt x="12935" y="7241"/>
                      </a:lnTo>
                      <a:lnTo>
                        <a:pt x="13158" y="7915"/>
                      </a:lnTo>
                      <a:lnTo>
                        <a:pt x="15429" y="8331"/>
                      </a:lnTo>
                      <a:lnTo>
                        <a:pt x="15576" y="8167"/>
                      </a:lnTo>
                      <a:lnTo>
                        <a:pt x="15957" y="8740"/>
                      </a:lnTo>
                      <a:lnTo>
                        <a:pt x="15424" y="10363"/>
                      </a:lnTo>
                      <a:lnTo>
                        <a:pt x="13158" y="11166"/>
                      </a:lnTo>
                      <a:lnTo>
                        <a:pt x="11049" y="11512"/>
                      </a:lnTo>
                      <a:lnTo>
                        <a:pt x="10746" y="11729"/>
                      </a:lnTo>
                      <a:lnTo>
                        <a:pt x="10244" y="11935"/>
                      </a:lnTo>
                      <a:lnTo>
                        <a:pt x="9691" y="12918"/>
                      </a:lnTo>
                      <a:lnTo>
                        <a:pt x="9503" y="13060"/>
                      </a:lnTo>
                      <a:lnTo>
                        <a:pt x="9370" y="13076"/>
                      </a:lnTo>
                      <a:lnTo>
                        <a:pt x="9104" y="12745"/>
                      </a:lnTo>
                      <a:lnTo>
                        <a:pt x="8174" y="12657"/>
                      </a:lnTo>
                      <a:lnTo>
                        <a:pt x="8036" y="12551"/>
                      </a:lnTo>
                      <a:lnTo>
                        <a:pt x="7547" y="12502"/>
                      </a:lnTo>
                      <a:lnTo>
                        <a:pt x="7168" y="12457"/>
                      </a:lnTo>
                      <a:lnTo>
                        <a:pt x="6859" y="12543"/>
                      </a:lnTo>
                      <a:lnTo>
                        <a:pt x="6711" y="12286"/>
                      </a:lnTo>
                      <a:lnTo>
                        <a:pt x="6580" y="12452"/>
                      </a:lnTo>
                      <a:lnTo>
                        <a:pt x="6570" y="12466"/>
                      </a:lnTo>
                      <a:lnTo>
                        <a:pt x="6560" y="12481"/>
                      </a:lnTo>
                      <a:lnTo>
                        <a:pt x="6551" y="12499"/>
                      </a:lnTo>
                      <a:lnTo>
                        <a:pt x="6542" y="12517"/>
                      </a:lnTo>
                      <a:lnTo>
                        <a:pt x="6524" y="12554"/>
                      </a:lnTo>
                      <a:lnTo>
                        <a:pt x="6507" y="12592"/>
                      </a:lnTo>
                      <a:lnTo>
                        <a:pt x="6492" y="12625"/>
                      </a:lnTo>
                      <a:lnTo>
                        <a:pt x="6480" y="12652"/>
                      </a:lnTo>
                      <a:lnTo>
                        <a:pt x="6474" y="12661"/>
                      </a:lnTo>
                      <a:lnTo>
                        <a:pt x="6468" y="12668"/>
                      </a:lnTo>
                      <a:lnTo>
                        <a:pt x="6466" y="12670"/>
                      </a:lnTo>
                      <a:lnTo>
                        <a:pt x="6464" y="12671"/>
                      </a:lnTo>
                      <a:lnTo>
                        <a:pt x="6461" y="12671"/>
                      </a:lnTo>
                      <a:lnTo>
                        <a:pt x="6460" y="12670"/>
                      </a:lnTo>
                      <a:lnTo>
                        <a:pt x="6452" y="12667"/>
                      </a:lnTo>
                      <a:lnTo>
                        <a:pt x="6447" y="12665"/>
                      </a:lnTo>
                      <a:lnTo>
                        <a:pt x="6442" y="12664"/>
                      </a:lnTo>
                      <a:lnTo>
                        <a:pt x="6439" y="12665"/>
                      </a:lnTo>
                      <a:lnTo>
                        <a:pt x="6436" y="12666"/>
                      </a:lnTo>
                      <a:lnTo>
                        <a:pt x="6435" y="12669"/>
                      </a:lnTo>
                      <a:lnTo>
                        <a:pt x="6434" y="12672"/>
                      </a:lnTo>
                      <a:lnTo>
                        <a:pt x="6434" y="12676"/>
                      </a:lnTo>
                      <a:lnTo>
                        <a:pt x="6437" y="12688"/>
                      </a:lnTo>
                      <a:lnTo>
                        <a:pt x="6442" y="12702"/>
                      </a:lnTo>
                      <a:lnTo>
                        <a:pt x="6449" y="12718"/>
                      </a:lnTo>
                      <a:lnTo>
                        <a:pt x="6457" y="12735"/>
                      </a:lnTo>
                      <a:lnTo>
                        <a:pt x="6474" y="12773"/>
                      </a:lnTo>
                      <a:lnTo>
                        <a:pt x="6488" y="12807"/>
                      </a:lnTo>
                      <a:lnTo>
                        <a:pt x="6493" y="12822"/>
                      </a:lnTo>
                      <a:lnTo>
                        <a:pt x="6495" y="12835"/>
                      </a:lnTo>
                      <a:lnTo>
                        <a:pt x="6495" y="12841"/>
                      </a:lnTo>
                      <a:lnTo>
                        <a:pt x="6495" y="12845"/>
                      </a:lnTo>
                      <a:lnTo>
                        <a:pt x="6493" y="12849"/>
                      </a:lnTo>
                      <a:lnTo>
                        <a:pt x="6490" y="12851"/>
                      </a:lnTo>
                      <a:lnTo>
                        <a:pt x="6442" y="13138"/>
                      </a:lnTo>
                      <a:lnTo>
                        <a:pt x="6289" y="13180"/>
                      </a:lnTo>
                      <a:lnTo>
                        <a:pt x="6127" y="13229"/>
                      </a:lnTo>
                      <a:lnTo>
                        <a:pt x="6092" y="13137"/>
                      </a:lnTo>
                      <a:lnTo>
                        <a:pt x="6092" y="13002"/>
                      </a:lnTo>
                      <a:lnTo>
                        <a:pt x="5928" y="12707"/>
                      </a:lnTo>
                      <a:lnTo>
                        <a:pt x="5877" y="12675"/>
                      </a:lnTo>
                      <a:lnTo>
                        <a:pt x="5820" y="12590"/>
                      </a:lnTo>
                      <a:lnTo>
                        <a:pt x="5760" y="12346"/>
                      </a:lnTo>
                      <a:lnTo>
                        <a:pt x="5511" y="12104"/>
                      </a:lnTo>
                      <a:lnTo>
                        <a:pt x="5396" y="12043"/>
                      </a:lnTo>
                      <a:lnTo>
                        <a:pt x="5329" y="11966"/>
                      </a:lnTo>
                      <a:lnTo>
                        <a:pt x="5175" y="11749"/>
                      </a:lnTo>
                      <a:lnTo>
                        <a:pt x="5026" y="11439"/>
                      </a:lnTo>
                      <a:lnTo>
                        <a:pt x="4967" y="11398"/>
                      </a:lnTo>
                      <a:lnTo>
                        <a:pt x="4943" y="11357"/>
                      </a:lnTo>
                      <a:lnTo>
                        <a:pt x="4900" y="11197"/>
                      </a:lnTo>
                      <a:lnTo>
                        <a:pt x="4893" y="11035"/>
                      </a:lnTo>
                      <a:lnTo>
                        <a:pt x="4842" y="10911"/>
                      </a:lnTo>
                      <a:lnTo>
                        <a:pt x="4758" y="10766"/>
                      </a:lnTo>
                      <a:lnTo>
                        <a:pt x="4661" y="10672"/>
                      </a:lnTo>
                      <a:lnTo>
                        <a:pt x="4617" y="10581"/>
                      </a:lnTo>
                      <a:lnTo>
                        <a:pt x="4559" y="10532"/>
                      </a:lnTo>
                      <a:lnTo>
                        <a:pt x="4443" y="10363"/>
                      </a:lnTo>
                      <a:lnTo>
                        <a:pt x="4361" y="10288"/>
                      </a:lnTo>
                      <a:lnTo>
                        <a:pt x="4157" y="10146"/>
                      </a:lnTo>
                      <a:lnTo>
                        <a:pt x="4050" y="10087"/>
                      </a:lnTo>
                      <a:lnTo>
                        <a:pt x="4015" y="10102"/>
                      </a:lnTo>
                      <a:lnTo>
                        <a:pt x="3932" y="10071"/>
                      </a:lnTo>
                      <a:lnTo>
                        <a:pt x="3740" y="9952"/>
                      </a:lnTo>
                      <a:lnTo>
                        <a:pt x="3642" y="9870"/>
                      </a:lnTo>
                      <a:lnTo>
                        <a:pt x="3582" y="9793"/>
                      </a:lnTo>
                      <a:lnTo>
                        <a:pt x="3491" y="9608"/>
                      </a:lnTo>
                      <a:lnTo>
                        <a:pt x="3451" y="9466"/>
                      </a:lnTo>
                      <a:lnTo>
                        <a:pt x="3359" y="8893"/>
                      </a:lnTo>
                      <a:lnTo>
                        <a:pt x="3309" y="8803"/>
                      </a:lnTo>
                      <a:lnTo>
                        <a:pt x="3299" y="8728"/>
                      </a:lnTo>
                      <a:lnTo>
                        <a:pt x="3333" y="8694"/>
                      </a:lnTo>
                      <a:lnTo>
                        <a:pt x="3366" y="8593"/>
                      </a:lnTo>
                      <a:lnTo>
                        <a:pt x="3383" y="8406"/>
                      </a:lnTo>
                      <a:lnTo>
                        <a:pt x="3326" y="8203"/>
                      </a:lnTo>
                      <a:lnTo>
                        <a:pt x="3283" y="8114"/>
                      </a:lnTo>
                      <a:lnTo>
                        <a:pt x="3225" y="8044"/>
                      </a:lnTo>
                      <a:lnTo>
                        <a:pt x="3174" y="7927"/>
                      </a:lnTo>
                      <a:lnTo>
                        <a:pt x="3141" y="7785"/>
                      </a:lnTo>
                      <a:lnTo>
                        <a:pt x="3091" y="7700"/>
                      </a:lnTo>
                      <a:lnTo>
                        <a:pt x="3034" y="7550"/>
                      </a:lnTo>
                      <a:lnTo>
                        <a:pt x="2859" y="7241"/>
                      </a:lnTo>
                      <a:lnTo>
                        <a:pt x="2650" y="7038"/>
                      </a:lnTo>
                      <a:lnTo>
                        <a:pt x="2518" y="6946"/>
                      </a:lnTo>
                      <a:lnTo>
                        <a:pt x="2492" y="6909"/>
                      </a:lnTo>
                      <a:lnTo>
                        <a:pt x="2451" y="6902"/>
                      </a:lnTo>
                      <a:lnTo>
                        <a:pt x="2435" y="6861"/>
                      </a:lnTo>
                      <a:lnTo>
                        <a:pt x="2326" y="6803"/>
                      </a:lnTo>
                      <a:lnTo>
                        <a:pt x="2243" y="6803"/>
                      </a:lnTo>
                      <a:lnTo>
                        <a:pt x="2193" y="6818"/>
                      </a:lnTo>
                      <a:lnTo>
                        <a:pt x="2135" y="6791"/>
                      </a:lnTo>
                      <a:lnTo>
                        <a:pt x="2108" y="6692"/>
                      </a:lnTo>
                      <a:lnTo>
                        <a:pt x="2042" y="6580"/>
                      </a:lnTo>
                      <a:lnTo>
                        <a:pt x="1949" y="6472"/>
                      </a:lnTo>
                      <a:lnTo>
                        <a:pt x="1949" y="6336"/>
                      </a:lnTo>
                      <a:lnTo>
                        <a:pt x="1965" y="6312"/>
                      </a:lnTo>
                      <a:lnTo>
                        <a:pt x="1833" y="5901"/>
                      </a:lnTo>
                      <a:lnTo>
                        <a:pt x="1757" y="5789"/>
                      </a:lnTo>
                      <a:lnTo>
                        <a:pt x="1665" y="5616"/>
                      </a:lnTo>
                      <a:lnTo>
                        <a:pt x="1549" y="5562"/>
                      </a:lnTo>
                      <a:lnTo>
                        <a:pt x="1507" y="5504"/>
                      </a:lnTo>
                      <a:lnTo>
                        <a:pt x="1483" y="5405"/>
                      </a:lnTo>
                      <a:lnTo>
                        <a:pt x="1326" y="5202"/>
                      </a:lnTo>
                      <a:lnTo>
                        <a:pt x="1198" y="4866"/>
                      </a:lnTo>
                      <a:lnTo>
                        <a:pt x="1117" y="4757"/>
                      </a:lnTo>
                      <a:lnTo>
                        <a:pt x="1016" y="4682"/>
                      </a:lnTo>
                      <a:lnTo>
                        <a:pt x="841" y="4447"/>
                      </a:lnTo>
                      <a:lnTo>
                        <a:pt x="824" y="4372"/>
                      </a:lnTo>
                      <a:lnTo>
                        <a:pt x="724" y="4245"/>
                      </a:lnTo>
                      <a:lnTo>
                        <a:pt x="625" y="4019"/>
                      </a:lnTo>
                      <a:lnTo>
                        <a:pt x="434" y="3656"/>
                      </a:lnTo>
                      <a:lnTo>
                        <a:pt x="357" y="3599"/>
                      </a:lnTo>
                      <a:lnTo>
                        <a:pt x="242" y="3599"/>
                      </a:lnTo>
                      <a:lnTo>
                        <a:pt x="125" y="3581"/>
                      </a:lnTo>
                      <a:lnTo>
                        <a:pt x="101" y="3565"/>
                      </a:lnTo>
                      <a:lnTo>
                        <a:pt x="34" y="3581"/>
                      </a:lnTo>
                      <a:lnTo>
                        <a:pt x="0" y="3649"/>
                      </a:lnTo>
                      <a:lnTo>
                        <a:pt x="159" y="3246"/>
                      </a:lnTo>
                      <a:lnTo>
                        <a:pt x="168" y="2943"/>
                      </a:lnTo>
                      <a:lnTo>
                        <a:pt x="192" y="2825"/>
                      </a:lnTo>
                      <a:lnTo>
                        <a:pt x="249" y="2682"/>
                      </a:lnTo>
                      <a:lnTo>
                        <a:pt x="242" y="2477"/>
                      </a:lnTo>
                      <a:lnTo>
                        <a:pt x="276" y="2595"/>
                      </a:lnTo>
                      <a:lnTo>
                        <a:pt x="1117" y="2702"/>
                      </a:lnTo>
                      <a:lnTo>
                        <a:pt x="1352" y="2467"/>
                      </a:lnTo>
                      <a:lnTo>
                        <a:pt x="1366" y="2419"/>
                      </a:lnTo>
                      <a:lnTo>
                        <a:pt x="1567" y="2061"/>
                      </a:lnTo>
                      <a:lnTo>
                        <a:pt x="2145" y="1974"/>
                      </a:lnTo>
                      <a:lnTo>
                        <a:pt x="2171" y="1850"/>
                      </a:lnTo>
                      <a:lnTo>
                        <a:pt x="2255" y="1618"/>
                      </a:lnTo>
                      <a:lnTo>
                        <a:pt x="2560" y="1448"/>
                      </a:lnTo>
                      <a:lnTo>
                        <a:pt x="2569" y="1429"/>
                      </a:lnTo>
                      <a:lnTo>
                        <a:pt x="1840" y="685"/>
                      </a:lnTo>
                      <a:lnTo>
                        <a:pt x="1731" y="590"/>
                      </a:lnTo>
                      <a:lnTo>
                        <a:pt x="2281" y="464"/>
                      </a:lnTo>
                      <a:lnTo>
                        <a:pt x="3197" y="281"/>
                      </a:lnTo>
                      <a:lnTo>
                        <a:pt x="3424" y="0"/>
                      </a:lnTo>
                      <a:lnTo>
                        <a:pt x="4576" y="321"/>
                      </a:lnTo>
                      <a:lnTo>
                        <a:pt x="5434" y="970"/>
                      </a:lnTo>
                      <a:lnTo>
                        <a:pt x="6203" y="1265"/>
                      </a:lnTo>
                      <a:lnTo>
                        <a:pt x="6284" y="1324"/>
                      </a:lnTo>
                      <a:lnTo>
                        <a:pt x="6395" y="1591"/>
                      </a:lnTo>
                      <a:lnTo>
                        <a:pt x="6793" y="1625"/>
                      </a:lnTo>
                      <a:lnTo>
                        <a:pt x="6826" y="1659"/>
                      </a:lnTo>
                      <a:lnTo>
                        <a:pt x="6826" y="2203"/>
                      </a:lnTo>
                      <a:lnTo>
                        <a:pt x="6859" y="2247"/>
                      </a:lnTo>
                      <a:lnTo>
                        <a:pt x="7719" y="2641"/>
                      </a:lnTo>
                      <a:lnTo>
                        <a:pt x="9071" y="2723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77E2C3">
                      <a:lumMod val="40000"/>
                      <a:lumOff val="60000"/>
                    </a:srgb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77898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313C"/>
                    </a:solidFill>
                    <a:effectLst/>
                    <a:uLnTx/>
                    <a:uFillTx/>
                    <a:latin typeface="Arial"/>
                    <a:cs typeface="+mn-cs"/>
                  </a:endParaRPr>
                </a:p>
              </p:txBody>
            </p:sp>
            <p:sp>
              <p:nvSpPr>
                <p:cNvPr id="139" name="Freeform 78">
                  <a:extLst>
                    <a:ext uri="{FF2B5EF4-FFF2-40B4-BE49-F238E27FC236}">
                      <a16:creationId xmlns:a16="http://schemas.microsoft.com/office/drawing/2014/main" id="{B1B02133-0217-B937-2DB8-EBF1E37049B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896" y="2116"/>
                  <a:ext cx="231" cy="189"/>
                </a:xfrm>
                <a:custGeom>
                  <a:avLst/>
                  <a:gdLst>
                    <a:gd name="T0" fmla="*/ 2 w 15957"/>
                    <a:gd name="T1" fmla="*/ 1 h 13229"/>
                    <a:gd name="T2" fmla="*/ 2 w 15957"/>
                    <a:gd name="T3" fmla="*/ 1 h 13229"/>
                    <a:gd name="T4" fmla="*/ 2 w 15957"/>
                    <a:gd name="T5" fmla="*/ 1 h 13229"/>
                    <a:gd name="T6" fmla="*/ 2 w 15957"/>
                    <a:gd name="T7" fmla="*/ 1 h 13229"/>
                    <a:gd name="T8" fmla="*/ 2 w 15957"/>
                    <a:gd name="T9" fmla="*/ 1 h 13229"/>
                    <a:gd name="T10" fmla="*/ 2 w 15957"/>
                    <a:gd name="T11" fmla="*/ 1 h 13229"/>
                    <a:gd name="T12" fmla="*/ 2 w 15957"/>
                    <a:gd name="T13" fmla="*/ 1 h 13229"/>
                    <a:gd name="T14" fmla="*/ 2 w 15957"/>
                    <a:gd name="T15" fmla="*/ 1 h 13229"/>
                    <a:gd name="T16" fmla="*/ 3 w 15957"/>
                    <a:gd name="T17" fmla="*/ 1 h 13229"/>
                    <a:gd name="T18" fmla="*/ 3 w 15957"/>
                    <a:gd name="T19" fmla="*/ 1 h 13229"/>
                    <a:gd name="T20" fmla="*/ 3 w 15957"/>
                    <a:gd name="T21" fmla="*/ 2 h 13229"/>
                    <a:gd name="T22" fmla="*/ 3 w 15957"/>
                    <a:gd name="T23" fmla="*/ 2 h 13229"/>
                    <a:gd name="T24" fmla="*/ 2 w 15957"/>
                    <a:gd name="T25" fmla="*/ 2 h 13229"/>
                    <a:gd name="T26" fmla="*/ 2 w 15957"/>
                    <a:gd name="T27" fmla="*/ 3 h 13229"/>
                    <a:gd name="T28" fmla="*/ 2 w 15957"/>
                    <a:gd name="T29" fmla="*/ 3 h 13229"/>
                    <a:gd name="T30" fmla="*/ 1 w 15957"/>
                    <a:gd name="T31" fmla="*/ 3 h 13229"/>
                    <a:gd name="T32" fmla="*/ 1 w 15957"/>
                    <a:gd name="T33" fmla="*/ 3 h 13229"/>
                    <a:gd name="T34" fmla="*/ 1 w 15957"/>
                    <a:gd name="T35" fmla="*/ 3 h 13229"/>
                    <a:gd name="T36" fmla="*/ 1 w 15957"/>
                    <a:gd name="T37" fmla="*/ 3 h 13229"/>
                    <a:gd name="T38" fmla="*/ 1 w 15957"/>
                    <a:gd name="T39" fmla="*/ 3 h 13229"/>
                    <a:gd name="T40" fmla="*/ 1 w 15957"/>
                    <a:gd name="T41" fmla="*/ 3 h 13229"/>
                    <a:gd name="T42" fmla="*/ 1 w 15957"/>
                    <a:gd name="T43" fmla="*/ 3 h 13229"/>
                    <a:gd name="T44" fmla="*/ 1 w 15957"/>
                    <a:gd name="T45" fmla="*/ 3 h 13229"/>
                    <a:gd name="T46" fmla="*/ 1 w 15957"/>
                    <a:gd name="T47" fmla="*/ 3 h 13229"/>
                    <a:gd name="T48" fmla="*/ 1 w 15957"/>
                    <a:gd name="T49" fmla="*/ 3 h 13229"/>
                    <a:gd name="T50" fmla="*/ 1 w 15957"/>
                    <a:gd name="T51" fmla="*/ 3 h 13229"/>
                    <a:gd name="T52" fmla="*/ 1 w 15957"/>
                    <a:gd name="T53" fmla="*/ 2 h 13229"/>
                    <a:gd name="T54" fmla="*/ 1 w 15957"/>
                    <a:gd name="T55" fmla="*/ 2 h 13229"/>
                    <a:gd name="T56" fmla="*/ 1 w 15957"/>
                    <a:gd name="T57" fmla="*/ 2 h 13229"/>
                    <a:gd name="T58" fmla="*/ 1 w 15957"/>
                    <a:gd name="T59" fmla="*/ 2 h 13229"/>
                    <a:gd name="T60" fmla="*/ 1 w 15957"/>
                    <a:gd name="T61" fmla="*/ 2 h 13229"/>
                    <a:gd name="T62" fmla="*/ 1 w 15957"/>
                    <a:gd name="T63" fmla="*/ 2 h 13229"/>
                    <a:gd name="T64" fmla="*/ 1 w 15957"/>
                    <a:gd name="T65" fmla="*/ 2 h 13229"/>
                    <a:gd name="T66" fmla="*/ 1 w 15957"/>
                    <a:gd name="T67" fmla="*/ 2 h 13229"/>
                    <a:gd name="T68" fmla="*/ 1 w 15957"/>
                    <a:gd name="T69" fmla="*/ 2 h 13229"/>
                    <a:gd name="T70" fmla="*/ 1 w 15957"/>
                    <a:gd name="T71" fmla="*/ 2 h 13229"/>
                    <a:gd name="T72" fmla="*/ 1 w 15957"/>
                    <a:gd name="T73" fmla="*/ 1 h 13229"/>
                    <a:gd name="T74" fmla="*/ 0 w 15957"/>
                    <a:gd name="T75" fmla="*/ 1 h 13229"/>
                    <a:gd name="T76" fmla="*/ 0 w 15957"/>
                    <a:gd name="T77" fmla="*/ 1 h 13229"/>
                    <a:gd name="T78" fmla="*/ 0 w 15957"/>
                    <a:gd name="T79" fmla="*/ 1 h 13229"/>
                    <a:gd name="T80" fmla="*/ 0 w 15957"/>
                    <a:gd name="T81" fmla="*/ 1 h 13229"/>
                    <a:gd name="T82" fmla="*/ 0 w 15957"/>
                    <a:gd name="T83" fmla="*/ 1 h 13229"/>
                    <a:gd name="T84" fmla="*/ 0 w 15957"/>
                    <a:gd name="T85" fmla="*/ 1 h 13229"/>
                    <a:gd name="T86" fmla="*/ 0 w 15957"/>
                    <a:gd name="T87" fmla="*/ 1 h 13229"/>
                    <a:gd name="T88" fmla="*/ 0 w 15957"/>
                    <a:gd name="T89" fmla="*/ 1 h 13229"/>
                    <a:gd name="T90" fmla="*/ 0 w 15957"/>
                    <a:gd name="T91" fmla="*/ 1 h 13229"/>
                    <a:gd name="T92" fmla="*/ 0 w 15957"/>
                    <a:gd name="T93" fmla="*/ 1 h 13229"/>
                    <a:gd name="T94" fmla="*/ 0 w 15957"/>
                    <a:gd name="T95" fmla="*/ 0 h 13229"/>
                    <a:gd name="T96" fmla="*/ 0 w 15957"/>
                    <a:gd name="T97" fmla="*/ 0 h 13229"/>
                    <a:gd name="T98" fmla="*/ 1 w 15957"/>
                    <a:gd name="T99" fmla="*/ 0 h 13229"/>
                    <a:gd name="T100" fmla="*/ 1 w 15957"/>
                    <a:gd name="T101" fmla="*/ 0 h 13229"/>
                    <a:gd name="T102" fmla="*/ 1 w 15957"/>
                    <a:gd name="T103" fmla="*/ 0 h 13229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15957"/>
                    <a:gd name="T157" fmla="*/ 0 h 13229"/>
                    <a:gd name="T158" fmla="*/ 15957 w 15957"/>
                    <a:gd name="T159" fmla="*/ 13229 h 13229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15957" h="13229">
                      <a:moveTo>
                        <a:pt x="9071" y="2723"/>
                      </a:moveTo>
                      <a:lnTo>
                        <a:pt x="9131" y="2757"/>
                      </a:lnTo>
                      <a:lnTo>
                        <a:pt x="9432" y="2810"/>
                      </a:lnTo>
                      <a:lnTo>
                        <a:pt x="9706" y="2910"/>
                      </a:lnTo>
                      <a:lnTo>
                        <a:pt x="9809" y="2999"/>
                      </a:lnTo>
                      <a:lnTo>
                        <a:pt x="9934" y="3216"/>
                      </a:lnTo>
                      <a:lnTo>
                        <a:pt x="10393" y="3219"/>
                      </a:lnTo>
                      <a:lnTo>
                        <a:pt x="10455" y="3296"/>
                      </a:lnTo>
                      <a:lnTo>
                        <a:pt x="10504" y="3434"/>
                      </a:lnTo>
                      <a:lnTo>
                        <a:pt x="10545" y="3497"/>
                      </a:lnTo>
                      <a:lnTo>
                        <a:pt x="10573" y="3599"/>
                      </a:lnTo>
                      <a:lnTo>
                        <a:pt x="10697" y="3824"/>
                      </a:lnTo>
                      <a:lnTo>
                        <a:pt x="10817" y="3869"/>
                      </a:lnTo>
                      <a:lnTo>
                        <a:pt x="10903" y="4039"/>
                      </a:lnTo>
                      <a:lnTo>
                        <a:pt x="11097" y="4175"/>
                      </a:lnTo>
                      <a:lnTo>
                        <a:pt x="11100" y="4189"/>
                      </a:lnTo>
                      <a:lnTo>
                        <a:pt x="11062" y="4232"/>
                      </a:lnTo>
                      <a:lnTo>
                        <a:pt x="11097" y="4290"/>
                      </a:lnTo>
                      <a:lnTo>
                        <a:pt x="11134" y="4426"/>
                      </a:lnTo>
                      <a:lnTo>
                        <a:pt x="11258" y="4460"/>
                      </a:lnTo>
                      <a:lnTo>
                        <a:pt x="11313" y="4512"/>
                      </a:lnTo>
                      <a:lnTo>
                        <a:pt x="11537" y="4658"/>
                      </a:lnTo>
                      <a:lnTo>
                        <a:pt x="11613" y="4723"/>
                      </a:lnTo>
                      <a:lnTo>
                        <a:pt x="11663" y="4798"/>
                      </a:lnTo>
                      <a:lnTo>
                        <a:pt x="11680" y="4839"/>
                      </a:lnTo>
                      <a:lnTo>
                        <a:pt x="11658" y="4977"/>
                      </a:lnTo>
                      <a:lnTo>
                        <a:pt x="11764" y="5127"/>
                      </a:lnTo>
                      <a:lnTo>
                        <a:pt x="11788" y="5234"/>
                      </a:lnTo>
                      <a:lnTo>
                        <a:pt x="11781" y="5294"/>
                      </a:lnTo>
                      <a:lnTo>
                        <a:pt x="11711" y="5381"/>
                      </a:lnTo>
                      <a:lnTo>
                        <a:pt x="11715" y="5546"/>
                      </a:lnTo>
                      <a:lnTo>
                        <a:pt x="11824" y="5695"/>
                      </a:lnTo>
                      <a:lnTo>
                        <a:pt x="12016" y="5908"/>
                      </a:lnTo>
                      <a:lnTo>
                        <a:pt x="12063" y="6177"/>
                      </a:lnTo>
                      <a:lnTo>
                        <a:pt x="12135" y="6264"/>
                      </a:lnTo>
                      <a:lnTo>
                        <a:pt x="12147" y="6336"/>
                      </a:lnTo>
                      <a:lnTo>
                        <a:pt x="12184" y="6371"/>
                      </a:lnTo>
                      <a:lnTo>
                        <a:pt x="12207" y="6448"/>
                      </a:lnTo>
                      <a:lnTo>
                        <a:pt x="12243" y="6448"/>
                      </a:lnTo>
                      <a:lnTo>
                        <a:pt x="12348" y="6619"/>
                      </a:lnTo>
                      <a:lnTo>
                        <a:pt x="12423" y="6638"/>
                      </a:lnTo>
                      <a:lnTo>
                        <a:pt x="12480" y="6842"/>
                      </a:lnTo>
                      <a:lnTo>
                        <a:pt x="12935" y="7241"/>
                      </a:lnTo>
                      <a:lnTo>
                        <a:pt x="13158" y="7915"/>
                      </a:lnTo>
                      <a:lnTo>
                        <a:pt x="15429" y="8331"/>
                      </a:lnTo>
                      <a:lnTo>
                        <a:pt x="15576" y="8167"/>
                      </a:lnTo>
                      <a:lnTo>
                        <a:pt x="15957" y="8740"/>
                      </a:lnTo>
                      <a:lnTo>
                        <a:pt x="15424" y="10363"/>
                      </a:lnTo>
                      <a:lnTo>
                        <a:pt x="13158" y="11166"/>
                      </a:lnTo>
                      <a:lnTo>
                        <a:pt x="11049" y="11512"/>
                      </a:lnTo>
                      <a:lnTo>
                        <a:pt x="10746" y="11729"/>
                      </a:lnTo>
                      <a:lnTo>
                        <a:pt x="10244" y="11935"/>
                      </a:lnTo>
                      <a:lnTo>
                        <a:pt x="9691" y="12918"/>
                      </a:lnTo>
                      <a:lnTo>
                        <a:pt x="9503" y="13060"/>
                      </a:lnTo>
                      <a:lnTo>
                        <a:pt x="9370" y="13076"/>
                      </a:lnTo>
                      <a:lnTo>
                        <a:pt x="9104" y="12745"/>
                      </a:lnTo>
                      <a:lnTo>
                        <a:pt x="8174" y="12657"/>
                      </a:lnTo>
                      <a:lnTo>
                        <a:pt x="8036" y="12551"/>
                      </a:lnTo>
                      <a:lnTo>
                        <a:pt x="7547" y="12502"/>
                      </a:lnTo>
                      <a:lnTo>
                        <a:pt x="7168" y="12457"/>
                      </a:lnTo>
                      <a:lnTo>
                        <a:pt x="6859" y="12543"/>
                      </a:lnTo>
                      <a:lnTo>
                        <a:pt x="6711" y="12286"/>
                      </a:lnTo>
                      <a:lnTo>
                        <a:pt x="6580" y="12452"/>
                      </a:lnTo>
                      <a:lnTo>
                        <a:pt x="6570" y="12466"/>
                      </a:lnTo>
                      <a:lnTo>
                        <a:pt x="6560" y="12481"/>
                      </a:lnTo>
                      <a:lnTo>
                        <a:pt x="6551" y="12499"/>
                      </a:lnTo>
                      <a:lnTo>
                        <a:pt x="6542" y="12517"/>
                      </a:lnTo>
                      <a:lnTo>
                        <a:pt x="6524" y="12554"/>
                      </a:lnTo>
                      <a:lnTo>
                        <a:pt x="6507" y="12592"/>
                      </a:lnTo>
                      <a:lnTo>
                        <a:pt x="6492" y="12625"/>
                      </a:lnTo>
                      <a:lnTo>
                        <a:pt x="6480" y="12652"/>
                      </a:lnTo>
                      <a:lnTo>
                        <a:pt x="6474" y="12661"/>
                      </a:lnTo>
                      <a:lnTo>
                        <a:pt x="6468" y="12668"/>
                      </a:lnTo>
                      <a:lnTo>
                        <a:pt x="6466" y="12670"/>
                      </a:lnTo>
                      <a:lnTo>
                        <a:pt x="6464" y="12671"/>
                      </a:lnTo>
                      <a:lnTo>
                        <a:pt x="6461" y="12671"/>
                      </a:lnTo>
                      <a:lnTo>
                        <a:pt x="6460" y="12670"/>
                      </a:lnTo>
                      <a:lnTo>
                        <a:pt x="6452" y="12667"/>
                      </a:lnTo>
                      <a:lnTo>
                        <a:pt x="6447" y="12665"/>
                      </a:lnTo>
                      <a:lnTo>
                        <a:pt x="6442" y="12664"/>
                      </a:lnTo>
                      <a:lnTo>
                        <a:pt x="6439" y="12665"/>
                      </a:lnTo>
                      <a:lnTo>
                        <a:pt x="6436" y="12666"/>
                      </a:lnTo>
                      <a:lnTo>
                        <a:pt x="6435" y="12669"/>
                      </a:lnTo>
                      <a:lnTo>
                        <a:pt x="6434" y="12672"/>
                      </a:lnTo>
                      <a:lnTo>
                        <a:pt x="6434" y="12676"/>
                      </a:lnTo>
                      <a:lnTo>
                        <a:pt x="6437" y="12688"/>
                      </a:lnTo>
                      <a:lnTo>
                        <a:pt x="6442" y="12702"/>
                      </a:lnTo>
                      <a:lnTo>
                        <a:pt x="6449" y="12718"/>
                      </a:lnTo>
                      <a:lnTo>
                        <a:pt x="6457" y="12735"/>
                      </a:lnTo>
                      <a:lnTo>
                        <a:pt x="6474" y="12773"/>
                      </a:lnTo>
                      <a:lnTo>
                        <a:pt x="6488" y="12807"/>
                      </a:lnTo>
                      <a:lnTo>
                        <a:pt x="6493" y="12822"/>
                      </a:lnTo>
                      <a:lnTo>
                        <a:pt x="6495" y="12835"/>
                      </a:lnTo>
                      <a:lnTo>
                        <a:pt x="6495" y="12841"/>
                      </a:lnTo>
                      <a:lnTo>
                        <a:pt x="6495" y="12845"/>
                      </a:lnTo>
                      <a:lnTo>
                        <a:pt x="6493" y="12849"/>
                      </a:lnTo>
                      <a:lnTo>
                        <a:pt x="6490" y="12851"/>
                      </a:lnTo>
                      <a:lnTo>
                        <a:pt x="6442" y="13138"/>
                      </a:lnTo>
                      <a:lnTo>
                        <a:pt x="6289" y="13180"/>
                      </a:lnTo>
                      <a:lnTo>
                        <a:pt x="6127" y="13229"/>
                      </a:lnTo>
                      <a:lnTo>
                        <a:pt x="6092" y="13137"/>
                      </a:lnTo>
                      <a:lnTo>
                        <a:pt x="6092" y="13002"/>
                      </a:lnTo>
                      <a:lnTo>
                        <a:pt x="5928" y="12707"/>
                      </a:lnTo>
                      <a:lnTo>
                        <a:pt x="5877" y="12675"/>
                      </a:lnTo>
                      <a:lnTo>
                        <a:pt x="5820" y="12590"/>
                      </a:lnTo>
                      <a:lnTo>
                        <a:pt x="5760" y="12346"/>
                      </a:lnTo>
                      <a:lnTo>
                        <a:pt x="5511" y="12104"/>
                      </a:lnTo>
                      <a:lnTo>
                        <a:pt x="5396" y="12043"/>
                      </a:lnTo>
                      <a:lnTo>
                        <a:pt x="5329" y="11966"/>
                      </a:lnTo>
                      <a:lnTo>
                        <a:pt x="5175" y="11749"/>
                      </a:lnTo>
                      <a:lnTo>
                        <a:pt x="5026" y="11439"/>
                      </a:lnTo>
                      <a:lnTo>
                        <a:pt x="4967" y="11398"/>
                      </a:lnTo>
                      <a:lnTo>
                        <a:pt x="4943" y="11357"/>
                      </a:lnTo>
                      <a:lnTo>
                        <a:pt x="4900" y="11197"/>
                      </a:lnTo>
                      <a:lnTo>
                        <a:pt x="4893" y="11035"/>
                      </a:lnTo>
                      <a:lnTo>
                        <a:pt x="4842" y="10911"/>
                      </a:lnTo>
                      <a:lnTo>
                        <a:pt x="4758" y="10766"/>
                      </a:lnTo>
                      <a:lnTo>
                        <a:pt x="4661" y="10672"/>
                      </a:lnTo>
                      <a:lnTo>
                        <a:pt x="4617" y="10581"/>
                      </a:lnTo>
                      <a:lnTo>
                        <a:pt x="4559" y="10532"/>
                      </a:lnTo>
                      <a:lnTo>
                        <a:pt x="4443" y="10363"/>
                      </a:lnTo>
                      <a:lnTo>
                        <a:pt x="4361" y="10288"/>
                      </a:lnTo>
                      <a:lnTo>
                        <a:pt x="4157" y="10146"/>
                      </a:lnTo>
                      <a:lnTo>
                        <a:pt x="4050" y="10087"/>
                      </a:lnTo>
                      <a:lnTo>
                        <a:pt x="4015" y="10102"/>
                      </a:lnTo>
                      <a:lnTo>
                        <a:pt x="3932" y="10071"/>
                      </a:lnTo>
                      <a:lnTo>
                        <a:pt x="3740" y="9952"/>
                      </a:lnTo>
                      <a:lnTo>
                        <a:pt x="3642" y="9870"/>
                      </a:lnTo>
                      <a:lnTo>
                        <a:pt x="3582" y="9793"/>
                      </a:lnTo>
                      <a:lnTo>
                        <a:pt x="3491" y="9608"/>
                      </a:lnTo>
                      <a:lnTo>
                        <a:pt x="3451" y="9466"/>
                      </a:lnTo>
                      <a:lnTo>
                        <a:pt x="3359" y="8893"/>
                      </a:lnTo>
                      <a:lnTo>
                        <a:pt x="3309" y="8803"/>
                      </a:lnTo>
                      <a:lnTo>
                        <a:pt x="3299" y="8728"/>
                      </a:lnTo>
                      <a:lnTo>
                        <a:pt x="3333" y="8694"/>
                      </a:lnTo>
                      <a:lnTo>
                        <a:pt x="3366" y="8593"/>
                      </a:lnTo>
                      <a:lnTo>
                        <a:pt x="3383" y="8406"/>
                      </a:lnTo>
                      <a:lnTo>
                        <a:pt x="3326" y="8203"/>
                      </a:lnTo>
                      <a:lnTo>
                        <a:pt x="3283" y="8114"/>
                      </a:lnTo>
                      <a:lnTo>
                        <a:pt x="3225" y="8044"/>
                      </a:lnTo>
                      <a:lnTo>
                        <a:pt x="3174" y="7927"/>
                      </a:lnTo>
                      <a:lnTo>
                        <a:pt x="3141" y="7785"/>
                      </a:lnTo>
                      <a:lnTo>
                        <a:pt x="3091" y="7700"/>
                      </a:lnTo>
                      <a:lnTo>
                        <a:pt x="3034" y="7550"/>
                      </a:lnTo>
                      <a:lnTo>
                        <a:pt x="2859" y="7241"/>
                      </a:lnTo>
                      <a:lnTo>
                        <a:pt x="2650" y="7038"/>
                      </a:lnTo>
                      <a:lnTo>
                        <a:pt x="2518" y="6946"/>
                      </a:lnTo>
                      <a:lnTo>
                        <a:pt x="2492" y="6909"/>
                      </a:lnTo>
                      <a:lnTo>
                        <a:pt x="2451" y="6902"/>
                      </a:lnTo>
                      <a:lnTo>
                        <a:pt x="2435" y="6861"/>
                      </a:lnTo>
                      <a:lnTo>
                        <a:pt x="2326" y="6803"/>
                      </a:lnTo>
                      <a:lnTo>
                        <a:pt x="2243" y="6803"/>
                      </a:lnTo>
                      <a:lnTo>
                        <a:pt x="2193" y="6818"/>
                      </a:lnTo>
                      <a:lnTo>
                        <a:pt x="2135" y="6791"/>
                      </a:lnTo>
                      <a:lnTo>
                        <a:pt x="2108" y="6692"/>
                      </a:lnTo>
                      <a:lnTo>
                        <a:pt x="2042" y="6580"/>
                      </a:lnTo>
                      <a:lnTo>
                        <a:pt x="1949" y="6472"/>
                      </a:lnTo>
                      <a:lnTo>
                        <a:pt x="1949" y="6336"/>
                      </a:lnTo>
                      <a:lnTo>
                        <a:pt x="1965" y="6312"/>
                      </a:lnTo>
                      <a:lnTo>
                        <a:pt x="1833" y="5901"/>
                      </a:lnTo>
                      <a:lnTo>
                        <a:pt x="1757" y="5789"/>
                      </a:lnTo>
                      <a:lnTo>
                        <a:pt x="1665" y="5616"/>
                      </a:lnTo>
                      <a:lnTo>
                        <a:pt x="1549" y="5562"/>
                      </a:lnTo>
                      <a:lnTo>
                        <a:pt x="1507" y="5504"/>
                      </a:lnTo>
                      <a:lnTo>
                        <a:pt x="1483" y="5405"/>
                      </a:lnTo>
                      <a:lnTo>
                        <a:pt x="1326" y="5202"/>
                      </a:lnTo>
                      <a:lnTo>
                        <a:pt x="1198" y="4866"/>
                      </a:lnTo>
                      <a:lnTo>
                        <a:pt x="1117" y="4757"/>
                      </a:lnTo>
                      <a:lnTo>
                        <a:pt x="1016" y="4682"/>
                      </a:lnTo>
                      <a:lnTo>
                        <a:pt x="841" y="4447"/>
                      </a:lnTo>
                      <a:lnTo>
                        <a:pt x="824" y="4372"/>
                      </a:lnTo>
                      <a:lnTo>
                        <a:pt x="724" y="4245"/>
                      </a:lnTo>
                      <a:lnTo>
                        <a:pt x="625" y="4019"/>
                      </a:lnTo>
                      <a:lnTo>
                        <a:pt x="434" y="3656"/>
                      </a:lnTo>
                      <a:lnTo>
                        <a:pt x="357" y="3599"/>
                      </a:lnTo>
                      <a:lnTo>
                        <a:pt x="242" y="3599"/>
                      </a:lnTo>
                      <a:lnTo>
                        <a:pt x="125" y="3581"/>
                      </a:lnTo>
                      <a:lnTo>
                        <a:pt x="101" y="3565"/>
                      </a:lnTo>
                      <a:lnTo>
                        <a:pt x="34" y="3581"/>
                      </a:lnTo>
                      <a:lnTo>
                        <a:pt x="0" y="3649"/>
                      </a:lnTo>
                      <a:lnTo>
                        <a:pt x="159" y="3246"/>
                      </a:lnTo>
                      <a:lnTo>
                        <a:pt x="168" y="2943"/>
                      </a:lnTo>
                      <a:lnTo>
                        <a:pt x="192" y="2825"/>
                      </a:lnTo>
                      <a:lnTo>
                        <a:pt x="249" y="2682"/>
                      </a:lnTo>
                      <a:lnTo>
                        <a:pt x="242" y="2477"/>
                      </a:lnTo>
                      <a:lnTo>
                        <a:pt x="276" y="2595"/>
                      </a:lnTo>
                      <a:lnTo>
                        <a:pt x="1117" y="2702"/>
                      </a:lnTo>
                      <a:lnTo>
                        <a:pt x="1352" y="2467"/>
                      </a:lnTo>
                      <a:lnTo>
                        <a:pt x="1366" y="2419"/>
                      </a:lnTo>
                      <a:lnTo>
                        <a:pt x="1567" y="2061"/>
                      </a:lnTo>
                      <a:lnTo>
                        <a:pt x="2145" y="1974"/>
                      </a:lnTo>
                      <a:lnTo>
                        <a:pt x="2171" y="1850"/>
                      </a:lnTo>
                      <a:lnTo>
                        <a:pt x="2255" y="1618"/>
                      </a:lnTo>
                      <a:lnTo>
                        <a:pt x="2560" y="1448"/>
                      </a:lnTo>
                      <a:lnTo>
                        <a:pt x="2569" y="1429"/>
                      </a:lnTo>
                      <a:lnTo>
                        <a:pt x="1840" y="685"/>
                      </a:lnTo>
                      <a:lnTo>
                        <a:pt x="1731" y="590"/>
                      </a:lnTo>
                      <a:lnTo>
                        <a:pt x="2281" y="464"/>
                      </a:lnTo>
                      <a:lnTo>
                        <a:pt x="3197" y="281"/>
                      </a:lnTo>
                      <a:lnTo>
                        <a:pt x="3424" y="0"/>
                      </a:lnTo>
                      <a:lnTo>
                        <a:pt x="4576" y="321"/>
                      </a:lnTo>
                      <a:lnTo>
                        <a:pt x="5434" y="970"/>
                      </a:lnTo>
                      <a:lnTo>
                        <a:pt x="6203" y="1265"/>
                      </a:lnTo>
                      <a:lnTo>
                        <a:pt x="6284" y="1324"/>
                      </a:lnTo>
                      <a:lnTo>
                        <a:pt x="6395" y="1591"/>
                      </a:lnTo>
                      <a:lnTo>
                        <a:pt x="6793" y="1625"/>
                      </a:lnTo>
                      <a:lnTo>
                        <a:pt x="6826" y="1659"/>
                      </a:lnTo>
                      <a:lnTo>
                        <a:pt x="6826" y="2203"/>
                      </a:lnTo>
                      <a:lnTo>
                        <a:pt x="6859" y="2247"/>
                      </a:lnTo>
                      <a:lnTo>
                        <a:pt x="7719" y="2641"/>
                      </a:lnTo>
                      <a:lnTo>
                        <a:pt x="9071" y="2723"/>
                      </a:lnTo>
                    </a:path>
                  </a:pathLst>
                </a:custGeom>
                <a:grpFill/>
                <a:ln w="6350">
                  <a:solidFill>
                    <a:srgbClr val="77E2C3">
                      <a:lumMod val="40000"/>
                      <a:lumOff val="60000"/>
                    </a:srgb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77898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313C"/>
                    </a:solidFill>
                    <a:effectLst/>
                    <a:uLnTx/>
                    <a:uFillTx/>
                    <a:latin typeface="Arial"/>
                    <a:cs typeface="+mn-cs"/>
                  </a:endParaRPr>
                </a:p>
              </p:txBody>
            </p:sp>
          </p:grpSp>
          <p:grpSp>
            <p:nvGrpSpPr>
              <p:cNvPr id="118" name="Group 79">
                <a:extLst>
                  <a:ext uri="{FF2B5EF4-FFF2-40B4-BE49-F238E27FC236}">
                    <a16:creationId xmlns:a16="http://schemas.microsoft.com/office/drawing/2014/main" id="{BA439887-CA16-B8EF-4739-FFAE337480DC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984" y="2276"/>
                <a:ext cx="114" cy="72"/>
                <a:chOff x="2984" y="2276"/>
                <a:chExt cx="114" cy="72"/>
              </a:xfrm>
              <a:grpFill/>
            </p:grpSpPr>
            <p:sp>
              <p:nvSpPr>
                <p:cNvPr id="136" name="Freeform 80">
                  <a:extLst>
                    <a:ext uri="{FF2B5EF4-FFF2-40B4-BE49-F238E27FC236}">
                      <a16:creationId xmlns:a16="http://schemas.microsoft.com/office/drawing/2014/main" id="{2FC4E626-A62A-2880-5F1A-6940ABC4C18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984" y="2276"/>
                  <a:ext cx="114" cy="72"/>
                </a:xfrm>
                <a:custGeom>
                  <a:avLst/>
                  <a:gdLst>
                    <a:gd name="T0" fmla="*/ 1 w 15675"/>
                    <a:gd name="T1" fmla="*/ 0 h 9942"/>
                    <a:gd name="T2" fmla="*/ 1 w 15675"/>
                    <a:gd name="T3" fmla="*/ 0 h 9942"/>
                    <a:gd name="T4" fmla="*/ 1 w 15675"/>
                    <a:gd name="T5" fmla="*/ 0 h 9942"/>
                    <a:gd name="T6" fmla="*/ 1 w 15675"/>
                    <a:gd name="T7" fmla="*/ 0 h 9942"/>
                    <a:gd name="T8" fmla="*/ 1 w 15675"/>
                    <a:gd name="T9" fmla="*/ 0 h 9942"/>
                    <a:gd name="T10" fmla="*/ 1 w 15675"/>
                    <a:gd name="T11" fmla="*/ 0 h 9942"/>
                    <a:gd name="T12" fmla="*/ 1 w 15675"/>
                    <a:gd name="T13" fmla="*/ 0 h 9942"/>
                    <a:gd name="T14" fmla="*/ 1 w 15675"/>
                    <a:gd name="T15" fmla="*/ 0 h 9942"/>
                    <a:gd name="T16" fmla="*/ 0 w 15675"/>
                    <a:gd name="T17" fmla="*/ 0 h 9942"/>
                    <a:gd name="T18" fmla="*/ 0 w 15675"/>
                    <a:gd name="T19" fmla="*/ 0 h 9942"/>
                    <a:gd name="T20" fmla="*/ 0 w 15675"/>
                    <a:gd name="T21" fmla="*/ 0 h 9942"/>
                    <a:gd name="T22" fmla="*/ 0 w 15675"/>
                    <a:gd name="T23" fmla="*/ 0 h 9942"/>
                    <a:gd name="T24" fmla="*/ 0 w 15675"/>
                    <a:gd name="T25" fmla="*/ 0 h 9942"/>
                    <a:gd name="T26" fmla="*/ 0 w 15675"/>
                    <a:gd name="T27" fmla="*/ 0 h 9942"/>
                    <a:gd name="T28" fmla="*/ 0 w 15675"/>
                    <a:gd name="T29" fmla="*/ 1 h 9942"/>
                    <a:gd name="T30" fmla="*/ 0 w 15675"/>
                    <a:gd name="T31" fmla="*/ 1 h 9942"/>
                    <a:gd name="T32" fmla="*/ 0 w 15675"/>
                    <a:gd name="T33" fmla="*/ 1 h 9942"/>
                    <a:gd name="T34" fmla="*/ 0 w 15675"/>
                    <a:gd name="T35" fmla="*/ 0 h 9942"/>
                    <a:gd name="T36" fmla="*/ 0 w 15675"/>
                    <a:gd name="T37" fmla="*/ 0 h 9942"/>
                    <a:gd name="T38" fmla="*/ 0 w 15675"/>
                    <a:gd name="T39" fmla="*/ 0 h 9942"/>
                    <a:gd name="T40" fmla="*/ 0 w 15675"/>
                    <a:gd name="T41" fmla="*/ 0 h 9942"/>
                    <a:gd name="T42" fmla="*/ 0 w 15675"/>
                    <a:gd name="T43" fmla="*/ 0 h 9942"/>
                    <a:gd name="T44" fmla="*/ 0 w 15675"/>
                    <a:gd name="T45" fmla="*/ 0 h 9942"/>
                    <a:gd name="T46" fmla="*/ 0 w 15675"/>
                    <a:gd name="T47" fmla="*/ 0 h 9942"/>
                    <a:gd name="T48" fmla="*/ 0 w 15675"/>
                    <a:gd name="T49" fmla="*/ 0 h 9942"/>
                    <a:gd name="T50" fmla="*/ 0 w 15675"/>
                    <a:gd name="T51" fmla="*/ 0 h 9942"/>
                    <a:gd name="T52" fmla="*/ 0 w 15675"/>
                    <a:gd name="T53" fmla="*/ 0 h 9942"/>
                    <a:gd name="T54" fmla="*/ 0 w 15675"/>
                    <a:gd name="T55" fmla="*/ 0 h 9942"/>
                    <a:gd name="T56" fmla="*/ 0 w 15675"/>
                    <a:gd name="T57" fmla="*/ 0 h 9942"/>
                    <a:gd name="T58" fmla="*/ 0 w 15675"/>
                    <a:gd name="T59" fmla="*/ 0 h 9942"/>
                    <a:gd name="T60" fmla="*/ 0 w 15675"/>
                    <a:gd name="T61" fmla="*/ 0 h 9942"/>
                    <a:gd name="T62" fmla="*/ 0 w 15675"/>
                    <a:gd name="T63" fmla="*/ 0 h 9942"/>
                    <a:gd name="T64" fmla="*/ 0 w 15675"/>
                    <a:gd name="T65" fmla="*/ 0 h 9942"/>
                    <a:gd name="T66" fmla="*/ 0 w 15675"/>
                    <a:gd name="T67" fmla="*/ 0 h 9942"/>
                    <a:gd name="T68" fmla="*/ 0 w 15675"/>
                    <a:gd name="T69" fmla="*/ 0 h 9942"/>
                    <a:gd name="T70" fmla="*/ 0 w 15675"/>
                    <a:gd name="T71" fmla="*/ 0 h 9942"/>
                    <a:gd name="T72" fmla="*/ 0 w 15675"/>
                    <a:gd name="T73" fmla="*/ 0 h 9942"/>
                    <a:gd name="T74" fmla="*/ 0 w 15675"/>
                    <a:gd name="T75" fmla="*/ 0 h 9942"/>
                    <a:gd name="T76" fmla="*/ 0 w 15675"/>
                    <a:gd name="T77" fmla="*/ 0 h 9942"/>
                    <a:gd name="T78" fmla="*/ 0 w 15675"/>
                    <a:gd name="T79" fmla="*/ 0 h 9942"/>
                    <a:gd name="T80" fmla="*/ 0 w 15675"/>
                    <a:gd name="T81" fmla="*/ 0 h 9942"/>
                    <a:gd name="T82" fmla="*/ 0 w 15675"/>
                    <a:gd name="T83" fmla="*/ 0 h 9942"/>
                    <a:gd name="T84" fmla="*/ 0 w 15675"/>
                    <a:gd name="T85" fmla="*/ 0 h 9942"/>
                    <a:gd name="T86" fmla="*/ 0 w 15675"/>
                    <a:gd name="T87" fmla="*/ 0 h 9942"/>
                    <a:gd name="T88" fmla="*/ 0 w 15675"/>
                    <a:gd name="T89" fmla="*/ 0 h 9942"/>
                    <a:gd name="T90" fmla="*/ 1 w 15675"/>
                    <a:gd name="T91" fmla="*/ 0 h 9942"/>
                    <a:gd name="T92" fmla="*/ 1 w 15675"/>
                    <a:gd name="T93" fmla="*/ 0 h 9942"/>
                    <a:gd name="T94" fmla="*/ 1 w 15675"/>
                    <a:gd name="T95" fmla="*/ 0 h 9942"/>
                    <a:gd name="T96" fmla="*/ 1 w 15675"/>
                    <a:gd name="T97" fmla="*/ 0 h 9942"/>
                    <a:gd name="T98" fmla="*/ 1 w 15675"/>
                    <a:gd name="T99" fmla="*/ 0 h 9942"/>
                    <a:gd name="T100" fmla="*/ 1 w 15675"/>
                    <a:gd name="T101" fmla="*/ 0 h 9942"/>
                    <a:gd name="T102" fmla="*/ 1 w 15675"/>
                    <a:gd name="T103" fmla="*/ 0 h 9942"/>
                    <a:gd name="T104" fmla="*/ 1 w 15675"/>
                    <a:gd name="T105" fmla="*/ 0 h 9942"/>
                    <a:gd name="T106" fmla="*/ 1 w 15675"/>
                    <a:gd name="T107" fmla="*/ 0 h 9942"/>
                    <a:gd name="T108" fmla="*/ 1 w 15675"/>
                    <a:gd name="T109" fmla="*/ 0 h 9942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15675"/>
                    <a:gd name="T166" fmla="*/ 0 h 9942"/>
                    <a:gd name="T167" fmla="*/ 15675 w 15675"/>
                    <a:gd name="T168" fmla="*/ 9942 h 9942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15675" h="9942">
                      <a:moveTo>
                        <a:pt x="15675" y="3780"/>
                      </a:moveTo>
                      <a:lnTo>
                        <a:pt x="15169" y="3985"/>
                      </a:lnTo>
                      <a:lnTo>
                        <a:pt x="14868" y="4199"/>
                      </a:lnTo>
                      <a:lnTo>
                        <a:pt x="14648" y="4443"/>
                      </a:lnTo>
                      <a:lnTo>
                        <a:pt x="14447" y="4864"/>
                      </a:lnTo>
                      <a:lnTo>
                        <a:pt x="14514" y="5031"/>
                      </a:lnTo>
                      <a:lnTo>
                        <a:pt x="14543" y="5260"/>
                      </a:lnTo>
                      <a:lnTo>
                        <a:pt x="14538" y="5308"/>
                      </a:lnTo>
                      <a:lnTo>
                        <a:pt x="14466" y="5374"/>
                      </a:lnTo>
                      <a:lnTo>
                        <a:pt x="14385" y="5418"/>
                      </a:lnTo>
                      <a:lnTo>
                        <a:pt x="14190" y="5385"/>
                      </a:lnTo>
                      <a:lnTo>
                        <a:pt x="14027" y="5466"/>
                      </a:lnTo>
                      <a:lnTo>
                        <a:pt x="13627" y="5576"/>
                      </a:lnTo>
                      <a:lnTo>
                        <a:pt x="13364" y="5843"/>
                      </a:lnTo>
                      <a:lnTo>
                        <a:pt x="13073" y="5967"/>
                      </a:lnTo>
                      <a:lnTo>
                        <a:pt x="12652" y="6020"/>
                      </a:lnTo>
                      <a:lnTo>
                        <a:pt x="12404" y="6082"/>
                      </a:lnTo>
                      <a:lnTo>
                        <a:pt x="12036" y="6264"/>
                      </a:lnTo>
                      <a:lnTo>
                        <a:pt x="11764" y="6336"/>
                      </a:lnTo>
                      <a:lnTo>
                        <a:pt x="11211" y="6574"/>
                      </a:lnTo>
                      <a:lnTo>
                        <a:pt x="10929" y="6593"/>
                      </a:lnTo>
                      <a:lnTo>
                        <a:pt x="10470" y="6679"/>
                      </a:lnTo>
                      <a:lnTo>
                        <a:pt x="9988" y="6908"/>
                      </a:lnTo>
                      <a:lnTo>
                        <a:pt x="9740" y="7051"/>
                      </a:lnTo>
                      <a:lnTo>
                        <a:pt x="9645" y="7262"/>
                      </a:lnTo>
                      <a:lnTo>
                        <a:pt x="9521" y="7448"/>
                      </a:lnTo>
                      <a:lnTo>
                        <a:pt x="9205" y="7739"/>
                      </a:lnTo>
                      <a:lnTo>
                        <a:pt x="9072" y="7825"/>
                      </a:lnTo>
                      <a:lnTo>
                        <a:pt x="9020" y="7897"/>
                      </a:lnTo>
                      <a:lnTo>
                        <a:pt x="8905" y="7936"/>
                      </a:lnTo>
                      <a:lnTo>
                        <a:pt x="8198" y="7906"/>
                      </a:lnTo>
                      <a:lnTo>
                        <a:pt x="7845" y="7951"/>
                      </a:lnTo>
                      <a:lnTo>
                        <a:pt x="7539" y="8146"/>
                      </a:lnTo>
                      <a:lnTo>
                        <a:pt x="7391" y="8347"/>
                      </a:lnTo>
                      <a:lnTo>
                        <a:pt x="6962" y="8585"/>
                      </a:lnTo>
                      <a:lnTo>
                        <a:pt x="6784" y="8623"/>
                      </a:lnTo>
                      <a:lnTo>
                        <a:pt x="6259" y="8776"/>
                      </a:lnTo>
                      <a:lnTo>
                        <a:pt x="5978" y="8801"/>
                      </a:lnTo>
                      <a:lnTo>
                        <a:pt x="5672" y="8733"/>
                      </a:lnTo>
                      <a:lnTo>
                        <a:pt x="5353" y="8786"/>
                      </a:lnTo>
                      <a:lnTo>
                        <a:pt x="5109" y="8762"/>
                      </a:lnTo>
                      <a:lnTo>
                        <a:pt x="4779" y="8801"/>
                      </a:lnTo>
                      <a:lnTo>
                        <a:pt x="4497" y="8977"/>
                      </a:lnTo>
                      <a:lnTo>
                        <a:pt x="4292" y="9321"/>
                      </a:lnTo>
                      <a:lnTo>
                        <a:pt x="3686" y="9598"/>
                      </a:lnTo>
                      <a:lnTo>
                        <a:pt x="3405" y="9771"/>
                      </a:lnTo>
                      <a:lnTo>
                        <a:pt x="2769" y="9785"/>
                      </a:lnTo>
                      <a:lnTo>
                        <a:pt x="2368" y="9909"/>
                      </a:lnTo>
                      <a:lnTo>
                        <a:pt x="2149" y="9890"/>
                      </a:lnTo>
                      <a:lnTo>
                        <a:pt x="1934" y="9942"/>
                      </a:lnTo>
                      <a:lnTo>
                        <a:pt x="1652" y="9818"/>
                      </a:lnTo>
                      <a:lnTo>
                        <a:pt x="1309" y="9832"/>
                      </a:lnTo>
                      <a:lnTo>
                        <a:pt x="1180" y="9435"/>
                      </a:lnTo>
                      <a:lnTo>
                        <a:pt x="898" y="9087"/>
                      </a:lnTo>
                      <a:lnTo>
                        <a:pt x="898" y="8356"/>
                      </a:lnTo>
                      <a:lnTo>
                        <a:pt x="865" y="8108"/>
                      </a:lnTo>
                      <a:lnTo>
                        <a:pt x="716" y="7955"/>
                      </a:lnTo>
                      <a:lnTo>
                        <a:pt x="635" y="7758"/>
                      </a:lnTo>
                      <a:lnTo>
                        <a:pt x="535" y="7310"/>
                      </a:lnTo>
                      <a:lnTo>
                        <a:pt x="482" y="6794"/>
                      </a:lnTo>
                      <a:lnTo>
                        <a:pt x="401" y="6584"/>
                      </a:lnTo>
                      <a:lnTo>
                        <a:pt x="320" y="6450"/>
                      </a:lnTo>
                      <a:lnTo>
                        <a:pt x="320" y="6215"/>
                      </a:lnTo>
                      <a:lnTo>
                        <a:pt x="86" y="5886"/>
                      </a:lnTo>
                      <a:lnTo>
                        <a:pt x="0" y="5814"/>
                      </a:lnTo>
                      <a:lnTo>
                        <a:pt x="67" y="5752"/>
                      </a:lnTo>
                      <a:lnTo>
                        <a:pt x="134" y="5767"/>
                      </a:lnTo>
                      <a:lnTo>
                        <a:pt x="134" y="5666"/>
                      </a:lnTo>
                      <a:lnTo>
                        <a:pt x="86" y="5552"/>
                      </a:lnTo>
                      <a:lnTo>
                        <a:pt x="86" y="5303"/>
                      </a:lnTo>
                      <a:lnTo>
                        <a:pt x="34" y="5155"/>
                      </a:lnTo>
                      <a:lnTo>
                        <a:pt x="201" y="5007"/>
                      </a:lnTo>
                      <a:lnTo>
                        <a:pt x="234" y="4888"/>
                      </a:lnTo>
                      <a:lnTo>
                        <a:pt x="201" y="4438"/>
                      </a:lnTo>
                      <a:lnTo>
                        <a:pt x="153" y="4142"/>
                      </a:lnTo>
                      <a:lnTo>
                        <a:pt x="101" y="4075"/>
                      </a:lnTo>
                      <a:lnTo>
                        <a:pt x="710" y="3760"/>
                      </a:lnTo>
                      <a:lnTo>
                        <a:pt x="850" y="3308"/>
                      </a:lnTo>
                      <a:lnTo>
                        <a:pt x="853" y="3295"/>
                      </a:lnTo>
                      <a:lnTo>
                        <a:pt x="854" y="3283"/>
                      </a:lnTo>
                      <a:lnTo>
                        <a:pt x="854" y="3271"/>
                      </a:lnTo>
                      <a:lnTo>
                        <a:pt x="853" y="3258"/>
                      </a:lnTo>
                      <a:lnTo>
                        <a:pt x="850" y="3246"/>
                      </a:lnTo>
                      <a:lnTo>
                        <a:pt x="847" y="3234"/>
                      </a:lnTo>
                      <a:lnTo>
                        <a:pt x="843" y="3222"/>
                      </a:lnTo>
                      <a:lnTo>
                        <a:pt x="838" y="3209"/>
                      </a:lnTo>
                      <a:lnTo>
                        <a:pt x="825" y="3184"/>
                      </a:lnTo>
                      <a:lnTo>
                        <a:pt x="809" y="3159"/>
                      </a:lnTo>
                      <a:lnTo>
                        <a:pt x="793" y="3135"/>
                      </a:lnTo>
                      <a:lnTo>
                        <a:pt x="777" y="3110"/>
                      </a:lnTo>
                      <a:lnTo>
                        <a:pt x="761" y="3086"/>
                      </a:lnTo>
                      <a:lnTo>
                        <a:pt x="747" y="3061"/>
                      </a:lnTo>
                      <a:lnTo>
                        <a:pt x="741" y="3050"/>
                      </a:lnTo>
                      <a:lnTo>
                        <a:pt x="736" y="3038"/>
                      </a:lnTo>
                      <a:lnTo>
                        <a:pt x="731" y="3026"/>
                      </a:lnTo>
                      <a:lnTo>
                        <a:pt x="727" y="3014"/>
                      </a:lnTo>
                      <a:lnTo>
                        <a:pt x="724" y="3002"/>
                      </a:lnTo>
                      <a:lnTo>
                        <a:pt x="722" y="2991"/>
                      </a:lnTo>
                      <a:lnTo>
                        <a:pt x="722" y="2979"/>
                      </a:lnTo>
                      <a:lnTo>
                        <a:pt x="723" y="2967"/>
                      </a:lnTo>
                      <a:lnTo>
                        <a:pt x="725" y="2956"/>
                      </a:lnTo>
                      <a:lnTo>
                        <a:pt x="730" y="2945"/>
                      </a:lnTo>
                      <a:lnTo>
                        <a:pt x="735" y="2934"/>
                      </a:lnTo>
                      <a:lnTo>
                        <a:pt x="743" y="2922"/>
                      </a:lnTo>
                      <a:lnTo>
                        <a:pt x="1266" y="2241"/>
                      </a:lnTo>
                      <a:lnTo>
                        <a:pt x="1614" y="2657"/>
                      </a:lnTo>
                      <a:lnTo>
                        <a:pt x="2120" y="2602"/>
                      </a:lnTo>
                      <a:lnTo>
                        <a:pt x="3858" y="2689"/>
                      </a:lnTo>
                      <a:lnTo>
                        <a:pt x="4187" y="2967"/>
                      </a:lnTo>
                      <a:lnTo>
                        <a:pt x="6020" y="3083"/>
                      </a:lnTo>
                      <a:lnTo>
                        <a:pt x="6615" y="3737"/>
                      </a:lnTo>
                      <a:lnTo>
                        <a:pt x="6648" y="3723"/>
                      </a:lnTo>
                      <a:lnTo>
                        <a:pt x="6683" y="3710"/>
                      </a:lnTo>
                      <a:lnTo>
                        <a:pt x="6718" y="3700"/>
                      </a:lnTo>
                      <a:lnTo>
                        <a:pt x="6754" y="3690"/>
                      </a:lnTo>
                      <a:lnTo>
                        <a:pt x="6825" y="3671"/>
                      </a:lnTo>
                      <a:lnTo>
                        <a:pt x="6894" y="3652"/>
                      </a:lnTo>
                      <a:lnTo>
                        <a:pt x="6910" y="3648"/>
                      </a:lnTo>
                      <a:lnTo>
                        <a:pt x="6927" y="3642"/>
                      </a:lnTo>
                      <a:lnTo>
                        <a:pt x="6943" y="3637"/>
                      </a:lnTo>
                      <a:lnTo>
                        <a:pt x="6959" y="3630"/>
                      </a:lnTo>
                      <a:lnTo>
                        <a:pt x="6974" y="3624"/>
                      </a:lnTo>
                      <a:lnTo>
                        <a:pt x="6990" y="3616"/>
                      </a:lnTo>
                      <a:lnTo>
                        <a:pt x="7005" y="3609"/>
                      </a:lnTo>
                      <a:lnTo>
                        <a:pt x="7019" y="3600"/>
                      </a:lnTo>
                      <a:lnTo>
                        <a:pt x="7033" y="3591"/>
                      </a:lnTo>
                      <a:lnTo>
                        <a:pt x="7047" y="3582"/>
                      </a:lnTo>
                      <a:lnTo>
                        <a:pt x="7059" y="3571"/>
                      </a:lnTo>
                      <a:lnTo>
                        <a:pt x="7072" y="3559"/>
                      </a:lnTo>
                      <a:lnTo>
                        <a:pt x="7084" y="3547"/>
                      </a:lnTo>
                      <a:lnTo>
                        <a:pt x="7095" y="3534"/>
                      </a:lnTo>
                      <a:lnTo>
                        <a:pt x="7105" y="3519"/>
                      </a:lnTo>
                      <a:lnTo>
                        <a:pt x="7116" y="3504"/>
                      </a:lnTo>
                      <a:lnTo>
                        <a:pt x="8300" y="1543"/>
                      </a:lnTo>
                      <a:lnTo>
                        <a:pt x="9312" y="1068"/>
                      </a:lnTo>
                      <a:lnTo>
                        <a:pt x="9929" y="654"/>
                      </a:lnTo>
                      <a:lnTo>
                        <a:pt x="9962" y="638"/>
                      </a:lnTo>
                      <a:lnTo>
                        <a:pt x="10014" y="620"/>
                      </a:lnTo>
                      <a:lnTo>
                        <a:pt x="10082" y="602"/>
                      </a:lnTo>
                      <a:lnTo>
                        <a:pt x="10166" y="583"/>
                      </a:lnTo>
                      <a:lnTo>
                        <a:pt x="10264" y="564"/>
                      </a:lnTo>
                      <a:lnTo>
                        <a:pt x="10375" y="544"/>
                      </a:lnTo>
                      <a:lnTo>
                        <a:pt x="10498" y="524"/>
                      </a:lnTo>
                      <a:lnTo>
                        <a:pt x="10633" y="503"/>
                      </a:lnTo>
                      <a:lnTo>
                        <a:pt x="10777" y="483"/>
                      </a:lnTo>
                      <a:lnTo>
                        <a:pt x="10930" y="461"/>
                      </a:lnTo>
                      <a:lnTo>
                        <a:pt x="11090" y="440"/>
                      </a:lnTo>
                      <a:lnTo>
                        <a:pt x="11257" y="417"/>
                      </a:lnTo>
                      <a:lnTo>
                        <a:pt x="11603" y="373"/>
                      </a:lnTo>
                      <a:lnTo>
                        <a:pt x="11961" y="328"/>
                      </a:lnTo>
                      <a:lnTo>
                        <a:pt x="12321" y="284"/>
                      </a:lnTo>
                      <a:lnTo>
                        <a:pt x="12673" y="238"/>
                      </a:lnTo>
                      <a:lnTo>
                        <a:pt x="12844" y="217"/>
                      </a:lnTo>
                      <a:lnTo>
                        <a:pt x="13010" y="195"/>
                      </a:lnTo>
                      <a:lnTo>
                        <a:pt x="13168" y="174"/>
                      </a:lnTo>
                      <a:lnTo>
                        <a:pt x="13320" y="152"/>
                      </a:lnTo>
                      <a:lnTo>
                        <a:pt x="13462" y="131"/>
                      </a:lnTo>
                      <a:lnTo>
                        <a:pt x="13595" y="111"/>
                      </a:lnTo>
                      <a:lnTo>
                        <a:pt x="13716" y="91"/>
                      </a:lnTo>
                      <a:lnTo>
                        <a:pt x="13826" y="72"/>
                      </a:lnTo>
                      <a:lnTo>
                        <a:pt x="13921" y="53"/>
                      </a:lnTo>
                      <a:lnTo>
                        <a:pt x="14003" y="35"/>
                      </a:lnTo>
                      <a:lnTo>
                        <a:pt x="14069" y="17"/>
                      </a:lnTo>
                      <a:lnTo>
                        <a:pt x="14118" y="0"/>
                      </a:lnTo>
                      <a:lnTo>
                        <a:pt x="15675" y="3780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77E2C3">
                      <a:lumMod val="40000"/>
                      <a:lumOff val="60000"/>
                    </a:srgb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77898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313C"/>
                    </a:solidFill>
                    <a:effectLst/>
                    <a:uLnTx/>
                    <a:uFillTx/>
                    <a:latin typeface="Arial"/>
                    <a:cs typeface="+mn-cs"/>
                  </a:endParaRPr>
                </a:p>
              </p:txBody>
            </p:sp>
            <p:sp>
              <p:nvSpPr>
                <p:cNvPr id="137" name="Freeform 81">
                  <a:extLst>
                    <a:ext uri="{FF2B5EF4-FFF2-40B4-BE49-F238E27FC236}">
                      <a16:creationId xmlns:a16="http://schemas.microsoft.com/office/drawing/2014/main" id="{BDAADB18-7B7C-C395-5FF3-CCA347D858A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984" y="2276"/>
                  <a:ext cx="114" cy="72"/>
                </a:xfrm>
                <a:custGeom>
                  <a:avLst/>
                  <a:gdLst>
                    <a:gd name="T0" fmla="*/ 1 w 15675"/>
                    <a:gd name="T1" fmla="*/ 0 h 9942"/>
                    <a:gd name="T2" fmla="*/ 1 w 15675"/>
                    <a:gd name="T3" fmla="*/ 0 h 9942"/>
                    <a:gd name="T4" fmla="*/ 1 w 15675"/>
                    <a:gd name="T5" fmla="*/ 0 h 9942"/>
                    <a:gd name="T6" fmla="*/ 1 w 15675"/>
                    <a:gd name="T7" fmla="*/ 0 h 9942"/>
                    <a:gd name="T8" fmla="*/ 1 w 15675"/>
                    <a:gd name="T9" fmla="*/ 0 h 9942"/>
                    <a:gd name="T10" fmla="*/ 1 w 15675"/>
                    <a:gd name="T11" fmla="*/ 0 h 9942"/>
                    <a:gd name="T12" fmla="*/ 1 w 15675"/>
                    <a:gd name="T13" fmla="*/ 0 h 9942"/>
                    <a:gd name="T14" fmla="*/ 1 w 15675"/>
                    <a:gd name="T15" fmla="*/ 0 h 9942"/>
                    <a:gd name="T16" fmla="*/ 0 w 15675"/>
                    <a:gd name="T17" fmla="*/ 0 h 9942"/>
                    <a:gd name="T18" fmla="*/ 0 w 15675"/>
                    <a:gd name="T19" fmla="*/ 0 h 9942"/>
                    <a:gd name="T20" fmla="*/ 0 w 15675"/>
                    <a:gd name="T21" fmla="*/ 0 h 9942"/>
                    <a:gd name="T22" fmla="*/ 0 w 15675"/>
                    <a:gd name="T23" fmla="*/ 0 h 9942"/>
                    <a:gd name="T24" fmla="*/ 0 w 15675"/>
                    <a:gd name="T25" fmla="*/ 0 h 9942"/>
                    <a:gd name="T26" fmla="*/ 0 w 15675"/>
                    <a:gd name="T27" fmla="*/ 0 h 9942"/>
                    <a:gd name="T28" fmla="*/ 0 w 15675"/>
                    <a:gd name="T29" fmla="*/ 1 h 9942"/>
                    <a:gd name="T30" fmla="*/ 0 w 15675"/>
                    <a:gd name="T31" fmla="*/ 1 h 9942"/>
                    <a:gd name="T32" fmla="*/ 0 w 15675"/>
                    <a:gd name="T33" fmla="*/ 1 h 9942"/>
                    <a:gd name="T34" fmla="*/ 0 w 15675"/>
                    <a:gd name="T35" fmla="*/ 0 h 9942"/>
                    <a:gd name="T36" fmla="*/ 0 w 15675"/>
                    <a:gd name="T37" fmla="*/ 0 h 9942"/>
                    <a:gd name="T38" fmla="*/ 0 w 15675"/>
                    <a:gd name="T39" fmla="*/ 0 h 9942"/>
                    <a:gd name="T40" fmla="*/ 0 w 15675"/>
                    <a:gd name="T41" fmla="*/ 0 h 9942"/>
                    <a:gd name="T42" fmla="*/ 0 w 15675"/>
                    <a:gd name="T43" fmla="*/ 0 h 9942"/>
                    <a:gd name="T44" fmla="*/ 0 w 15675"/>
                    <a:gd name="T45" fmla="*/ 0 h 9942"/>
                    <a:gd name="T46" fmla="*/ 0 w 15675"/>
                    <a:gd name="T47" fmla="*/ 0 h 9942"/>
                    <a:gd name="T48" fmla="*/ 0 w 15675"/>
                    <a:gd name="T49" fmla="*/ 0 h 9942"/>
                    <a:gd name="T50" fmla="*/ 0 w 15675"/>
                    <a:gd name="T51" fmla="*/ 0 h 9942"/>
                    <a:gd name="T52" fmla="*/ 0 w 15675"/>
                    <a:gd name="T53" fmla="*/ 0 h 9942"/>
                    <a:gd name="T54" fmla="*/ 0 w 15675"/>
                    <a:gd name="T55" fmla="*/ 0 h 9942"/>
                    <a:gd name="T56" fmla="*/ 0 w 15675"/>
                    <a:gd name="T57" fmla="*/ 0 h 9942"/>
                    <a:gd name="T58" fmla="*/ 0 w 15675"/>
                    <a:gd name="T59" fmla="*/ 0 h 9942"/>
                    <a:gd name="T60" fmla="*/ 0 w 15675"/>
                    <a:gd name="T61" fmla="*/ 0 h 9942"/>
                    <a:gd name="T62" fmla="*/ 0 w 15675"/>
                    <a:gd name="T63" fmla="*/ 0 h 9942"/>
                    <a:gd name="T64" fmla="*/ 0 w 15675"/>
                    <a:gd name="T65" fmla="*/ 0 h 9942"/>
                    <a:gd name="T66" fmla="*/ 0 w 15675"/>
                    <a:gd name="T67" fmla="*/ 0 h 9942"/>
                    <a:gd name="T68" fmla="*/ 0 w 15675"/>
                    <a:gd name="T69" fmla="*/ 0 h 9942"/>
                    <a:gd name="T70" fmla="*/ 0 w 15675"/>
                    <a:gd name="T71" fmla="*/ 0 h 9942"/>
                    <a:gd name="T72" fmla="*/ 0 w 15675"/>
                    <a:gd name="T73" fmla="*/ 0 h 9942"/>
                    <a:gd name="T74" fmla="*/ 0 w 15675"/>
                    <a:gd name="T75" fmla="*/ 0 h 9942"/>
                    <a:gd name="T76" fmla="*/ 0 w 15675"/>
                    <a:gd name="T77" fmla="*/ 0 h 9942"/>
                    <a:gd name="T78" fmla="*/ 0 w 15675"/>
                    <a:gd name="T79" fmla="*/ 0 h 9942"/>
                    <a:gd name="T80" fmla="*/ 0 w 15675"/>
                    <a:gd name="T81" fmla="*/ 0 h 9942"/>
                    <a:gd name="T82" fmla="*/ 0 w 15675"/>
                    <a:gd name="T83" fmla="*/ 0 h 9942"/>
                    <a:gd name="T84" fmla="*/ 0 w 15675"/>
                    <a:gd name="T85" fmla="*/ 0 h 9942"/>
                    <a:gd name="T86" fmla="*/ 0 w 15675"/>
                    <a:gd name="T87" fmla="*/ 0 h 9942"/>
                    <a:gd name="T88" fmla="*/ 0 w 15675"/>
                    <a:gd name="T89" fmla="*/ 0 h 9942"/>
                    <a:gd name="T90" fmla="*/ 1 w 15675"/>
                    <a:gd name="T91" fmla="*/ 0 h 9942"/>
                    <a:gd name="T92" fmla="*/ 1 w 15675"/>
                    <a:gd name="T93" fmla="*/ 0 h 9942"/>
                    <a:gd name="T94" fmla="*/ 1 w 15675"/>
                    <a:gd name="T95" fmla="*/ 0 h 9942"/>
                    <a:gd name="T96" fmla="*/ 1 w 15675"/>
                    <a:gd name="T97" fmla="*/ 0 h 9942"/>
                    <a:gd name="T98" fmla="*/ 1 w 15675"/>
                    <a:gd name="T99" fmla="*/ 0 h 9942"/>
                    <a:gd name="T100" fmla="*/ 1 w 15675"/>
                    <a:gd name="T101" fmla="*/ 0 h 9942"/>
                    <a:gd name="T102" fmla="*/ 1 w 15675"/>
                    <a:gd name="T103" fmla="*/ 0 h 9942"/>
                    <a:gd name="T104" fmla="*/ 1 w 15675"/>
                    <a:gd name="T105" fmla="*/ 0 h 9942"/>
                    <a:gd name="T106" fmla="*/ 1 w 15675"/>
                    <a:gd name="T107" fmla="*/ 0 h 9942"/>
                    <a:gd name="T108" fmla="*/ 1 w 15675"/>
                    <a:gd name="T109" fmla="*/ 0 h 9942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15675"/>
                    <a:gd name="T166" fmla="*/ 0 h 9942"/>
                    <a:gd name="T167" fmla="*/ 15675 w 15675"/>
                    <a:gd name="T168" fmla="*/ 9942 h 9942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15675" h="9942">
                      <a:moveTo>
                        <a:pt x="15675" y="3780"/>
                      </a:moveTo>
                      <a:lnTo>
                        <a:pt x="15169" y="3985"/>
                      </a:lnTo>
                      <a:lnTo>
                        <a:pt x="14868" y="4199"/>
                      </a:lnTo>
                      <a:lnTo>
                        <a:pt x="14648" y="4443"/>
                      </a:lnTo>
                      <a:lnTo>
                        <a:pt x="14447" y="4864"/>
                      </a:lnTo>
                      <a:lnTo>
                        <a:pt x="14514" y="5031"/>
                      </a:lnTo>
                      <a:lnTo>
                        <a:pt x="14543" y="5260"/>
                      </a:lnTo>
                      <a:lnTo>
                        <a:pt x="14538" y="5308"/>
                      </a:lnTo>
                      <a:lnTo>
                        <a:pt x="14466" y="5374"/>
                      </a:lnTo>
                      <a:lnTo>
                        <a:pt x="14385" y="5418"/>
                      </a:lnTo>
                      <a:lnTo>
                        <a:pt x="14190" y="5385"/>
                      </a:lnTo>
                      <a:lnTo>
                        <a:pt x="14027" y="5466"/>
                      </a:lnTo>
                      <a:lnTo>
                        <a:pt x="13627" y="5576"/>
                      </a:lnTo>
                      <a:lnTo>
                        <a:pt x="13364" y="5843"/>
                      </a:lnTo>
                      <a:lnTo>
                        <a:pt x="13073" y="5967"/>
                      </a:lnTo>
                      <a:lnTo>
                        <a:pt x="12652" y="6020"/>
                      </a:lnTo>
                      <a:lnTo>
                        <a:pt x="12404" y="6082"/>
                      </a:lnTo>
                      <a:lnTo>
                        <a:pt x="12036" y="6264"/>
                      </a:lnTo>
                      <a:lnTo>
                        <a:pt x="11764" y="6336"/>
                      </a:lnTo>
                      <a:lnTo>
                        <a:pt x="11211" y="6574"/>
                      </a:lnTo>
                      <a:lnTo>
                        <a:pt x="10929" y="6593"/>
                      </a:lnTo>
                      <a:lnTo>
                        <a:pt x="10470" y="6679"/>
                      </a:lnTo>
                      <a:lnTo>
                        <a:pt x="9988" y="6908"/>
                      </a:lnTo>
                      <a:lnTo>
                        <a:pt x="9740" y="7051"/>
                      </a:lnTo>
                      <a:lnTo>
                        <a:pt x="9645" y="7262"/>
                      </a:lnTo>
                      <a:lnTo>
                        <a:pt x="9521" y="7448"/>
                      </a:lnTo>
                      <a:lnTo>
                        <a:pt x="9205" y="7739"/>
                      </a:lnTo>
                      <a:lnTo>
                        <a:pt x="9072" y="7825"/>
                      </a:lnTo>
                      <a:lnTo>
                        <a:pt x="9020" y="7897"/>
                      </a:lnTo>
                      <a:lnTo>
                        <a:pt x="8905" y="7936"/>
                      </a:lnTo>
                      <a:lnTo>
                        <a:pt x="8198" y="7906"/>
                      </a:lnTo>
                      <a:lnTo>
                        <a:pt x="7845" y="7951"/>
                      </a:lnTo>
                      <a:lnTo>
                        <a:pt x="7539" y="8146"/>
                      </a:lnTo>
                      <a:lnTo>
                        <a:pt x="7391" y="8347"/>
                      </a:lnTo>
                      <a:lnTo>
                        <a:pt x="6962" y="8585"/>
                      </a:lnTo>
                      <a:lnTo>
                        <a:pt x="6784" y="8623"/>
                      </a:lnTo>
                      <a:lnTo>
                        <a:pt x="6259" y="8776"/>
                      </a:lnTo>
                      <a:lnTo>
                        <a:pt x="5978" y="8801"/>
                      </a:lnTo>
                      <a:lnTo>
                        <a:pt x="5672" y="8733"/>
                      </a:lnTo>
                      <a:lnTo>
                        <a:pt x="5353" y="8786"/>
                      </a:lnTo>
                      <a:lnTo>
                        <a:pt x="5109" y="8762"/>
                      </a:lnTo>
                      <a:lnTo>
                        <a:pt x="4779" y="8801"/>
                      </a:lnTo>
                      <a:lnTo>
                        <a:pt x="4497" y="8977"/>
                      </a:lnTo>
                      <a:lnTo>
                        <a:pt x="4292" y="9321"/>
                      </a:lnTo>
                      <a:lnTo>
                        <a:pt x="3686" y="9598"/>
                      </a:lnTo>
                      <a:lnTo>
                        <a:pt x="3405" y="9771"/>
                      </a:lnTo>
                      <a:lnTo>
                        <a:pt x="2769" y="9785"/>
                      </a:lnTo>
                      <a:lnTo>
                        <a:pt x="2368" y="9909"/>
                      </a:lnTo>
                      <a:lnTo>
                        <a:pt x="2149" y="9890"/>
                      </a:lnTo>
                      <a:lnTo>
                        <a:pt x="1934" y="9942"/>
                      </a:lnTo>
                      <a:lnTo>
                        <a:pt x="1652" y="9818"/>
                      </a:lnTo>
                      <a:lnTo>
                        <a:pt x="1309" y="9832"/>
                      </a:lnTo>
                      <a:lnTo>
                        <a:pt x="1180" y="9435"/>
                      </a:lnTo>
                      <a:lnTo>
                        <a:pt x="898" y="9087"/>
                      </a:lnTo>
                      <a:lnTo>
                        <a:pt x="898" y="8356"/>
                      </a:lnTo>
                      <a:lnTo>
                        <a:pt x="865" y="8108"/>
                      </a:lnTo>
                      <a:lnTo>
                        <a:pt x="716" y="7955"/>
                      </a:lnTo>
                      <a:lnTo>
                        <a:pt x="635" y="7758"/>
                      </a:lnTo>
                      <a:lnTo>
                        <a:pt x="535" y="7310"/>
                      </a:lnTo>
                      <a:lnTo>
                        <a:pt x="482" y="6794"/>
                      </a:lnTo>
                      <a:lnTo>
                        <a:pt x="401" y="6584"/>
                      </a:lnTo>
                      <a:lnTo>
                        <a:pt x="320" y="6450"/>
                      </a:lnTo>
                      <a:lnTo>
                        <a:pt x="320" y="6215"/>
                      </a:lnTo>
                      <a:lnTo>
                        <a:pt x="86" y="5886"/>
                      </a:lnTo>
                      <a:lnTo>
                        <a:pt x="0" y="5814"/>
                      </a:lnTo>
                      <a:lnTo>
                        <a:pt x="67" y="5752"/>
                      </a:lnTo>
                      <a:lnTo>
                        <a:pt x="134" y="5767"/>
                      </a:lnTo>
                      <a:lnTo>
                        <a:pt x="134" y="5666"/>
                      </a:lnTo>
                      <a:lnTo>
                        <a:pt x="86" y="5552"/>
                      </a:lnTo>
                      <a:lnTo>
                        <a:pt x="86" y="5303"/>
                      </a:lnTo>
                      <a:lnTo>
                        <a:pt x="34" y="5155"/>
                      </a:lnTo>
                      <a:lnTo>
                        <a:pt x="201" y="5007"/>
                      </a:lnTo>
                      <a:lnTo>
                        <a:pt x="234" y="4888"/>
                      </a:lnTo>
                      <a:lnTo>
                        <a:pt x="201" y="4438"/>
                      </a:lnTo>
                      <a:lnTo>
                        <a:pt x="153" y="4142"/>
                      </a:lnTo>
                      <a:lnTo>
                        <a:pt x="101" y="4075"/>
                      </a:lnTo>
                      <a:lnTo>
                        <a:pt x="710" y="3760"/>
                      </a:lnTo>
                      <a:lnTo>
                        <a:pt x="850" y="3308"/>
                      </a:lnTo>
                      <a:lnTo>
                        <a:pt x="853" y="3295"/>
                      </a:lnTo>
                      <a:lnTo>
                        <a:pt x="854" y="3283"/>
                      </a:lnTo>
                      <a:lnTo>
                        <a:pt x="854" y="3271"/>
                      </a:lnTo>
                      <a:lnTo>
                        <a:pt x="853" y="3258"/>
                      </a:lnTo>
                      <a:lnTo>
                        <a:pt x="850" y="3246"/>
                      </a:lnTo>
                      <a:lnTo>
                        <a:pt x="847" y="3234"/>
                      </a:lnTo>
                      <a:lnTo>
                        <a:pt x="843" y="3222"/>
                      </a:lnTo>
                      <a:lnTo>
                        <a:pt x="838" y="3209"/>
                      </a:lnTo>
                      <a:lnTo>
                        <a:pt x="825" y="3184"/>
                      </a:lnTo>
                      <a:lnTo>
                        <a:pt x="809" y="3159"/>
                      </a:lnTo>
                      <a:lnTo>
                        <a:pt x="793" y="3135"/>
                      </a:lnTo>
                      <a:lnTo>
                        <a:pt x="777" y="3110"/>
                      </a:lnTo>
                      <a:lnTo>
                        <a:pt x="761" y="3086"/>
                      </a:lnTo>
                      <a:lnTo>
                        <a:pt x="747" y="3061"/>
                      </a:lnTo>
                      <a:lnTo>
                        <a:pt x="741" y="3050"/>
                      </a:lnTo>
                      <a:lnTo>
                        <a:pt x="736" y="3038"/>
                      </a:lnTo>
                      <a:lnTo>
                        <a:pt x="731" y="3026"/>
                      </a:lnTo>
                      <a:lnTo>
                        <a:pt x="727" y="3014"/>
                      </a:lnTo>
                      <a:lnTo>
                        <a:pt x="724" y="3002"/>
                      </a:lnTo>
                      <a:lnTo>
                        <a:pt x="722" y="2991"/>
                      </a:lnTo>
                      <a:lnTo>
                        <a:pt x="722" y="2979"/>
                      </a:lnTo>
                      <a:lnTo>
                        <a:pt x="723" y="2967"/>
                      </a:lnTo>
                      <a:lnTo>
                        <a:pt x="725" y="2956"/>
                      </a:lnTo>
                      <a:lnTo>
                        <a:pt x="730" y="2945"/>
                      </a:lnTo>
                      <a:lnTo>
                        <a:pt x="735" y="2934"/>
                      </a:lnTo>
                      <a:lnTo>
                        <a:pt x="743" y="2922"/>
                      </a:lnTo>
                      <a:lnTo>
                        <a:pt x="1266" y="2241"/>
                      </a:lnTo>
                      <a:lnTo>
                        <a:pt x="1614" y="2657"/>
                      </a:lnTo>
                      <a:lnTo>
                        <a:pt x="2120" y="2602"/>
                      </a:lnTo>
                      <a:lnTo>
                        <a:pt x="3858" y="2689"/>
                      </a:lnTo>
                      <a:lnTo>
                        <a:pt x="4187" y="2967"/>
                      </a:lnTo>
                      <a:lnTo>
                        <a:pt x="6020" y="3083"/>
                      </a:lnTo>
                      <a:lnTo>
                        <a:pt x="6615" y="3737"/>
                      </a:lnTo>
                      <a:lnTo>
                        <a:pt x="6648" y="3723"/>
                      </a:lnTo>
                      <a:lnTo>
                        <a:pt x="6683" y="3710"/>
                      </a:lnTo>
                      <a:lnTo>
                        <a:pt x="6718" y="3700"/>
                      </a:lnTo>
                      <a:lnTo>
                        <a:pt x="6754" y="3690"/>
                      </a:lnTo>
                      <a:lnTo>
                        <a:pt x="6825" y="3671"/>
                      </a:lnTo>
                      <a:lnTo>
                        <a:pt x="6894" y="3652"/>
                      </a:lnTo>
                      <a:lnTo>
                        <a:pt x="6910" y="3648"/>
                      </a:lnTo>
                      <a:lnTo>
                        <a:pt x="6927" y="3642"/>
                      </a:lnTo>
                      <a:lnTo>
                        <a:pt x="6943" y="3637"/>
                      </a:lnTo>
                      <a:lnTo>
                        <a:pt x="6959" y="3630"/>
                      </a:lnTo>
                      <a:lnTo>
                        <a:pt x="6974" y="3624"/>
                      </a:lnTo>
                      <a:lnTo>
                        <a:pt x="6990" y="3616"/>
                      </a:lnTo>
                      <a:lnTo>
                        <a:pt x="7005" y="3609"/>
                      </a:lnTo>
                      <a:lnTo>
                        <a:pt x="7019" y="3600"/>
                      </a:lnTo>
                      <a:lnTo>
                        <a:pt x="7033" y="3591"/>
                      </a:lnTo>
                      <a:lnTo>
                        <a:pt x="7047" y="3582"/>
                      </a:lnTo>
                      <a:lnTo>
                        <a:pt x="7059" y="3571"/>
                      </a:lnTo>
                      <a:lnTo>
                        <a:pt x="7072" y="3559"/>
                      </a:lnTo>
                      <a:lnTo>
                        <a:pt x="7084" y="3547"/>
                      </a:lnTo>
                      <a:lnTo>
                        <a:pt x="7095" y="3534"/>
                      </a:lnTo>
                      <a:lnTo>
                        <a:pt x="7105" y="3519"/>
                      </a:lnTo>
                      <a:lnTo>
                        <a:pt x="7116" y="3504"/>
                      </a:lnTo>
                      <a:lnTo>
                        <a:pt x="8300" y="1543"/>
                      </a:lnTo>
                      <a:lnTo>
                        <a:pt x="9312" y="1068"/>
                      </a:lnTo>
                      <a:lnTo>
                        <a:pt x="9929" y="654"/>
                      </a:lnTo>
                      <a:lnTo>
                        <a:pt x="9962" y="638"/>
                      </a:lnTo>
                      <a:lnTo>
                        <a:pt x="10014" y="620"/>
                      </a:lnTo>
                      <a:lnTo>
                        <a:pt x="10082" y="602"/>
                      </a:lnTo>
                      <a:lnTo>
                        <a:pt x="10166" y="583"/>
                      </a:lnTo>
                      <a:lnTo>
                        <a:pt x="10264" y="564"/>
                      </a:lnTo>
                      <a:lnTo>
                        <a:pt x="10375" y="544"/>
                      </a:lnTo>
                      <a:lnTo>
                        <a:pt x="10498" y="524"/>
                      </a:lnTo>
                      <a:lnTo>
                        <a:pt x="10633" y="503"/>
                      </a:lnTo>
                      <a:lnTo>
                        <a:pt x="10777" y="483"/>
                      </a:lnTo>
                      <a:lnTo>
                        <a:pt x="10930" y="461"/>
                      </a:lnTo>
                      <a:lnTo>
                        <a:pt x="11090" y="440"/>
                      </a:lnTo>
                      <a:lnTo>
                        <a:pt x="11257" y="417"/>
                      </a:lnTo>
                      <a:lnTo>
                        <a:pt x="11603" y="373"/>
                      </a:lnTo>
                      <a:lnTo>
                        <a:pt x="11961" y="328"/>
                      </a:lnTo>
                      <a:lnTo>
                        <a:pt x="12321" y="284"/>
                      </a:lnTo>
                      <a:lnTo>
                        <a:pt x="12673" y="238"/>
                      </a:lnTo>
                      <a:lnTo>
                        <a:pt x="12844" y="217"/>
                      </a:lnTo>
                      <a:lnTo>
                        <a:pt x="13010" y="195"/>
                      </a:lnTo>
                      <a:lnTo>
                        <a:pt x="13168" y="174"/>
                      </a:lnTo>
                      <a:lnTo>
                        <a:pt x="13320" y="152"/>
                      </a:lnTo>
                      <a:lnTo>
                        <a:pt x="13462" y="131"/>
                      </a:lnTo>
                      <a:lnTo>
                        <a:pt x="13595" y="111"/>
                      </a:lnTo>
                      <a:lnTo>
                        <a:pt x="13716" y="91"/>
                      </a:lnTo>
                      <a:lnTo>
                        <a:pt x="13826" y="72"/>
                      </a:lnTo>
                      <a:lnTo>
                        <a:pt x="13921" y="53"/>
                      </a:lnTo>
                      <a:lnTo>
                        <a:pt x="14003" y="35"/>
                      </a:lnTo>
                      <a:lnTo>
                        <a:pt x="14069" y="17"/>
                      </a:lnTo>
                      <a:lnTo>
                        <a:pt x="14118" y="0"/>
                      </a:lnTo>
                      <a:lnTo>
                        <a:pt x="15675" y="3780"/>
                      </a:lnTo>
                    </a:path>
                  </a:pathLst>
                </a:custGeom>
                <a:grpFill/>
                <a:ln w="6350">
                  <a:solidFill>
                    <a:srgbClr val="77E2C3">
                      <a:lumMod val="40000"/>
                      <a:lumOff val="60000"/>
                    </a:srgb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77898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313C"/>
                    </a:solidFill>
                    <a:effectLst/>
                    <a:uLnTx/>
                    <a:uFillTx/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119" name="Freeform 82">
                <a:extLst>
                  <a:ext uri="{FF2B5EF4-FFF2-40B4-BE49-F238E27FC236}">
                    <a16:creationId xmlns:a16="http://schemas.microsoft.com/office/drawing/2014/main" id="{9293AD97-DBC3-CE66-B986-CF1551A9875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04" y="2214"/>
                <a:ext cx="3" cy="2"/>
              </a:xfrm>
              <a:custGeom>
                <a:avLst/>
                <a:gdLst>
                  <a:gd name="T0" fmla="*/ 0 w 16"/>
                  <a:gd name="T1" fmla="*/ 0 h 9"/>
                  <a:gd name="T2" fmla="*/ 0 w 16"/>
                  <a:gd name="T3" fmla="*/ 0 h 9"/>
                  <a:gd name="T4" fmla="*/ 0 w 16"/>
                  <a:gd name="T5" fmla="*/ 0 h 9"/>
                  <a:gd name="T6" fmla="*/ 0 w 16"/>
                  <a:gd name="T7" fmla="*/ 0 h 9"/>
                  <a:gd name="T8" fmla="*/ 1 w 16"/>
                  <a:gd name="T9" fmla="*/ 0 h 9"/>
                  <a:gd name="T10" fmla="*/ 1 w 16"/>
                  <a:gd name="T11" fmla="*/ 0 h 9"/>
                  <a:gd name="T12" fmla="*/ 0 w 16"/>
                  <a:gd name="T13" fmla="*/ 0 h 9"/>
                  <a:gd name="T14" fmla="*/ 0 w 16"/>
                  <a:gd name="T15" fmla="*/ 0 h 9"/>
                  <a:gd name="T16" fmla="*/ 0 w 16"/>
                  <a:gd name="T17" fmla="*/ 0 h 9"/>
                  <a:gd name="T18" fmla="*/ 0 w 16"/>
                  <a:gd name="T19" fmla="*/ 0 h 9"/>
                  <a:gd name="T20" fmla="*/ 0 w 16"/>
                  <a:gd name="T21" fmla="*/ 0 h 9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6"/>
                  <a:gd name="T34" fmla="*/ 0 h 9"/>
                  <a:gd name="T35" fmla="*/ 16 w 16"/>
                  <a:gd name="T36" fmla="*/ 9 h 9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6" h="9">
                    <a:moveTo>
                      <a:pt x="0" y="8"/>
                    </a:moveTo>
                    <a:lnTo>
                      <a:pt x="7" y="9"/>
                    </a:lnTo>
                    <a:lnTo>
                      <a:pt x="10" y="6"/>
                    </a:lnTo>
                    <a:lnTo>
                      <a:pt x="12" y="9"/>
                    </a:lnTo>
                    <a:lnTo>
                      <a:pt x="16" y="5"/>
                    </a:lnTo>
                    <a:lnTo>
                      <a:pt x="14" y="4"/>
                    </a:lnTo>
                    <a:lnTo>
                      <a:pt x="11" y="4"/>
                    </a:lnTo>
                    <a:lnTo>
                      <a:pt x="10" y="1"/>
                    </a:lnTo>
                    <a:lnTo>
                      <a:pt x="7" y="0"/>
                    </a:lnTo>
                    <a:lnTo>
                      <a:pt x="3" y="1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grpSp>
            <p:nvGrpSpPr>
              <p:cNvPr id="120" name="Group 83">
                <a:extLst>
                  <a:ext uri="{FF2B5EF4-FFF2-40B4-BE49-F238E27FC236}">
                    <a16:creationId xmlns:a16="http://schemas.microsoft.com/office/drawing/2014/main" id="{493E942A-00B3-BA51-A667-85697F29CDF8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086" y="2189"/>
                <a:ext cx="85" cy="114"/>
                <a:chOff x="3086" y="2189"/>
                <a:chExt cx="85" cy="114"/>
              </a:xfrm>
              <a:grpFill/>
            </p:grpSpPr>
            <p:sp>
              <p:nvSpPr>
                <p:cNvPr id="134" name="Freeform 84">
                  <a:extLst>
                    <a:ext uri="{FF2B5EF4-FFF2-40B4-BE49-F238E27FC236}">
                      <a16:creationId xmlns:a16="http://schemas.microsoft.com/office/drawing/2014/main" id="{EDC1B9C4-D63D-76CC-5322-DD535F238F8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130" y="2189"/>
                  <a:ext cx="4" cy="8"/>
                </a:xfrm>
                <a:custGeom>
                  <a:avLst/>
                  <a:gdLst>
                    <a:gd name="T0" fmla="*/ 0 w 19"/>
                    <a:gd name="T1" fmla="*/ 1 h 40"/>
                    <a:gd name="T2" fmla="*/ 0 w 19"/>
                    <a:gd name="T3" fmla="*/ 1 h 40"/>
                    <a:gd name="T4" fmla="*/ 0 w 19"/>
                    <a:gd name="T5" fmla="*/ 1 h 40"/>
                    <a:gd name="T6" fmla="*/ 0 w 19"/>
                    <a:gd name="T7" fmla="*/ 1 h 40"/>
                    <a:gd name="T8" fmla="*/ 0 w 19"/>
                    <a:gd name="T9" fmla="*/ 1 h 40"/>
                    <a:gd name="T10" fmla="*/ 0 w 19"/>
                    <a:gd name="T11" fmla="*/ 1 h 40"/>
                    <a:gd name="T12" fmla="*/ 0 w 19"/>
                    <a:gd name="T13" fmla="*/ 1 h 40"/>
                    <a:gd name="T14" fmla="*/ 0 w 19"/>
                    <a:gd name="T15" fmla="*/ 2 h 40"/>
                    <a:gd name="T16" fmla="*/ 1 w 19"/>
                    <a:gd name="T17" fmla="*/ 1 h 40"/>
                    <a:gd name="T18" fmla="*/ 1 w 19"/>
                    <a:gd name="T19" fmla="*/ 1 h 40"/>
                    <a:gd name="T20" fmla="*/ 1 w 19"/>
                    <a:gd name="T21" fmla="*/ 1 h 40"/>
                    <a:gd name="T22" fmla="*/ 1 w 19"/>
                    <a:gd name="T23" fmla="*/ 1 h 40"/>
                    <a:gd name="T24" fmla="*/ 1 w 19"/>
                    <a:gd name="T25" fmla="*/ 0 h 40"/>
                    <a:gd name="T26" fmla="*/ 1 w 19"/>
                    <a:gd name="T27" fmla="*/ 0 h 40"/>
                    <a:gd name="T28" fmla="*/ 1 w 19"/>
                    <a:gd name="T29" fmla="*/ 0 h 40"/>
                    <a:gd name="T30" fmla="*/ 1 w 19"/>
                    <a:gd name="T31" fmla="*/ 0 h 40"/>
                    <a:gd name="T32" fmla="*/ 0 w 19"/>
                    <a:gd name="T33" fmla="*/ 0 h 40"/>
                    <a:gd name="T34" fmla="*/ 0 w 19"/>
                    <a:gd name="T35" fmla="*/ 0 h 40"/>
                    <a:gd name="T36" fmla="*/ 0 w 19"/>
                    <a:gd name="T37" fmla="*/ 1 h 40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9"/>
                    <a:gd name="T58" fmla="*/ 0 h 40"/>
                    <a:gd name="T59" fmla="*/ 19 w 19"/>
                    <a:gd name="T60" fmla="*/ 40 h 40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9" h="40">
                      <a:moveTo>
                        <a:pt x="0" y="15"/>
                      </a:moveTo>
                      <a:lnTo>
                        <a:pt x="1" y="19"/>
                      </a:lnTo>
                      <a:lnTo>
                        <a:pt x="3" y="25"/>
                      </a:lnTo>
                      <a:lnTo>
                        <a:pt x="2" y="27"/>
                      </a:lnTo>
                      <a:lnTo>
                        <a:pt x="3" y="31"/>
                      </a:lnTo>
                      <a:lnTo>
                        <a:pt x="1" y="36"/>
                      </a:lnTo>
                      <a:lnTo>
                        <a:pt x="3" y="37"/>
                      </a:lnTo>
                      <a:lnTo>
                        <a:pt x="11" y="40"/>
                      </a:lnTo>
                      <a:lnTo>
                        <a:pt x="12" y="36"/>
                      </a:lnTo>
                      <a:lnTo>
                        <a:pt x="17" y="27"/>
                      </a:lnTo>
                      <a:lnTo>
                        <a:pt x="17" y="18"/>
                      </a:lnTo>
                      <a:lnTo>
                        <a:pt x="15" y="15"/>
                      </a:lnTo>
                      <a:lnTo>
                        <a:pt x="15" y="11"/>
                      </a:lnTo>
                      <a:lnTo>
                        <a:pt x="18" y="9"/>
                      </a:lnTo>
                      <a:lnTo>
                        <a:pt x="19" y="4"/>
                      </a:lnTo>
                      <a:lnTo>
                        <a:pt x="15" y="0"/>
                      </a:lnTo>
                      <a:lnTo>
                        <a:pt x="9" y="4"/>
                      </a:lnTo>
                      <a:lnTo>
                        <a:pt x="7" y="4"/>
                      </a:lnTo>
                      <a:lnTo>
                        <a:pt x="0" y="15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rgbClr val="77E2C3">
                      <a:lumMod val="40000"/>
                      <a:lumOff val="6000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77898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313C"/>
                    </a:solidFill>
                    <a:effectLst/>
                    <a:uLnTx/>
                    <a:uFillTx/>
                    <a:latin typeface="Arial"/>
                    <a:cs typeface="+mn-cs"/>
                  </a:endParaRPr>
                </a:p>
              </p:txBody>
            </p:sp>
            <p:sp>
              <p:nvSpPr>
                <p:cNvPr id="135" name="Freeform 85">
                  <a:extLst>
                    <a:ext uri="{FF2B5EF4-FFF2-40B4-BE49-F238E27FC236}">
                      <a16:creationId xmlns:a16="http://schemas.microsoft.com/office/drawing/2014/main" id="{23EFECF7-DBC9-432C-73ED-5663CDA3FB4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086" y="2207"/>
                  <a:ext cx="85" cy="96"/>
                </a:xfrm>
                <a:custGeom>
                  <a:avLst/>
                  <a:gdLst>
                    <a:gd name="T0" fmla="*/ 8 w 427"/>
                    <a:gd name="T1" fmla="*/ 0 h 482"/>
                    <a:gd name="T2" fmla="*/ 7 w 427"/>
                    <a:gd name="T3" fmla="*/ 2 h 482"/>
                    <a:gd name="T4" fmla="*/ 8 w 427"/>
                    <a:gd name="T5" fmla="*/ 7 h 482"/>
                    <a:gd name="T6" fmla="*/ 0 w 427"/>
                    <a:gd name="T7" fmla="*/ 14 h 482"/>
                    <a:gd name="T8" fmla="*/ 3 w 427"/>
                    <a:gd name="T9" fmla="*/ 19 h 482"/>
                    <a:gd name="T10" fmla="*/ 4 w 427"/>
                    <a:gd name="T11" fmla="*/ 19 h 482"/>
                    <a:gd name="T12" fmla="*/ 5 w 427"/>
                    <a:gd name="T13" fmla="*/ 18 h 482"/>
                    <a:gd name="T14" fmla="*/ 6 w 427"/>
                    <a:gd name="T15" fmla="*/ 18 h 482"/>
                    <a:gd name="T16" fmla="*/ 7 w 427"/>
                    <a:gd name="T17" fmla="*/ 18 h 482"/>
                    <a:gd name="T18" fmla="*/ 7 w 427"/>
                    <a:gd name="T19" fmla="*/ 18 h 482"/>
                    <a:gd name="T20" fmla="*/ 7 w 427"/>
                    <a:gd name="T21" fmla="*/ 17 h 482"/>
                    <a:gd name="T22" fmla="*/ 7 w 427"/>
                    <a:gd name="T23" fmla="*/ 17 h 482"/>
                    <a:gd name="T24" fmla="*/ 9 w 427"/>
                    <a:gd name="T25" fmla="*/ 16 h 482"/>
                    <a:gd name="T26" fmla="*/ 10 w 427"/>
                    <a:gd name="T27" fmla="*/ 16 h 482"/>
                    <a:gd name="T28" fmla="*/ 10 w 427"/>
                    <a:gd name="T29" fmla="*/ 15 h 482"/>
                    <a:gd name="T30" fmla="*/ 10 w 427"/>
                    <a:gd name="T31" fmla="*/ 14 h 482"/>
                    <a:gd name="T32" fmla="*/ 11 w 427"/>
                    <a:gd name="T33" fmla="*/ 14 h 482"/>
                    <a:gd name="T34" fmla="*/ 12 w 427"/>
                    <a:gd name="T35" fmla="*/ 14 h 482"/>
                    <a:gd name="T36" fmla="*/ 12 w 427"/>
                    <a:gd name="T37" fmla="*/ 14 h 482"/>
                    <a:gd name="T38" fmla="*/ 13 w 427"/>
                    <a:gd name="T39" fmla="*/ 13 h 482"/>
                    <a:gd name="T40" fmla="*/ 13 w 427"/>
                    <a:gd name="T41" fmla="*/ 13 h 482"/>
                    <a:gd name="T42" fmla="*/ 12 w 427"/>
                    <a:gd name="T43" fmla="*/ 12 h 482"/>
                    <a:gd name="T44" fmla="*/ 13 w 427"/>
                    <a:gd name="T45" fmla="*/ 11 h 482"/>
                    <a:gd name="T46" fmla="*/ 13 w 427"/>
                    <a:gd name="T47" fmla="*/ 10 h 482"/>
                    <a:gd name="T48" fmla="*/ 14 w 427"/>
                    <a:gd name="T49" fmla="*/ 10 h 482"/>
                    <a:gd name="T50" fmla="*/ 14 w 427"/>
                    <a:gd name="T51" fmla="*/ 10 h 482"/>
                    <a:gd name="T52" fmla="*/ 14 w 427"/>
                    <a:gd name="T53" fmla="*/ 10 h 482"/>
                    <a:gd name="T54" fmla="*/ 15 w 427"/>
                    <a:gd name="T55" fmla="*/ 10 h 482"/>
                    <a:gd name="T56" fmla="*/ 15 w 427"/>
                    <a:gd name="T57" fmla="*/ 9 h 482"/>
                    <a:gd name="T58" fmla="*/ 17 w 427"/>
                    <a:gd name="T59" fmla="*/ 7 h 482"/>
                    <a:gd name="T60" fmla="*/ 17 w 427"/>
                    <a:gd name="T61" fmla="*/ 6 h 482"/>
                    <a:gd name="T62" fmla="*/ 17 w 427"/>
                    <a:gd name="T63" fmla="*/ 6 h 482"/>
                    <a:gd name="T64" fmla="*/ 17 w 427"/>
                    <a:gd name="T65" fmla="*/ 5 h 482"/>
                    <a:gd name="T66" fmla="*/ 16 w 427"/>
                    <a:gd name="T67" fmla="*/ 5 h 482"/>
                    <a:gd name="T68" fmla="*/ 16 w 427"/>
                    <a:gd name="T69" fmla="*/ 4 h 482"/>
                    <a:gd name="T70" fmla="*/ 15 w 427"/>
                    <a:gd name="T71" fmla="*/ 4 h 482"/>
                    <a:gd name="T72" fmla="*/ 15 w 427"/>
                    <a:gd name="T73" fmla="*/ 4 h 482"/>
                    <a:gd name="T74" fmla="*/ 15 w 427"/>
                    <a:gd name="T75" fmla="*/ 3 h 482"/>
                    <a:gd name="T76" fmla="*/ 14 w 427"/>
                    <a:gd name="T77" fmla="*/ 3 h 482"/>
                    <a:gd name="T78" fmla="*/ 13 w 427"/>
                    <a:gd name="T79" fmla="*/ 3 h 482"/>
                    <a:gd name="T80" fmla="*/ 11 w 427"/>
                    <a:gd name="T81" fmla="*/ 2 h 482"/>
                    <a:gd name="T82" fmla="*/ 11 w 427"/>
                    <a:gd name="T83" fmla="*/ 2 h 482"/>
                    <a:gd name="T84" fmla="*/ 10 w 427"/>
                    <a:gd name="T85" fmla="*/ 1 h 482"/>
                    <a:gd name="T86" fmla="*/ 10 w 427"/>
                    <a:gd name="T87" fmla="*/ 0 h 482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427"/>
                    <a:gd name="T133" fmla="*/ 0 h 482"/>
                    <a:gd name="T134" fmla="*/ 427 w 427"/>
                    <a:gd name="T135" fmla="*/ 482 h 482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427" h="482">
                      <a:moveTo>
                        <a:pt x="236" y="0"/>
                      </a:moveTo>
                      <a:lnTo>
                        <a:pt x="203" y="0"/>
                      </a:lnTo>
                      <a:lnTo>
                        <a:pt x="220" y="46"/>
                      </a:lnTo>
                      <a:lnTo>
                        <a:pt x="187" y="59"/>
                      </a:lnTo>
                      <a:lnTo>
                        <a:pt x="176" y="130"/>
                      </a:lnTo>
                      <a:lnTo>
                        <a:pt x="203" y="170"/>
                      </a:lnTo>
                      <a:lnTo>
                        <a:pt x="165" y="287"/>
                      </a:lnTo>
                      <a:lnTo>
                        <a:pt x="0" y="345"/>
                      </a:lnTo>
                      <a:lnTo>
                        <a:pt x="57" y="482"/>
                      </a:lnTo>
                      <a:lnTo>
                        <a:pt x="83" y="474"/>
                      </a:lnTo>
                      <a:lnTo>
                        <a:pt x="94" y="473"/>
                      </a:lnTo>
                      <a:lnTo>
                        <a:pt x="107" y="466"/>
                      </a:lnTo>
                      <a:lnTo>
                        <a:pt x="117" y="460"/>
                      </a:lnTo>
                      <a:lnTo>
                        <a:pt x="137" y="459"/>
                      </a:lnTo>
                      <a:lnTo>
                        <a:pt x="150" y="461"/>
                      </a:lnTo>
                      <a:lnTo>
                        <a:pt x="154" y="464"/>
                      </a:lnTo>
                      <a:lnTo>
                        <a:pt x="161" y="464"/>
                      </a:lnTo>
                      <a:lnTo>
                        <a:pt x="165" y="460"/>
                      </a:lnTo>
                      <a:lnTo>
                        <a:pt x="172" y="455"/>
                      </a:lnTo>
                      <a:lnTo>
                        <a:pt x="179" y="447"/>
                      </a:lnTo>
                      <a:lnTo>
                        <a:pt x="180" y="443"/>
                      </a:lnTo>
                      <a:lnTo>
                        <a:pt x="180" y="436"/>
                      </a:lnTo>
                      <a:lnTo>
                        <a:pt x="180" y="430"/>
                      </a:lnTo>
                      <a:lnTo>
                        <a:pt x="186" y="425"/>
                      </a:lnTo>
                      <a:lnTo>
                        <a:pt x="194" y="414"/>
                      </a:lnTo>
                      <a:lnTo>
                        <a:pt x="224" y="407"/>
                      </a:lnTo>
                      <a:lnTo>
                        <a:pt x="234" y="407"/>
                      </a:lnTo>
                      <a:lnTo>
                        <a:pt x="241" y="404"/>
                      </a:lnTo>
                      <a:lnTo>
                        <a:pt x="250" y="394"/>
                      </a:lnTo>
                      <a:lnTo>
                        <a:pt x="253" y="382"/>
                      </a:lnTo>
                      <a:lnTo>
                        <a:pt x="256" y="371"/>
                      </a:lnTo>
                      <a:lnTo>
                        <a:pt x="262" y="361"/>
                      </a:lnTo>
                      <a:lnTo>
                        <a:pt x="269" y="355"/>
                      </a:lnTo>
                      <a:lnTo>
                        <a:pt x="278" y="352"/>
                      </a:lnTo>
                      <a:lnTo>
                        <a:pt x="282" y="347"/>
                      </a:lnTo>
                      <a:lnTo>
                        <a:pt x="289" y="348"/>
                      </a:lnTo>
                      <a:lnTo>
                        <a:pt x="301" y="346"/>
                      </a:lnTo>
                      <a:lnTo>
                        <a:pt x="309" y="346"/>
                      </a:lnTo>
                      <a:lnTo>
                        <a:pt x="316" y="342"/>
                      </a:lnTo>
                      <a:lnTo>
                        <a:pt x="319" y="337"/>
                      </a:lnTo>
                      <a:lnTo>
                        <a:pt x="316" y="328"/>
                      </a:lnTo>
                      <a:lnTo>
                        <a:pt x="314" y="325"/>
                      </a:lnTo>
                      <a:lnTo>
                        <a:pt x="312" y="312"/>
                      </a:lnTo>
                      <a:lnTo>
                        <a:pt x="312" y="303"/>
                      </a:lnTo>
                      <a:lnTo>
                        <a:pt x="315" y="293"/>
                      </a:lnTo>
                      <a:lnTo>
                        <a:pt x="314" y="285"/>
                      </a:lnTo>
                      <a:lnTo>
                        <a:pt x="327" y="265"/>
                      </a:lnTo>
                      <a:lnTo>
                        <a:pt x="335" y="256"/>
                      </a:lnTo>
                      <a:lnTo>
                        <a:pt x="339" y="253"/>
                      </a:lnTo>
                      <a:lnTo>
                        <a:pt x="342" y="255"/>
                      </a:lnTo>
                      <a:lnTo>
                        <a:pt x="344" y="260"/>
                      </a:lnTo>
                      <a:lnTo>
                        <a:pt x="347" y="262"/>
                      </a:lnTo>
                      <a:lnTo>
                        <a:pt x="353" y="264"/>
                      </a:lnTo>
                      <a:lnTo>
                        <a:pt x="355" y="261"/>
                      </a:lnTo>
                      <a:lnTo>
                        <a:pt x="365" y="244"/>
                      </a:lnTo>
                      <a:lnTo>
                        <a:pt x="369" y="239"/>
                      </a:lnTo>
                      <a:lnTo>
                        <a:pt x="376" y="224"/>
                      </a:lnTo>
                      <a:lnTo>
                        <a:pt x="382" y="216"/>
                      </a:lnTo>
                      <a:lnTo>
                        <a:pt x="396" y="206"/>
                      </a:lnTo>
                      <a:lnTo>
                        <a:pt x="416" y="178"/>
                      </a:lnTo>
                      <a:lnTo>
                        <a:pt x="421" y="167"/>
                      </a:lnTo>
                      <a:lnTo>
                        <a:pt x="422" y="161"/>
                      </a:lnTo>
                      <a:lnTo>
                        <a:pt x="427" y="147"/>
                      </a:lnTo>
                      <a:lnTo>
                        <a:pt x="427" y="143"/>
                      </a:lnTo>
                      <a:lnTo>
                        <a:pt x="423" y="140"/>
                      </a:lnTo>
                      <a:lnTo>
                        <a:pt x="419" y="137"/>
                      </a:lnTo>
                      <a:lnTo>
                        <a:pt x="418" y="134"/>
                      </a:lnTo>
                      <a:lnTo>
                        <a:pt x="406" y="131"/>
                      </a:lnTo>
                      <a:lnTo>
                        <a:pt x="396" y="124"/>
                      </a:lnTo>
                      <a:lnTo>
                        <a:pt x="391" y="111"/>
                      </a:lnTo>
                      <a:lnTo>
                        <a:pt x="386" y="108"/>
                      </a:lnTo>
                      <a:lnTo>
                        <a:pt x="382" y="103"/>
                      </a:lnTo>
                      <a:lnTo>
                        <a:pt x="381" y="98"/>
                      </a:lnTo>
                      <a:lnTo>
                        <a:pt x="375" y="92"/>
                      </a:lnTo>
                      <a:lnTo>
                        <a:pt x="373" y="88"/>
                      </a:lnTo>
                      <a:lnTo>
                        <a:pt x="366" y="79"/>
                      </a:lnTo>
                      <a:lnTo>
                        <a:pt x="354" y="73"/>
                      </a:lnTo>
                      <a:lnTo>
                        <a:pt x="347" y="73"/>
                      </a:lnTo>
                      <a:lnTo>
                        <a:pt x="332" y="66"/>
                      </a:lnTo>
                      <a:lnTo>
                        <a:pt x="315" y="63"/>
                      </a:lnTo>
                      <a:lnTo>
                        <a:pt x="309" y="61"/>
                      </a:lnTo>
                      <a:lnTo>
                        <a:pt x="285" y="51"/>
                      </a:lnTo>
                      <a:lnTo>
                        <a:pt x="274" y="43"/>
                      </a:lnTo>
                      <a:lnTo>
                        <a:pt x="266" y="40"/>
                      </a:lnTo>
                      <a:lnTo>
                        <a:pt x="260" y="30"/>
                      </a:lnTo>
                      <a:lnTo>
                        <a:pt x="252" y="23"/>
                      </a:lnTo>
                      <a:lnTo>
                        <a:pt x="250" y="19"/>
                      </a:lnTo>
                      <a:lnTo>
                        <a:pt x="241" y="12"/>
                      </a:lnTo>
                      <a:lnTo>
                        <a:pt x="236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rgbClr val="77E2C3">
                      <a:lumMod val="40000"/>
                      <a:lumOff val="6000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77898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313C"/>
                    </a:solidFill>
                    <a:effectLst/>
                    <a:uLnTx/>
                    <a:uFillTx/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121" name="Freeform 86">
                <a:extLst>
                  <a:ext uri="{FF2B5EF4-FFF2-40B4-BE49-F238E27FC236}">
                    <a16:creationId xmlns:a16="http://schemas.microsoft.com/office/drawing/2014/main" id="{AF41FDA3-A493-3C3A-2BE4-ACC03CA88E3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69" y="2190"/>
                <a:ext cx="1" cy="3"/>
              </a:xfrm>
              <a:custGeom>
                <a:avLst/>
                <a:gdLst>
                  <a:gd name="T0" fmla="*/ 0 w 8"/>
                  <a:gd name="T1" fmla="*/ 0 h 19"/>
                  <a:gd name="T2" fmla="*/ 0 w 8"/>
                  <a:gd name="T3" fmla="*/ 0 h 19"/>
                  <a:gd name="T4" fmla="*/ 0 w 8"/>
                  <a:gd name="T5" fmla="*/ 0 h 19"/>
                  <a:gd name="T6" fmla="*/ 0 w 8"/>
                  <a:gd name="T7" fmla="*/ 0 h 19"/>
                  <a:gd name="T8" fmla="*/ 0 w 8"/>
                  <a:gd name="T9" fmla="*/ 0 h 19"/>
                  <a:gd name="T10" fmla="*/ 0 w 8"/>
                  <a:gd name="T11" fmla="*/ 0 h 1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19"/>
                  <a:gd name="T20" fmla="*/ 8 w 8"/>
                  <a:gd name="T21" fmla="*/ 19 h 1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19">
                    <a:moveTo>
                      <a:pt x="8" y="3"/>
                    </a:moveTo>
                    <a:lnTo>
                      <a:pt x="0" y="0"/>
                    </a:lnTo>
                    <a:lnTo>
                      <a:pt x="0" y="11"/>
                    </a:lnTo>
                    <a:lnTo>
                      <a:pt x="3" y="19"/>
                    </a:lnTo>
                    <a:lnTo>
                      <a:pt x="8" y="17"/>
                    </a:lnTo>
                    <a:lnTo>
                      <a:pt x="8" y="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grpSp>
            <p:nvGrpSpPr>
              <p:cNvPr id="122" name="Group 87">
                <a:extLst>
                  <a:ext uri="{FF2B5EF4-FFF2-40B4-BE49-F238E27FC236}">
                    <a16:creationId xmlns:a16="http://schemas.microsoft.com/office/drawing/2014/main" id="{2D6ACE3A-DC18-2DC3-7C9A-22A1509F3F6F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000" y="2012"/>
                <a:ext cx="210" cy="192"/>
                <a:chOff x="3000" y="2012"/>
                <a:chExt cx="210" cy="192"/>
              </a:xfrm>
              <a:grpFill/>
            </p:grpSpPr>
            <p:sp>
              <p:nvSpPr>
                <p:cNvPr id="132" name="Freeform 88">
                  <a:extLst>
                    <a:ext uri="{FF2B5EF4-FFF2-40B4-BE49-F238E27FC236}">
                      <a16:creationId xmlns:a16="http://schemas.microsoft.com/office/drawing/2014/main" id="{B13AD8A6-FD51-FC54-EA72-7DFBF1C839B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122" y="2182"/>
                  <a:ext cx="10" cy="5"/>
                </a:xfrm>
                <a:custGeom>
                  <a:avLst/>
                  <a:gdLst>
                    <a:gd name="T0" fmla="*/ 2 w 50"/>
                    <a:gd name="T1" fmla="*/ 0 h 26"/>
                    <a:gd name="T2" fmla="*/ 2 w 50"/>
                    <a:gd name="T3" fmla="*/ 0 h 26"/>
                    <a:gd name="T4" fmla="*/ 1 w 50"/>
                    <a:gd name="T5" fmla="*/ 0 h 26"/>
                    <a:gd name="T6" fmla="*/ 1 w 50"/>
                    <a:gd name="T7" fmla="*/ 0 h 26"/>
                    <a:gd name="T8" fmla="*/ 0 w 50"/>
                    <a:gd name="T9" fmla="*/ 1 h 26"/>
                    <a:gd name="T10" fmla="*/ 0 w 50"/>
                    <a:gd name="T11" fmla="*/ 1 h 26"/>
                    <a:gd name="T12" fmla="*/ 0 w 50"/>
                    <a:gd name="T13" fmla="*/ 1 h 26"/>
                    <a:gd name="T14" fmla="*/ 1 w 50"/>
                    <a:gd name="T15" fmla="*/ 1 h 26"/>
                    <a:gd name="T16" fmla="*/ 2 w 50"/>
                    <a:gd name="T17" fmla="*/ 0 h 2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0"/>
                    <a:gd name="T28" fmla="*/ 0 h 26"/>
                    <a:gd name="T29" fmla="*/ 50 w 50"/>
                    <a:gd name="T30" fmla="*/ 26 h 2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0" h="26">
                      <a:moveTo>
                        <a:pt x="50" y="2"/>
                      </a:moveTo>
                      <a:lnTo>
                        <a:pt x="45" y="0"/>
                      </a:lnTo>
                      <a:lnTo>
                        <a:pt x="27" y="2"/>
                      </a:lnTo>
                      <a:lnTo>
                        <a:pt x="23" y="10"/>
                      </a:lnTo>
                      <a:lnTo>
                        <a:pt x="12" y="18"/>
                      </a:lnTo>
                      <a:lnTo>
                        <a:pt x="0" y="22"/>
                      </a:lnTo>
                      <a:lnTo>
                        <a:pt x="1" y="26"/>
                      </a:lnTo>
                      <a:lnTo>
                        <a:pt x="27" y="19"/>
                      </a:lnTo>
                      <a:lnTo>
                        <a:pt x="50" y="2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rgbClr val="77E2C3">
                      <a:lumMod val="40000"/>
                      <a:lumOff val="6000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77898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313C"/>
                    </a:solidFill>
                    <a:effectLst/>
                    <a:uLnTx/>
                    <a:uFillTx/>
                    <a:latin typeface="Arial"/>
                    <a:cs typeface="+mn-cs"/>
                  </a:endParaRPr>
                </a:p>
              </p:txBody>
            </p:sp>
            <p:sp>
              <p:nvSpPr>
                <p:cNvPr id="133" name="Freeform 89">
                  <a:extLst>
                    <a:ext uri="{FF2B5EF4-FFF2-40B4-BE49-F238E27FC236}">
                      <a16:creationId xmlns:a16="http://schemas.microsoft.com/office/drawing/2014/main" id="{C1A14A24-5ED9-05CE-ED83-5083D1B549D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000" y="2012"/>
                  <a:ext cx="210" cy="192"/>
                </a:xfrm>
                <a:custGeom>
                  <a:avLst/>
                  <a:gdLst>
                    <a:gd name="T0" fmla="*/ 37 w 1049"/>
                    <a:gd name="T1" fmla="*/ 38 h 961"/>
                    <a:gd name="T2" fmla="*/ 33 w 1049"/>
                    <a:gd name="T3" fmla="*/ 38 h 961"/>
                    <a:gd name="T4" fmla="*/ 32 w 1049"/>
                    <a:gd name="T5" fmla="*/ 37 h 961"/>
                    <a:gd name="T6" fmla="*/ 29 w 1049"/>
                    <a:gd name="T7" fmla="*/ 36 h 961"/>
                    <a:gd name="T8" fmla="*/ 27 w 1049"/>
                    <a:gd name="T9" fmla="*/ 34 h 961"/>
                    <a:gd name="T10" fmla="*/ 24 w 1049"/>
                    <a:gd name="T11" fmla="*/ 35 h 961"/>
                    <a:gd name="T12" fmla="*/ 22 w 1049"/>
                    <a:gd name="T13" fmla="*/ 35 h 961"/>
                    <a:gd name="T14" fmla="*/ 20 w 1049"/>
                    <a:gd name="T15" fmla="*/ 34 h 961"/>
                    <a:gd name="T16" fmla="*/ 18 w 1049"/>
                    <a:gd name="T17" fmla="*/ 33 h 961"/>
                    <a:gd name="T18" fmla="*/ 16 w 1049"/>
                    <a:gd name="T19" fmla="*/ 32 h 961"/>
                    <a:gd name="T20" fmla="*/ 14 w 1049"/>
                    <a:gd name="T21" fmla="*/ 28 h 961"/>
                    <a:gd name="T22" fmla="*/ 13 w 1049"/>
                    <a:gd name="T23" fmla="*/ 26 h 961"/>
                    <a:gd name="T24" fmla="*/ 12 w 1049"/>
                    <a:gd name="T25" fmla="*/ 26 h 961"/>
                    <a:gd name="T26" fmla="*/ 11 w 1049"/>
                    <a:gd name="T27" fmla="*/ 25 h 961"/>
                    <a:gd name="T28" fmla="*/ 10 w 1049"/>
                    <a:gd name="T29" fmla="*/ 26 h 961"/>
                    <a:gd name="T30" fmla="*/ 9 w 1049"/>
                    <a:gd name="T31" fmla="*/ 26 h 961"/>
                    <a:gd name="T32" fmla="*/ 8 w 1049"/>
                    <a:gd name="T33" fmla="*/ 24 h 961"/>
                    <a:gd name="T34" fmla="*/ 7 w 1049"/>
                    <a:gd name="T35" fmla="*/ 20 h 961"/>
                    <a:gd name="T36" fmla="*/ 4 w 1049"/>
                    <a:gd name="T37" fmla="*/ 19 h 961"/>
                    <a:gd name="T38" fmla="*/ 3 w 1049"/>
                    <a:gd name="T39" fmla="*/ 17 h 961"/>
                    <a:gd name="T40" fmla="*/ 3 w 1049"/>
                    <a:gd name="T41" fmla="*/ 16 h 961"/>
                    <a:gd name="T42" fmla="*/ 4 w 1049"/>
                    <a:gd name="T43" fmla="*/ 13 h 961"/>
                    <a:gd name="T44" fmla="*/ 4 w 1049"/>
                    <a:gd name="T45" fmla="*/ 11 h 961"/>
                    <a:gd name="T46" fmla="*/ 2 w 1049"/>
                    <a:gd name="T47" fmla="*/ 9 h 961"/>
                    <a:gd name="T48" fmla="*/ 0 w 1049"/>
                    <a:gd name="T49" fmla="*/ 5 h 961"/>
                    <a:gd name="T50" fmla="*/ 0 w 1049"/>
                    <a:gd name="T51" fmla="*/ 1 h 961"/>
                    <a:gd name="T52" fmla="*/ 2 w 1049"/>
                    <a:gd name="T53" fmla="*/ 1 h 961"/>
                    <a:gd name="T54" fmla="*/ 5 w 1049"/>
                    <a:gd name="T55" fmla="*/ 3 h 961"/>
                    <a:gd name="T56" fmla="*/ 7 w 1049"/>
                    <a:gd name="T57" fmla="*/ 1 h 961"/>
                    <a:gd name="T58" fmla="*/ 9 w 1049"/>
                    <a:gd name="T59" fmla="*/ 2 h 961"/>
                    <a:gd name="T60" fmla="*/ 9 w 1049"/>
                    <a:gd name="T61" fmla="*/ 3 h 961"/>
                    <a:gd name="T62" fmla="*/ 10 w 1049"/>
                    <a:gd name="T63" fmla="*/ 5 h 961"/>
                    <a:gd name="T64" fmla="*/ 12 w 1049"/>
                    <a:gd name="T65" fmla="*/ 7 h 961"/>
                    <a:gd name="T66" fmla="*/ 14 w 1049"/>
                    <a:gd name="T67" fmla="*/ 8 h 961"/>
                    <a:gd name="T68" fmla="*/ 20 w 1049"/>
                    <a:gd name="T69" fmla="*/ 8 h 961"/>
                    <a:gd name="T70" fmla="*/ 22 w 1049"/>
                    <a:gd name="T71" fmla="*/ 8 h 961"/>
                    <a:gd name="T72" fmla="*/ 24 w 1049"/>
                    <a:gd name="T73" fmla="*/ 5 h 961"/>
                    <a:gd name="T74" fmla="*/ 27 w 1049"/>
                    <a:gd name="T75" fmla="*/ 5 h 961"/>
                    <a:gd name="T76" fmla="*/ 29 w 1049"/>
                    <a:gd name="T77" fmla="*/ 5 h 961"/>
                    <a:gd name="T78" fmla="*/ 32 w 1049"/>
                    <a:gd name="T79" fmla="*/ 6 h 961"/>
                    <a:gd name="T80" fmla="*/ 34 w 1049"/>
                    <a:gd name="T81" fmla="*/ 7 h 961"/>
                    <a:gd name="T82" fmla="*/ 37 w 1049"/>
                    <a:gd name="T83" fmla="*/ 9 h 961"/>
                    <a:gd name="T84" fmla="*/ 37 w 1049"/>
                    <a:gd name="T85" fmla="*/ 13 h 961"/>
                    <a:gd name="T86" fmla="*/ 36 w 1049"/>
                    <a:gd name="T87" fmla="*/ 16 h 961"/>
                    <a:gd name="T88" fmla="*/ 36 w 1049"/>
                    <a:gd name="T89" fmla="*/ 19 h 961"/>
                    <a:gd name="T90" fmla="*/ 36 w 1049"/>
                    <a:gd name="T91" fmla="*/ 22 h 961"/>
                    <a:gd name="T92" fmla="*/ 38 w 1049"/>
                    <a:gd name="T93" fmla="*/ 23 h 961"/>
                    <a:gd name="T94" fmla="*/ 37 w 1049"/>
                    <a:gd name="T95" fmla="*/ 27 h 961"/>
                    <a:gd name="T96" fmla="*/ 39 w 1049"/>
                    <a:gd name="T97" fmla="*/ 30 h 961"/>
                    <a:gd name="T98" fmla="*/ 41 w 1049"/>
                    <a:gd name="T99" fmla="*/ 33 h 961"/>
                    <a:gd name="T100" fmla="*/ 41 w 1049"/>
                    <a:gd name="T101" fmla="*/ 35 h 961"/>
                    <a:gd name="T102" fmla="*/ 39 w 1049"/>
                    <a:gd name="T103" fmla="*/ 36 h 961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1049"/>
                    <a:gd name="T157" fmla="*/ 0 h 961"/>
                    <a:gd name="T158" fmla="*/ 1049 w 1049"/>
                    <a:gd name="T159" fmla="*/ 961 h 961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1049" h="961">
                      <a:moveTo>
                        <a:pt x="957" y="958"/>
                      </a:moveTo>
                      <a:lnTo>
                        <a:pt x="954" y="957"/>
                      </a:lnTo>
                      <a:lnTo>
                        <a:pt x="947" y="961"/>
                      </a:lnTo>
                      <a:lnTo>
                        <a:pt x="932" y="960"/>
                      </a:lnTo>
                      <a:lnTo>
                        <a:pt x="920" y="957"/>
                      </a:lnTo>
                      <a:lnTo>
                        <a:pt x="903" y="951"/>
                      </a:lnTo>
                      <a:lnTo>
                        <a:pt x="895" y="944"/>
                      </a:lnTo>
                      <a:lnTo>
                        <a:pt x="889" y="949"/>
                      </a:lnTo>
                      <a:lnTo>
                        <a:pt x="855" y="947"/>
                      </a:lnTo>
                      <a:lnTo>
                        <a:pt x="836" y="944"/>
                      </a:lnTo>
                      <a:lnTo>
                        <a:pt x="825" y="939"/>
                      </a:lnTo>
                      <a:lnTo>
                        <a:pt x="820" y="941"/>
                      </a:lnTo>
                      <a:lnTo>
                        <a:pt x="818" y="945"/>
                      </a:lnTo>
                      <a:lnTo>
                        <a:pt x="806" y="938"/>
                      </a:lnTo>
                      <a:lnTo>
                        <a:pt x="792" y="933"/>
                      </a:lnTo>
                      <a:lnTo>
                        <a:pt x="775" y="933"/>
                      </a:lnTo>
                      <a:lnTo>
                        <a:pt x="755" y="930"/>
                      </a:lnTo>
                      <a:lnTo>
                        <a:pt x="744" y="926"/>
                      </a:lnTo>
                      <a:lnTo>
                        <a:pt x="726" y="925"/>
                      </a:lnTo>
                      <a:lnTo>
                        <a:pt x="717" y="912"/>
                      </a:lnTo>
                      <a:lnTo>
                        <a:pt x="710" y="893"/>
                      </a:lnTo>
                      <a:lnTo>
                        <a:pt x="705" y="869"/>
                      </a:lnTo>
                      <a:lnTo>
                        <a:pt x="697" y="852"/>
                      </a:lnTo>
                      <a:lnTo>
                        <a:pt x="683" y="843"/>
                      </a:lnTo>
                      <a:lnTo>
                        <a:pt x="673" y="839"/>
                      </a:lnTo>
                      <a:lnTo>
                        <a:pt x="665" y="838"/>
                      </a:lnTo>
                      <a:lnTo>
                        <a:pt x="645" y="847"/>
                      </a:lnTo>
                      <a:lnTo>
                        <a:pt x="625" y="853"/>
                      </a:lnTo>
                      <a:lnTo>
                        <a:pt x="619" y="860"/>
                      </a:lnTo>
                      <a:lnTo>
                        <a:pt x="610" y="865"/>
                      </a:lnTo>
                      <a:lnTo>
                        <a:pt x="600" y="865"/>
                      </a:lnTo>
                      <a:lnTo>
                        <a:pt x="584" y="875"/>
                      </a:lnTo>
                      <a:lnTo>
                        <a:pt x="573" y="877"/>
                      </a:lnTo>
                      <a:lnTo>
                        <a:pt x="559" y="874"/>
                      </a:lnTo>
                      <a:lnTo>
                        <a:pt x="551" y="868"/>
                      </a:lnTo>
                      <a:lnTo>
                        <a:pt x="537" y="865"/>
                      </a:lnTo>
                      <a:lnTo>
                        <a:pt x="523" y="868"/>
                      </a:lnTo>
                      <a:lnTo>
                        <a:pt x="516" y="868"/>
                      </a:lnTo>
                      <a:lnTo>
                        <a:pt x="507" y="856"/>
                      </a:lnTo>
                      <a:lnTo>
                        <a:pt x="511" y="859"/>
                      </a:lnTo>
                      <a:lnTo>
                        <a:pt x="509" y="854"/>
                      </a:lnTo>
                      <a:lnTo>
                        <a:pt x="502" y="849"/>
                      </a:lnTo>
                      <a:lnTo>
                        <a:pt x="470" y="838"/>
                      </a:lnTo>
                      <a:lnTo>
                        <a:pt x="462" y="826"/>
                      </a:lnTo>
                      <a:lnTo>
                        <a:pt x="462" y="822"/>
                      </a:lnTo>
                      <a:lnTo>
                        <a:pt x="453" y="812"/>
                      </a:lnTo>
                      <a:lnTo>
                        <a:pt x="438" y="805"/>
                      </a:lnTo>
                      <a:lnTo>
                        <a:pt x="425" y="800"/>
                      </a:lnTo>
                      <a:lnTo>
                        <a:pt x="409" y="799"/>
                      </a:lnTo>
                      <a:lnTo>
                        <a:pt x="400" y="794"/>
                      </a:lnTo>
                      <a:lnTo>
                        <a:pt x="392" y="785"/>
                      </a:lnTo>
                      <a:lnTo>
                        <a:pt x="384" y="762"/>
                      </a:lnTo>
                      <a:lnTo>
                        <a:pt x="374" y="745"/>
                      </a:lnTo>
                      <a:lnTo>
                        <a:pt x="371" y="730"/>
                      </a:lnTo>
                      <a:lnTo>
                        <a:pt x="351" y="713"/>
                      </a:lnTo>
                      <a:lnTo>
                        <a:pt x="347" y="699"/>
                      </a:lnTo>
                      <a:lnTo>
                        <a:pt x="342" y="689"/>
                      </a:lnTo>
                      <a:lnTo>
                        <a:pt x="334" y="685"/>
                      </a:lnTo>
                      <a:lnTo>
                        <a:pt x="324" y="669"/>
                      </a:lnTo>
                      <a:lnTo>
                        <a:pt x="323" y="661"/>
                      </a:lnTo>
                      <a:lnTo>
                        <a:pt x="319" y="655"/>
                      </a:lnTo>
                      <a:lnTo>
                        <a:pt x="313" y="651"/>
                      </a:lnTo>
                      <a:lnTo>
                        <a:pt x="301" y="656"/>
                      </a:lnTo>
                      <a:lnTo>
                        <a:pt x="293" y="664"/>
                      </a:lnTo>
                      <a:lnTo>
                        <a:pt x="292" y="661"/>
                      </a:lnTo>
                      <a:lnTo>
                        <a:pt x="286" y="659"/>
                      </a:lnTo>
                      <a:lnTo>
                        <a:pt x="283" y="654"/>
                      </a:lnTo>
                      <a:lnTo>
                        <a:pt x="276" y="649"/>
                      </a:lnTo>
                      <a:lnTo>
                        <a:pt x="271" y="642"/>
                      </a:lnTo>
                      <a:lnTo>
                        <a:pt x="270" y="632"/>
                      </a:lnTo>
                      <a:lnTo>
                        <a:pt x="265" y="627"/>
                      </a:lnTo>
                      <a:lnTo>
                        <a:pt x="256" y="624"/>
                      </a:lnTo>
                      <a:lnTo>
                        <a:pt x="252" y="628"/>
                      </a:lnTo>
                      <a:lnTo>
                        <a:pt x="254" y="634"/>
                      </a:lnTo>
                      <a:lnTo>
                        <a:pt x="252" y="640"/>
                      </a:lnTo>
                      <a:lnTo>
                        <a:pt x="253" y="646"/>
                      </a:lnTo>
                      <a:lnTo>
                        <a:pt x="244" y="646"/>
                      </a:lnTo>
                      <a:lnTo>
                        <a:pt x="243" y="656"/>
                      </a:lnTo>
                      <a:lnTo>
                        <a:pt x="240" y="655"/>
                      </a:lnTo>
                      <a:lnTo>
                        <a:pt x="237" y="653"/>
                      </a:lnTo>
                      <a:lnTo>
                        <a:pt x="217" y="638"/>
                      </a:lnTo>
                      <a:lnTo>
                        <a:pt x="210" y="630"/>
                      </a:lnTo>
                      <a:lnTo>
                        <a:pt x="205" y="622"/>
                      </a:lnTo>
                      <a:lnTo>
                        <a:pt x="201" y="602"/>
                      </a:lnTo>
                      <a:lnTo>
                        <a:pt x="188" y="595"/>
                      </a:lnTo>
                      <a:lnTo>
                        <a:pt x="189" y="574"/>
                      </a:lnTo>
                      <a:lnTo>
                        <a:pt x="193" y="547"/>
                      </a:lnTo>
                      <a:lnTo>
                        <a:pt x="186" y="533"/>
                      </a:lnTo>
                      <a:lnTo>
                        <a:pt x="179" y="521"/>
                      </a:lnTo>
                      <a:lnTo>
                        <a:pt x="172" y="506"/>
                      </a:lnTo>
                      <a:lnTo>
                        <a:pt x="163" y="497"/>
                      </a:lnTo>
                      <a:lnTo>
                        <a:pt x="150" y="493"/>
                      </a:lnTo>
                      <a:lnTo>
                        <a:pt x="140" y="488"/>
                      </a:lnTo>
                      <a:lnTo>
                        <a:pt x="126" y="477"/>
                      </a:lnTo>
                      <a:lnTo>
                        <a:pt x="111" y="466"/>
                      </a:lnTo>
                      <a:lnTo>
                        <a:pt x="99" y="460"/>
                      </a:lnTo>
                      <a:lnTo>
                        <a:pt x="99" y="449"/>
                      </a:lnTo>
                      <a:lnTo>
                        <a:pt x="93" y="435"/>
                      </a:lnTo>
                      <a:lnTo>
                        <a:pt x="86" y="429"/>
                      </a:lnTo>
                      <a:lnTo>
                        <a:pt x="82" y="422"/>
                      </a:lnTo>
                      <a:lnTo>
                        <a:pt x="73" y="422"/>
                      </a:lnTo>
                      <a:lnTo>
                        <a:pt x="67" y="417"/>
                      </a:lnTo>
                      <a:lnTo>
                        <a:pt x="65" y="401"/>
                      </a:lnTo>
                      <a:lnTo>
                        <a:pt x="68" y="400"/>
                      </a:lnTo>
                      <a:lnTo>
                        <a:pt x="72" y="393"/>
                      </a:lnTo>
                      <a:lnTo>
                        <a:pt x="76" y="368"/>
                      </a:lnTo>
                      <a:lnTo>
                        <a:pt x="80" y="360"/>
                      </a:lnTo>
                      <a:lnTo>
                        <a:pt x="88" y="358"/>
                      </a:lnTo>
                      <a:lnTo>
                        <a:pt x="87" y="349"/>
                      </a:lnTo>
                      <a:lnTo>
                        <a:pt x="100" y="328"/>
                      </a:lnTo>
                      <a:lnTo>
                        <a:pt x="109" y="317"/>
                      </a:lnTo>
                      <a:lnTo>
                        <a:pt x="104" y="299"/>
                      </a:lnTo>
                      <a:lnTo>
                        <a:pt x="110" y="285"/>
                      </a:lnTo>
                      <a:lnTo>
                        <a:pt x="116" y="278"/>
                      </a:lnTo>
                      <a:lnTo>
                        <a:pt x="102" y="278"/>
                      </a:lnTo>
                      <a:lnTo>
                        <a:pt x="80" y="273"/>
                      </a:lnTo>
                      <a:lnTo>
                        <a:pt x="68" y="262"/>
                      </a:lnTo>
                      <a:lnTo>
                        <a:pt x="62" y="240"/>
                      </a:lnTo>
                      <a:lnTo>
                        <a:pt x="50" y="230"/>
                      </a:lnTo>
                      <a:lnTo>
                        <a:pt x="40" y="213"/>
                      </a:lnTo>
                      <a:lnTo>
                        <a:pt x="35" y="180"/>
                      </a:lnTo>
                      <a:lnTo>
                        <a:pt x="34" y="164"/>
                      </a:lnTo>
                      <a:lnTo>
                        <a:pt x="22" y="147"/>
                      </a:lnTo>
                      <a:lnTo>
                        <a:pt x="8" y="139"/>
                      </a:lnTo>
                      <a:lnTo>
                        <a:pt x="12" y="118"/>
                      </a:lnTo>
                      <a:lnTo>
                        <a:pt x="10" y="102"/>
                      </a:lnTo>
                      <a:lnTo>
                        <a:pt x="10" y="85"/>
                      </a:lnTo>
                      <a:lnTo>
                        <a:pt x="8" y="58"/>
                      </a:lnTo>
                      <a:lnTo>
                        <a:pt x="1" y="41"/>
                      </a:lnTo>
                      <a:lnTo>
                        <a:pt x="0" y="34"/>
                      </a:lnTo>
                      <a:lnTo>
                        <a:pt x="14" y="25"/>
                      </a:lnTo>
                      <a:lnTo>
                        <a:pt x="16" y="18"/>
                      </a:lnTo>
                      <a:lnTo>
                        <a:pt x="25" y="0"/>
                      </a:lnTo>
                      <a:lnTo>
                        <a:pt x="34" y="11"/>
                      </a:lnTo>
                      <a:lnTo>
                        <a:pt x="38" y="16"/>
                      </a:lnTo>
                      <a:lnTo>
                        <a:pt x="70" y="62"/>
                      </a:lnTo>
                      <a:lnTo>
                        <a:pt x="86" y="65"/>
                      </a:lnTo>
                      <a:lnTo>
                        <a:pt x="99" y="68"/>
                      </a:lnTo>
                      <a:lnTo>
                        <a:pt x="104" y="68"/>
                      </a:lnTo>
                      <a:lnTo>
                        <a:pt x="121" y="68"/>
                      </a:lnTo>
                      <a:lnTo>
                        <a:pt x="127" y="68"/>
                      </a:lnTo>
                      <a:lnTo>
                        <a:pt x="138" y="65"/>
                      </a:lnTo>
                      <a:lnTo>
                        <a:pt x="150" y="53"/>
                      </a:lnTo>
                      <a:lnTo>
                        <a:pt x="156" y="37"/>
                      </a:lnTo>
                      <a:lnTo>
                        <a:pt x="166" y="27"/>
                      </a:lnTo>
                      <a:lnTo>
                        <a:pt x="178" y="19"/>
                      </a:lnTo>
                      <a:lnTo>
                        <a:pt x="204" y="13"/>
                      </a:lnTo>
                      <a:lnTo>
                        <a:pt x="221" y="22"/>
                      </a:lnTo>
                      <a:lnTo>
                        <a:pt x="220" y="36"/>
                      </a:lnTo>
                      <a:lnTo>
                        <a:pt x="227" y="57"/>
                      </a:lnTo>
                      <a:lnTo>
                        <a:pt x="212" y="65"/>
                      </a:lnTo>
                      <a:lnTo>
                        <a:pt x="209" y="70"/>
                      </a:lnTo>
                      <a:lnTo>
                        <a:pt x="220" y="77"/>
                      </a:lnTo>
                      <a:lnTo>
                        <a:pt x="224" y="81"/>
                      </a:lnTo>
                      <a:lnTo>
                        <a:pt x="232" y="85"/>
                      </a:lnTo>
                      <a:lnTo>
                        <a:pt x="240" y="92"/>
                      </a:lnTo>
                      <a:lnTo>
                        <a:pt x="247" y="95"/>
                      </a:lnTo>
                      <a:lnTo>
                        <a:pt x="254" y="95"/>
                      </a:lnTo>
                      <a:lnTo>
                        <a:pt x="258" y="94"/>
                      </a:lnTo>
                      <a:lnTo>
                        <a:pt x="260" y="123"/>
                      </a:lnTo>
                      <a:lnTo>
                        <a:pt x="265" y="142"/>
                      </a:lnTo>
                      <a:lnTo>
                        <a:pt x="270" y="155"/>
                      </a:lnTo>
                      <a:lnTo>
                        <a:pt x="282" y="165"/>
                      </a:lnTo>
                      <a:lnTo>
                        <a:pt x="293" y="167"/>
                      </a:lnTo>
                      <a:lnTo>
                        <a:pt x="303" y="171"/>
                      </a:lnTo>
                      <a:lnTo>
                        <a:pt x="318" y="170"/>
                      </a:lnTo>
                      <a:lnTo>
                        <a:pt x="329" y="171"/>
                      </a:lnTo>
                      <a:lnTo>
                        <a:pt x="336" y="176"/>
                      </a:lnTo>
                      <a:lnTo>
                        <a:pt x="344" y="192"/>
                      </a:lnTo>
                      <a:lnTo>
                        <a:pt x="357" y="203"/>
                      </a:lnTo>
                      <a:lnTo>
                        <a:pt x="377" y="214"/>
                      </a:lnTo>
                      <a:lnTo>
                        <a:pt x="411" y="225"/>
                      </a:lnTo>
                      <a:lnTo>
                        <a:pt x="423" y="226"/>
                      </a:lnTo>
                      <a:lnTo>
                        <a:pt x="479" y="209"/>
                      </a:lnTo>
                      <a:lnTo>
                        <a:pt x="497" y="207"/>
                      </a:lnTo>
                      <a:lnTo>
                        <a:pt x="519" y="202"/>
                      </a:lnTo>
                      <a:lnTo>
                        <a:pt x="516" y="205"/>
                      </a:lnTo>
                      <a:lnTo>
                        <a:pt x="502" y="208"/>
                      </a:lnTo>
                      <a:lnTo>
                        <a:pt x="519" y="210"/>
                      </a:lnTo>
                      <a:lnTo>
                        <a:pt x="543" y="207"/>
                      </a:lnTo>
                      <a:lnTo>
                        <a:pt x="543" y="187"/>
                      </a:lnTo>
                      <a:lnTo>
                        <a:pt x="534" y="166"/>
                      </a:lnTo>
                      <a:lnTo>
                        <a:pt x="548" y="166"/>
                      </a:lnTo>
                      <a:lnTo>
                        <a:pt x="566" y="162"/>
                      </a:lnTo>
                      <a:lnTo>
                        <a:pt x="600" y="135"/>
                      </a:lnTo>
                      <a:lnTo>
                        <a:pt x="615" y="121"/>
                      </a:lnTo>
                      <a:lnTo>
                        <a:pt x="631" y="117"/>
                      </a:lnTo>
                      <a:lnTo>
                        <a:pt x="642" y="117"/>
                      </a:lnTo>
                      <a:lnTo>
                        <a:pt x="653" y="121"/>
                      </a:lnTo>
                      <a:lnTo>
                        <a:pt x="664" y="121"/>
                      </a:lnTo>
                      <a:lnTo>
                        <a:pt x="669" y="116"/>
                      </a:lnTo>
                      <a:lnTo>
                        <a:pt x="672" y="107"/>
                      </a:lnTo>
                      <a:lnTo>
                        <a:pt x="686" y="105"/>
                      </a:lnTo>
                      <a:lnTo>
                        <a:pt x="707" y="107"/>
                      </a:lnTo>
                      <a:lnTo>
                        <a:pt x="722" y="119"/>
                      </a:lnTo>
                      <a:lnTo>
                        <a:pt x="731" y="131"/>
                      </a:lnTo>
                      <a:lnTo>
                        <a:pt x="769" y="143"/>
                      </a:lnTo>
                      <a:lnTo>
                        <a:pt x="782" y="150"/>
                      </a:lnTo>
                      <a:lnTo>
                        <a:pt x="793" y="153"/>
                      </a:lnTo>
                      <a:lnTo>
                        <a:pt x="804" y="150"/>
                      </a:lnTo>
                      <a:lnTo>
                        <a:pt x="819" y="153"/>
                      </a:lnTo>
                      <a:lnTo>
                        <a:pt x="828" y="158"/>
                      </a:lnTo>
                      <a:lnTo>
                        <a:pt x="837" y="171"/>
                      </a:lnTo>
                      <a:lnTo>
                        <a:pt x="841" y="183"/>
                      </a:lnTo>
                      <a:lnTo>
                        <a:pt x="851" y="187"/>
                      </a:lnTo>
                      <a:lnTo>
                        <a:pt x="867" y="197"/>
                      </a:lnTo>
                      <a:lnTo>
                        <a:pt x="889" y="215"/>
                      </a:lnTo>
                      <a:lnTo>
                        <a:pt x="905" y="225"/>
                      </a:lnTo>
                      <a:lnTo>
                        <a:pt x="931" y="225"/>
                      </a:lnTo>
                      <a:lnTo>
                        <a:pt x="936" y="230"/>
                      </a:lnTo>
                      <a:lnTo>
                        <a:pt x="936" y="267"/>
                      </a:lnTo>
                      <a:lnTo>
                        <a:pt x="939" y="278"/>
                      </a:lnTo>
                      <a:lnTo>
                        <a:pt x="937" y="291"/>
                      </a:lnTo>
                      <a:lnTo>
                        <a:pt x="935" y="305"/>
                      </a:lnTo>
                      <a:lnTo>
                        <a:pt x="935" y="321"/>
                      </a:lnTo>
                      <a:lnTo>
                        <a:pt x="930" y="343"/>
                      </a:lnTo>
                      <a:lnTo>
                        <a:pt x="916" y="365"/>
                      </a:lnTo>
                      <a:lnTo>
                        <a:pt x="916" y="380"/>
                      </a:lnTo>
                      <a:lnTo>
                        <a:pt x="895" y="388"/>
                      </a:lnTo>
                      <a:lnTo>
                        <a:pt x="895" y="398"/>
                      </a:lnTo>
                      <a:lnTo>
                        <a:pt x="895" y="418"/>
                      </a:lnTo>
                      <a:lnTo>
                        <a:pt x="909" y="423"/>
                      </a:lnTo>
                      <a:lnTo>
                        <a:pt x="910" y="434"/>
                      </a:lnTo>
                      <a:lnTo>
                        <a:pt x="903" y="452"/>
                      </a:lnTo>
                      <a:lnTo>
                        <a:pt x="899" y="470"/>
                      </a:lnTo>
                      <a:lnTo>
                        <a:pt x="901" y="482"/>
                      </a:lnTo>
                      <a:lnTo>
                        <a:pt x="907" y="498"/>
                      </a:lnTo>
                      <a:lnTo>
                        <a:pt x="910" y="516"/>
                      </a:lnTo>
                      <a:lnTo>
                        <a:pt x="907" y="533"/>
                      </a:lnTo>
                      <a:lnTo>
                        <a:pt x="909" y="546"/>
                      </a:lnTo>
                      <a:lnTo>
                        <a:pt x="919" y="557"/>
                      </a:lnTo>
                      <a:lnTo>
                        <a:pt x="931" y="560"/>
                      </a:lnTo>
                      <a:lnTo>
                        <a:pt x="943" y="560"/>
                      </a:lnTo>
                      <a:lnTo>
                        <a:pt x="954" y="570"/>
                      </a:lnTo>
                      <a:lnTo>
                        <a:pt x="960" y="586"/>
                      </a:lnTo>
                      <a:lnTo>
                        <a:pt x="960" y="601"/>
                      </a:lnTo>
                      <a:lnTo>
                        <a:pt x="954" y="618"/>
                      </a:lnTo>
                      <a:lnTo>
                        <a:pt x="931" y="646"/>
                      </a:lnTo>
                      <a:lnTo>
                        <a:pt x="919" y="671"/>
                      </a:lnTo>
                      <a:lnTo>
                        <a:pt x="915" y="676"/>
                      </a:lnTo>
                      <a:lnTo>
                        <a:pt x="923" y="686"/>
                      </a:lnTo>
                      <a:lnTo>
                        <a:pt x="937" y="698"/>
                      </a:lnTo>
                      <a:lnTo>
                        <a:pt x="958" y="741"/>
                      </a:lnTo>
                      <a:lnTo>
                        <a:pt x="970" y="751"/>
                      </a:lnTo>
                      <a:lnTo>
                        <a:pt x="986" y="759"/>
                      </a:lnTo>
                      <a:lnTo>
                        <a:pt x="1013" y="768"/>
                      </a:lnTo>
                      <a:lnTo>
                        <a:pt x="1018" y="774"/>
                      </a:lnTo>
                      <a:lnTo>
                        <a:pt x="1023" y="800"/>
                      </a:lnTo>
                      <a:lnTo>
                        <a:pt x="1024" y="815"/>
                      </a:lnTo>
                      <a:lnTo>
                        <a:pt x="1023" y="829"/>
                      </a:lnTo>
                      <a:lnTo>
                        <a:pt x="1043" y="833"/>
                      </a:lnTo>
                      <a:lnTo>
                        <a:pt x="1048" y="838"/>
                      </a:lnTo>
                      <a:lnTo>
                        <a:pt x="1049" y="848"/>
                      </a:lnTo>
                      <a:lnTo>
                        <a:pt x="1046" y="854"/>
                      </a:lnTo>
                      <a:lnTo>
                        <a:pt x="1033" y="866"/>
                      </a:lnTo>
                      <a:lnTo>
                        <a:pt x="1021" y="869"/>
                      </a:lnTo>
                      <a:lnTo>
                        <a:pt x="1006" y="875"/>
                      </a:lnTo>
                      <a:lnTo>
                        <a:pt x="992" y="880"/>
                      </a:lnTo>
                      <a:lnTo>
                        <a:pt x="979" y="890"/>
                      </a:lnTo>
                      <a:lnTo>
                        <a:pt x="970" y="902"/>
                      </a:lnTo>
                      <a:lnTo>
                        <a:pt x="959" y="931"/>
                      </a:lnTo>
                      <a:lnTo>
                        <a:pt x="957" y="944"/>
                      </a:lnTo>
                      <a:lnTo>
                        <a:pt x="957" y="958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rgbClr val="77E2C3">
                      <a:lumMod val="40000"/>
                      <a:lumOff val="6000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77898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313C"/>
                    </a:solidFill>
                    <a:effectLst/>
                    <a:uLnTx/>
                    <a:uFillTx/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123" name="Freeform 90">
                <a:extLst>
                  <a:ext uri="{FF2B5EF4-FFF2-40B4-BE49-F238E27FC236}">
                    <a16:creationId xmlns:a16="http://schemas.microsoft.com/office/drawing/2014/main" id="{9F23A391-666A-8FB8-4333-8C5BCEE1F2F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941" y="2045"/>
                <a:ext cx="107" cy="109"/>
              </a:xfrm>
              <a:custGeom>
                <a:avLst/>
                <a:gdLst>
                  <a:gd name="T0" fmla="*/ 21 w 534"/>
                  <a:gd name="T1" fmla="*/ 20 h 548"/>
                  <a:gd name="T2" fmla="*/ 20 w 534"/>
                  <a:gd name="T3" fmla="*/ 19 h 548"/>
                  <a:gd name="T4" fmla="*/ 20 w 534"/>
                  <a:gd name="T5" fmla="*/ 19 h 548"/>
                  <a:gd name="T6" fmla="*/ 19 w 534"/>
                  <a:gd name="T7" fmla="*/ 19 h 548"/>
                  <a:gd name="T8" fmla="*/ 18 w 534"/>
                  <a:gd name="T9" fmla="*/ 20 h 548"/>
                  <a:gd name="T10" fmla="*/ 17 w 534"/>
                  <a:gd name="T11" fmla="*/ 22 h 548"/>
                  <a:gd name="T12" fmla="*/ 11 w 534"/>
                  <a:gd name="T13" fmla="*/ 20 h 548"/>
                  <a:gd name="T14" fmla="*/ 11 w 534"/>
                  <a:gd name="T15" fmla="*/ 19 h 548"/>
                  <a:gd name="T16" fmla="*/ 9 w 534"/>
                  <a:gd name="T17" fmla="*/ 18 h 548"/>
                  <a:gd name="T18" fmla="*/ 9 w 534"/>
                  <a:gd name="T19" fmla="*/ 18 h 548"/>
                  <a:gd name="T20" fmla="*/ 4 w 534"/>
                  <a:gd name="T21" fmla="*/ 15 h 548"/>
                  <a:gd name="T22" fmla="*/ 0 w 534"/>
                  <a:gd name="T23" fmla="*/ 11 h 548"/>
                  <a:gd name="T24" fmla="*/ 2 w 534"/>
                  <a:gd name="T25" fmla="*/ 9 h 548"/>
                  <a:gd name="T26" fmla="*/ 4 w 534"/>
                  <a:gd name="T27" fmla="*/ 9 h 548"/>
                  <a:gd name="T28" fmla="*/ 4 w 534"/>
                  <a:gd name="T29" fmla="*/ 8 h 548"/>
                  <a:gd name="T30" fmla="*/ 5 w 534"/>
                  <a:gd name="T31" fmla="*/ 7 h 548"/>
                  <a:gd name="T32" fmla="*/ 6 w 534"/>
                  <a:gd name="T33" fmla="*/ 3 h 548"/>
                  <a:gd name="T34" fmla="*/ 8 w 534"/>
                  <a:gd name="T35" fmla="*/ 1 h 548"/>
                  <a:gd name="T36" fmla="*/ 9 w 534"/>
                  <a:gd name="T37" fmla="*/ 0 h 548"/>
                  <a:gd name="T38" fmla="*/ 11 w 534"/>
                  <a:gd name="T39" fmla="*/ 0 h 548"/>
                  <a:gd name="T40" fmla="*/ 12 w 534"/>
                  <a:gd name="T41" fmla="*/ 1 h 548"/>
                  <a:gd name="T42" fmla="*/ 13 w 534"/>
                  <a:gd name="T43" fmla="*/ 1 h 548"/>
                  <a:gd name="T44" fmla="*/ 14 w 534"/>
                  <a:gd name="T45" fmla="*/ 3 h 548"/>
                  <a:gd name="T46" fmla="*/ 15 w 534"/>
                  <a:gd name="T47" fmla="*/ 4 h 548"/>
                  <a:gd name="T48" fmla="*/ 16 w 534"/>
                  <a:gd name="T49" fmla="*/ 4 h 548"/>
                  <a:gd name="T50" fmla="*/ 16 w 534"/>
                  <a:gd name="T51" fmla="*/ 5 h 548"/>
                  <a:gd name="T52" fmla="*/ 16 w 534"/>
                  <a:gd name="T53" fmla="*/ 6 h 548"/>
                  <a:gd name="T54" fmla="*/ 15 w 534"/>
                  <a:gd name="T55" fmla="*/ 7 h 548"/>
                  <a:gd name="T56" fmla="*/ 15 w 534"/>
                  <a:gd name="T57" fmla="*/ 8 h 548"/>
                  <a:gd name="T58" fmla="*/ 15 w 534"/>
                  <a:gd name="T59" fmla="*/ 9 h 548"/>
                  <a:gd name="T60" fmla="*/ 14 w 534"/>
                  <a:gd name="T61" fmla="*/ 9 h 548"/>
                  <a:gd name="T62" fmla="*/ 15 w 534"/>
                  <a:gd name="T63" fmla="*/ 10 h 548"/>
                  <a:gd name="T64" fmla="*/ 15 w 534"/>
                  <a:gd name="T65" fmla="*/ 11 h 548"/>
                  <a:gd name="T66" fmla="*/ 16 w 534"/>
                  <a:gd name="T67" fmla="*/ 11 h 548"/>
                  <a:gd name="T68" fmla="*/ 16 w 534"/>
                  <a:gd name="T69" fmla="*/ 12 h 548"/>
                  <a:gd name="T70" fmla="*/ 17 w 534"/>
                  <a:gd name="T71" fmla="*/ 13 h 548"/>
                  <a:gd name="T72" fmla="*/ 18 w 534"/>
                  <a:gd name="T73" fmla="*/ 13 h 548"/>
                  <a:gd name="T74" fmla="*/ 19 w 534"/>
                  <a:gd name="T75" fmla="*/ 14 h 548"/>
                  <a:gd name="T76" fmla="*/ 20 w 534"/>
                  <a:gd name="T77" fmla="*/ 15 h 548"/>
                  <a:gd name="T78" fmla="*/ 19 w 534"/>
                  <a:gd name="T79" fmla="*/ 17 h 548"/>
                  <a:gd name="T80" fmla="*/ 20 w 534"/>
                  <a:gd name="T81" fmla="*/ 18 h 548"/>
                  <a:gd name="T82" fmla="*/ 20 w 534"/>
                  <a:gd name="T83" fmla="*/ 19 h 548"/>
                  <a:gd name="T84" fmla="*/ 21 w 534"/>
                  <a:gd name="T85" fmla="*/ 19 h 54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534"/>
                  <a:gd name="T130" fmla="*/ 0 h 548"/>
                  <a:gd name="T131" fmla="*/ 534 w 534"/>
                  <a:gd name="T132" fmla="*/ 548 h 548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534" h="548">
                    <a:moveTo>
                      <a:pt x="534" y="489"/>
                    </a:moveTo>
                    <a:lnTo>
                      <a:pt x="527" y="500"/>
                    </a:lnTo>
                    <a:lnTo>
                      <a:pt x="520" y="495"/>
                    </a:lnTo>
                    <a:lnTo>
                      <a:pt x="510" y="490"/>
                    </a:lnTo>
                    <a:lnTo>
                      <a:pt x="507" y="491"/>
                    </a:lnTo>
                    <a:lnTo>
                      <a:pt x="505" y="494"/>
                    </a:lnTo>
                    <a:lnTo>
                      <a:pt x="493" y="490"/>
                    </a:lnTo>
                    <a:lnTo>
                      <a:pt x="479" y="489"/>
                    </a:lnTo>
                    <a:lnTo>
                      <a:pt x="463" y="495"/>
                    </a:lnTo>
                    <a:lnTo>
                      <a:pt x="452" y="512"/>
                    </a:lnTo>
                    <a:lnTo>
                      <a:pt x="442" y="532"/>
                    </a:lnTo>
                    <a:lnTo>
                      <a:pt x="426" y="548"/>
                    </a:lnTo>
                    <a:lnTo>
                      <a:pt x="328" y="543"/>
                    </a:lnTo>
                    <a:lnTo>
                      <a:pt x="265" y="515"/>
                    </a:lnTo>
                    <a:lnTo>
                      <a:pt x="263" y="511"/>
                    </a:lnTo>
                    <a:lnTo>
                      <a:pt x="263" y="472"/>
                    </a:lnTo>
                    <a:lnTo>
                      <a:pt x="261" y="469"/>
                    </a:lnTo>
                    <a:lnTo>
                      <a:pt x="232" y="467"/>
                    </a:lnTo>
                    <a:lnTo>
                      <a:pt x="224" y="449"/>
                    </a:lnTo>
                    <a:lnTo>
                      <a:pt x="218" y="444"/>
                    </a:lnTo>
                    <a:lnTo>
                      <a:pt x="162" y="423"/>
                    </a:lnTo>
                    <a:lnTo>
                      <a:pt x="100" y="376"/>
                    </a:lnTo>
                    <a:lnTo>
                      <a:pt x="16" y="353"/>
                    </a:lnTo>
                    <a:lnTo>
                      <a:pt x="0" y="278"/>
                    </a:lnTo>
                    <a:lnTo>
                      <a:pt x="43" y="248"/>
                    </a:lnTo>
                    <a:lnTo>
                      <a:pt x="58" y="237"/>
                    </a:lnTo>
                    <a:lnTo>
                      <a:pt x="73" y="232"/>
                    </a:lnTo>
                    <a:lnTo>
                      <a:pt x="95" y="220"/>
                    </a:lnTo>
                    <a:lnTo>
                      <a:pt x="107" y="213"/>
                    </a:lnTo>
                    <a:lnTo>
                      <a:pt x="111" y="209"/>
                    </a:lnTo>
                    <a:lnTo>
                      <a:pt x="123" y="204"/>
                    </a:lnTo>
                    <a:lnTo>
                      <a:pt x="133" y="180"/>
                    </a:lnTo>
                    <a:lnTo>
                      <a:pt x="136" y="143"/>
                    </a:lnTo>
                    <a:lnTo>
                      <a:pt x="140" y="73"/>
                    </a:lnTo>
                    <a:lnTo>
                      <a:pt x="171" y="60"/>
                    </a:lnTo>
                    <a:lnTo>
                      <a:pt x="189" y="31"/>
                    </a:lnTo>
                    <a:lnTo>
                      <a:pt x="204" y="22"/>
                    </a:lnTo>
                    <a:lnTo>
                      <a:pt x="229" y="0"/>
                    </a:lnTo>
                    <a:lnTo>
                      <a:pt x="249" y="9"/>
                    </a:lnTo>
                    <a:lnTo>
                      <a:pt x="279" y="10"/>
                    </a:lnTo>
                    <a:lnTo>
                      <a:pt x="297" y="9"/>
                    </a:lnTo>
                    <a:lnTo>
                      <a:pt x="306" y="20"/>
                    </a:lnTo>
                    <a:lnTo>
                      <a:pt x="322" y="22"/>
                    </a:lnTo>
                    <a:lnTo>
                      <a:pt x="329" y="14"/>
                    </a:lnTo>
                    <a:lnTo>
                      <a:pt x="334" y="47"/>
                    </a:lnTo>
                    <a:lnTo>
                      <a:pt x="344" y="64"/>
                    </a:lnTo>
                    <a:lnTo>
                      <a:pt x="356" y="74"/>
                    </a:lnTo>
                    <a:lnTo>
                      <a:pt x="362" y="96"/>
                    </a:lnTo>
                    <a:lnTo>
                      <a:pt x="374" y="107"/>
                    </a:lnTo>
                    <a:lnTo>
                      <a:pt x="396" y="112"/>
                    </a:lnTo>
                    <a:lnTo>
                      <a:pt x="410" y="112"/>
                    </a:lnTo>
                    <a:lnTo>
                      <a:pt x="404" y="119"/>
                    </a:lnTo>
                    <a:lnTo>
                      <a:pt x="398" y="133"/>
                    </a:lnTo>
                    <a:lnTo>
                      <a:pt x="403" y="152"/>
                    </a:lnTo>
                    <a:lnTo>
                      <a:pt x="394" y="162"/>
                    </a:lnTo>
                    <a:lnTo>
                      <a:pt x="381" y="184"/>
                    </a:lnTo>
                    <a:lnTo>
                      <a:pt x="382" y="192"/>
                    </a:lnTo>
                    <a:lnTo>
                      <a:pt x="374" y="195"/>
                    </a:lnTo>
                    <a:lnTo>
                      <a:pt x="370" y="202"/>
                    </a:lnTo>
                    <a:lnTo>
                      <a:pt x="366" y="227"/>
                    </a:lnTo>
                    <a:lnTo>
                      <a:pt x="362" y="234"/>
                    </a:lnTo>
                    <a:lnTo>
                      <a:pt x="359" y="236"/>
                    </a:lnTo>
                    <a:lnTo>
                      <a:pt x="361" y="251"/>
                    </a:lnTo>
                    <a:lnTo>
                      <a:pt x="367" y="256"/>
                    </a:lnTo>
                    <a:lnTo>
                      <a:pt x="376" y="256"/>
                    </a:lnTo>
                    <a:lnTo>
                      <a:pt x="380" y="264"/>
                    </a:lnTo>
                    <a:lnTo>
                      <a:pt x="387" y="269"/>
                    </a:lnTo>
                    <a:lnTo>
                      <a:pt x="393" y="283"/>
                    </a:lnTo>
                    <a:lnTo>
                      <a:pt x="393" y="294"/>
                    </a:lnTo>
                    <a:lnTo>
                      <a:pt x="405" y="301"/>
                    </a:lnTo>
                    <a:lnTo>
                      <a:pt x="420" y="311"/>
                    </a:lnTo>
                    <a:lnTo>
                      <a:pt x="432" y="322"/>
                    </a:lnTo>
                    <a:lnTo>
                      <a:pt x="444" y="327"/>
                    </a:lnTo>
                    <a:lnTo>
                      <a:pt x="457" y="331"/>
                    </a:lnTo>
                    <a:lnTo>
                      <a:pt x="466" y="340"/>
                    </a:lnTo>
                    <a:lnTo>
                      <a:pt x="473" y="355"/>
                    </a:lnTo>
                    <a:lnTo>
                      <a:pt x="480" y="367"/>
                    </a:lnTo>
                    <a:lnTo>
                      <a:pt x="487" y="381"/>
                    </a:lnTo>
                    <a:lnTo>
                      <a:pt x="483" y="408"/>
                    </a:lnTo>
                    <a:lnTo>
                      <a:pt x="482" y="429"/>
                    </a:lnTo>
                    <a:lnTo>
                      <a:pt x="495" y="436"/>
                    </a:lnTo>
                    <a:lnTo>
                      <a:pt x="499" y="456"/>
                    </a:lnTo>
                    <a:lnTo>
                      <a:pt x="504" y="464"/>
                    </a:lnTo>
                    <a:lnTo>
                      <a:pt x="511" y="472"/>
                    </a:lnTo>
                    <a:lnTo>
                      <a:pt x="531" y="487"/>
                    </a:lnTo>
                    <a:lnTo>
                      <a:pt x="534" y="48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24" name="Freeform 91">
                <a:extLst>
                  <a:ext uri="{FF2B5EF4-FFF2-40B4-BE49-F238E27FC236}">
                    <a16:creationId xmlns:a16="http://schemas.microsoft.com/office/drawing/2014/main" id="{7A409064-0E25-AD23-6182-B1AE973B929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72" y="2191"/>
                <a:ext cx="9" cy="20"/>
              </a:xfrm>
              <a:custGeom>
                <a:avLst/>
                <a:gdLst>
                  <a:gd name="T0" fmla="*/ 1 w 45"/>
                  <a:gd name="T1" fmla="*/ 4 h 98"/>
                  <a:gd name="T2" fmla="*/ 1 w 45"/>
                  <a:gd name="T3" fmla="*/ 4 h 98"/>
                  <a:gd name="T4" fmla="*/ 2 w 45"/>
                  <a:gd name="T5" fmla="*/ 4 h 98"/>
                  <a:gd name="T6" fmla="*/ 2 w 45"/>
                  <a:gd name="T7" fmla="*/ 3 h 98"/>
                  <a:gd name="T8" fmla="*/ 2 w 45"/>
                  <a:gd name="T9" fmla="*/ 3 h 98"/>
                  <a:gd name="T10" fmla="*/ 2 w 45"/>
                  <a:gd name="T11" fmla="*/ 3 h 98"/>
                  <a:gd name="T12" fmla="*/ 2 w 45"/>
                  <a:gd name="T13" fmla="*/ 2 h 98"/>
                  <a:gd name="T14" fmla="*/ 2 w 45"/>
                  <a:gd name="T15" fmla="*/ 2 h 98"/>
                  <a:gd name="T16" fmla="*/ 2 w 45"/>
                  <a:gd name="T17" fmla="*/ 2 h 98"/>
                  <a:gd name="T18" fmla="*/ 2 w 45"/>
                  <a:gd name="T19" fmla="*/ 1 h 98"/>
                  <a:gd name="T20" fmla="*/ 2 w 45"/>
                  <a:gd name="T21" fmla="*/ 1 h 98"/>
                  <a:gd name="T22" fmla="*/ 2 w 45"/>
                  <a:gd name="T23" fmla="*/ 1 h 98"/>
                  <a:gd name="T24" fmla="*/ 2 w 45"/>
                  <a:gd name="T25" fmla="*/ 1 h 98"/>
                  <a:gd name="T26" fmla="*/ 2 w 45"/>
                  <a:gd name="T27" fmla="*/ 1 h 98"/>
                  <a:gd name="T28" fmla="*/ 2 w 45"/>
                  <a:gd name="T29" fmla="*/ 1 h 98"/>
                  <a:gd name="T30" fmla="*/ 2 w 45"/>
                  <a:gd name="T31" fmla="*/ 1 h 98"/>
                  <a:gd name="T32" fmla="*/ 1 w 45"/>
                  <a:gd name="T33" fmla="*/ 0 h 98"/>
                  <a:gd name="T34" fmla="*/ 1 w 45"/>
                  <a:gd name="T35" fmla="*/ 0 h 98"/>
                  <a:gd name="T36" fmla="*/ 1 w 45"/>
                  <a:gd name="T37" fmla="*/ 0 h 98"/>
                  <a:gd name="T38" fmla="*/ 1 w 45"/>
                  <a:gd name="T39" fmla="*/ 0 h 98"/>
                  <a:gd name="T40" fmla="*/ 1 w 45"/>
                  <a:gd name="T41" fmla="*/ 0 h 98"/>
                  <a:gd name="T42" fmla="*/ 1 w 45"/>
                  <a:gd name="T43" fmla="*/ 0 h 98"/>
                  <a:gd name="T44" fmla="*/ 1 w 45"/>
                  <a:gd name="T45" fmla="*/ 0 h 98"/>
                  <a:gd name="T46" fmla="*/ 0 w 45"/>
                  <a:gd name="T47" fmla="*/ 1 h 98"/>
                  <a:gd name="T48" fmla="*/ 0 w 45"/>
                  <a:gd name="T49" fmla="*/ 1 h 98"/>
                  <a:gd name="T50" fmla="*/ 0 w 45"/>
                  <a:gd name="T51" fmla="*/ 2 h 98"/>
                  <a:gd name="T52" fmla="*/ 0 w 45"/>
                  <a:gd name="T53" fmla="*/ 2 h 98"/>
                  <a:gd name="T54" fmla="*/ 0 w 45"/>
                  <a:gd name="T55" fmla="*/ 2 h 98"/>
                  <a:gd name="T56" fmla="*/ 0 w 45"/>
                  <a:gd name="T57" fmla="*/ 2 h 98"/>
                  <a:gd name="T58" fmla="*/ 0 w 45"/>
                  <a:gd name="T59" fmla="*/ 3 h 98"/>
                  <a:gd name="T60" fmla="*/ 0 w 45"/>
                  <a:gd name="T61" fmla="*/ 3 h 98"/>
                  <a:gd name="T62" fmla="*/ 0 w 45"/>
                  <a:gd name="T63" fmla="*/ 3 h 98"/>
                  <a:gd name="T64" fmla="*/ 0 w 45"/>
                  <a:gd name="T65" fmla="*/ 3 h 98"/>
                  <a:gd name="T66" fmla="*/ 0 w 45"/>
                  <a:gd name="T67" fmla="*/ 3 h 98"/>
                  <a:gd name="T68" fmla="*/ 0 w 45"/>
                  <a:gd name="T69" fmla="*/ 3 h 98"/>
                  <a:gd name="T70" fmla="*/ 0 w 45"/>
                  <a:gd name="T71" fmla="*/ 3 h 98"/>
                  <a:gd name="T72" fmla="*/ 0 w 45"/>
                  <a:gd name="T73" fmla="*/ 4 h 98"/>
                  <a:gd name="T74" fmla="*/ 1 w 45"/>
                  <a:gd name="T75" fmla="*/ 4 h 9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45"/>
                  <a:gd name="T115" fmla="*/ 0 h 98"/>
                  <a:gd name="T116" fmla="*/ 45 w 45"/>
                  <a:gd name="T117" fmla="*/ 98 h 98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45" h="98">
                    <a:moveTo>
                      <a:pt x="16" y="98"/>
                    </a:moveTo>
                    <a:lnTo>
                      <a:pt x="35" y="90"/>
                    </a:lnTo>
                    <a:lnTo>
                      <a:pt x="38" y="87"/>
                    </a:lnTo>
                    <a:lnTo>
                      <a:pt x="39" y="81"/>
                    </a:lnTo>
                    <a:lnTo>
                      <a:pt x="43" y="74"/>
                    </a:lnTo>
                    <a:lnTo>
                      <a:pt x="44" y="70"/>
                    </a:lnTo>
                    <a:lnTo>
                      <a:pt x="44" y="55"/>
                    </a:lnTo>
                    <a:lnTo>
                      <a:pt x="40" y="50"/>
                    </a:lnTo>
                    <a:lnTo>
                      <a:pt x="40" y="42"/>
                    </a:lnTo>
                    <a:lnTo>
                      <a:pt x="40" y="33"/>
                    </a:lnTo>
                    <a:lnTo>
                      <a:pt x="43" y="32"/>
                    </a:lnTo>
                    <a:lnTo>
                      <a:pt x="41" y="29"/>
                    </a:lnTo>
                    <a:lnTo>
                      <a:pt x="44" y="25"/>
                    </a:lnTo>
                    <a:lnTo>
                      <a:pt x="44" y="21"/>
                    </a:lnTo>
                    <a:lnTo>
                      <a:pt x="45" y="16"/>
                    </a:lnTo>
                    <a:lnTo>
                      <a:pt x="43" y="15"/>
                    </a:lnTo>
                    <a:lnTo>
                      <a:pt x="36" y="12"/>
                    </a:lnTo>
                    <a:lnTo>
                      <a:pt x="34" y="10"/>
                    </a:lnTo>
                    <a:lnTo>
                      <a:pt x="34" y="6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8" y="4"/>
                    </a:lnTo>
                    <a:lnTo>
                      <a:pt x="13" y="12"/>
                    </a:lnTo>
                    <a:lnTo>
                      <a:pt x="11" y="26"/>
                    </a:lnTo>
                    <a:lnTo>
                      <a:pt x="7" y="36"/>
                    </a:lnTo>
                    <a:lnTo>
                      <a:pt x="1" y="43"/>
                    </a:lnTo>
                    <a:lnTo>
                      <a:pt x="1" y="50"/>
                    </a:lnTo>
                    <a:lnTo>
                      <a:pt x="0" y="55"/>
                    </a:lnTo>
                    <a:lnTo>
                      <a:pt x="2" y="58"/>
                    </a:lnTo>
                    <a:lnTo>
                      <a:pt x="0" y="63"/>
                    </a:lnTo>
                    <a:lnTo>
                      <a:pt x="1" y="66"/>
                    </a:lnTo>
                    <a:lnTo>
                      <a:pt x="5" y="74"/>
                    </a:lnTo>
                    <a:lnTo>
                      <a:pt x="2" y="77"/>
                    </a:lnTo>
                    <a:lnTo>
                      <a:pt x="5" y="80"/>
                    </a:lnTo>
                    <a:lnTo>
                      <a:pt x="3" y="84"/>
                    </a:lnTo>
                    <a:lnTo>
                      <a:pt x="2" y="85"/>
                    </a:lnTo>
                    <a:lnTo>
                      <a:pt x="9" y="97"/>
                    </a:lnTo>
                    <a:lnTo>
                      <a:pt x="16" y="9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25" name="Freeform 92">
                <a:extLst>
                  <a:ext uri="{FF2B5EF4-FFF2-40B4-BE49-F238E27FC236}">
                    <a16:creationId xmlns:a16="http://schemas.microsoft.com/office/drawing/2014/main" id="{30CDF34A-566E-1D81-B4FB-1AED0E70B59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75" y="2192"/>
                <a:ext cx="58" cy="43"/>
              </a:xfrm>
              <a:custGeom>
                <a:avLst/>
                <a:gdLst>
                  <a:gd name="T0" fmla="*/ 9 w 288"/>
                  <a:gd name="T1" fmla="*/ 9 h 215"/>
                  <a:gd name="T2" fmla="*/ 1 w 288"/>
                  <a:gd name="T3" fmla="*/ 5 h 215"/>
                  <a:gd name="T4" fmla="*/ 0 w 288"/>
                  <a:gd name="T5" fmla="*/ 4 h 215"/>
                  <a:gd name="T6" fmla="*/ 1 w 288"/>
                  <a:gd name="T7" fmla="*/ 4 h 215"/>
                  <a:gd name="T8" fmla="*/ 1 w 288"/>
                  <a:gd name="T9" fmla="*/ 4 h 215"/>
                  <a:gd name="T10" fmla="*/ 1 w 288"/>
                  <a:gd name="T11" fmla="*/ 4 h 215"/>
                  <a:gd name="T12" fmla="*/ 1 w 288"/>
                  <a:gd name="T13" fmla="*/ 4 h 215"/>
                  <a:gd name="T14" fmla="*/ 1 w 288"/>
                  <a:gd name="T15" fmla="*/ 4 h 215"/>
                  <a:gd name="T16" fmla="*/ 2 w 288"/>
                  <a:gd name="T17" fmla="*/ 5 h 215"/>
                  <a:gd name="T18" fmla="*/ 3 w 288"/>
                  <a:gd name="T19" fmla="*/ 5 h 215"/>
                  <a:gd name="T20" fmla="*/ 3 w 288"/>
                  <a:gd name="T21" fmla="*/ 5 h 215"/>
                  <a:gd name="T22" fmla="*/ 4 w 288"/>
                  <a:gd name="T23" fmla="*/ 5 h 215"/>
                  <a:gd name="T24" fmla="*/ 5 w 288"/>
                  <a:gd name="T25" fmla="*/ 5 h 215"/>
                  <a:gd name="T26" fmla="*/ 6 w 288"/>
                  <a:gd name="T27" fmla="*/ 5 h 215"/>
                  <a:gd name="T28" fmla="*/ 7 w 288"/>
                  <a:gd name="T29" fmla="*/ 4 h 215"/>
                  <a:gd name="T30" fmla="*/ 7 w 288"/>
                  <a:gd name="T31" fmla="*/ 4 h 215"/>
                  <a:gd name="T32" fmla="*/ 7 w 288"/>
                  <a:gd name="T33" fmla="*/ 4 h 215"/>
                  <a:gd name="T34" fmla="*/ 7 w 288"/>
                  <a:gd name="T35" fmla="*/ 4 h 215"/>
                  <a:gd name="T36" fmla="*/ 8 w 288"/>
                  <a:gd name="T37" fmla="*/ 4 h 215"/>
                  <a:gd name="T38" fmla="*/ 8 w 288"/>
                  <a:gd name="T39" fmla="*/ 4 h 215"/>
                  <a:gd name="T40" fmla="*/ 8 w 288"/>
                  <a:gd name="T41" fmla="*/ 3 h 215"/>
                  <a:gd name="T42" fmla="*/ 8 w 288"/>
                  <a:gd name="T43" fmla="*/ 3 h 215"/>
                  <a:gd name="T44" fmla="*/ 9 w 288"/>
                  <a:gd name="T45" fmla="*/ 3 h 215"/>
                  <a:gd name="T46" fmla="*/ 9 w 288"/>
                  <a:gd name="T47" fmla="*/ 2 h 215"/>
                  <a:gd name="T48" fmla="*/ 9 w 288"/>
                  <a:gd name="T49" fmla="*/ 2 h 215"/>
                  <a:gd name="T50" fmla="*/ 10 w 288"/>
                  <a:gd name="T51" fmla="*/ 2 h 215"/>
                  <a:gd name="T52" fmla="*/ 10 w 288"/>
                  <a:gd name="T53" fmla="*/ 2 h 215"/>
                  <a:gd name="T54" fmla="*/ 10 w 288"/>
                  <a:gd name="T55" fmla="*/ 1 h 215"/>
                  <a:gd name="T56" fmla="*/ 10 w 288"/>
                  <a:gd name="T57" fmla="*/ 1 h 215"/>
                  <a:gd name="T58" fmla="*/ 11 w 288"/>
                  <a:gd name="T59" fmla="*/ 0 h 215"/>
                  <a:gd name="T60" fmla="*/ 11 w 288"/>
                  <a:gd name="T61" fmla="*/ 0 h 215"/>
                  <a:gd name="T62" fmla="*/ 11 w 288"/>
                  <a:gd name="T63" fmla="*/ 0 h 215"/>
                  <a:gd name="T64" fmla="*/ 11 w 288"/>
                  <a:gd name="T65" fmla="*/ 1 h 215"/>
                  <a:gd name="T66" fmla="*/ 11 w 288"/>
                  <a:gd name="T67" fmla="*/ 1 h 215"/>
                  <a:gd name="T68" fmla="*/ 12 w 288"/>
                  <a:gd name="T69" fmla="*/ 3 h 215"/>
                  <a:gd name="T70" fmla="*/ 10 w 288"/>
                  <a:gd name="T71" fmla="*/ 3 h 215"/>
                  <a:gd name="T72" fmla="*/ 10 w 288"/>
                  <a:gd name="T73" fmla="*/ 5 h 215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288"/>
                  <a:gd name="T112" fmla="*/ 0 h 215"/>
                  <a:gd name="T113" fmla="*/ 288 w 288"/>
                  <a:gd name="T114" fmla="*/ 215 h 215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288" h="215">
                    <a:moveTo>
                      <a:pt x="228" y="203"/>
                    </a:moveTo>
                    <a:lnTo>
                      <a:pt x="217" y="215"/>
                    </a:lnTo>
                    <a:lnTo>
                      <a:pt x="52" y="184"/>
                    </a:lnTo>
                    <a:lnTo>
                      <a:pt x="36" y="136"/>
                    </a:lnTo>
                    <a:lnTo>
                      <a:pt x="3" y="107"/>
                    </a:lnTo>
                    <a:lnTo>
                      <a:pt x="0" y="92"/>
                    </a:lnTo>
                    <a:lnTo>
                      <a:pt x="19" y="84"/>
                    </a:lnTo>
                    <a:lnTo>
                      <a:pt x="17" y="89"/>
                    </a:lnTo>
                    <a:lnTo>
                      <a:pt x="17" y="92"/>
                    </a:lnTo>
                    <a:lnTo>
                      <a:pt x="20" y="95"/>
                    </a:lnTo>
                    <a:lnTo>
                      <a:pt x="17" y="100"/>
                    </a:lnTo>
                    <a:lnTo>
                      <a:pt x="17" y="107"/>
                    </a:lnTo>
                    <a:lnTo>
                      <a:pt x="24" y="107"/>
                    </a:lnTo>
                    <a:lnTo>
                      <a:pt x="30" y="109"/>
                    </a:lnTo>
                    <a:lnTo>
                      <a:pt x="34" y="107"/>
                    </a:lnTo>
                    <a:lnTo>
                      <a:pt x="35" y="107"/>
                    </a:lnTo>
                    <a:lnTo>
                      <a:pt x="36" y="118"/>
                    </a:lnTo>
                    <a:lnTo>
                      <a:pt x="41" y="122"/>
                    </a:lnTo>
                    <a:lnTo>
                      <a:pt x="55" y="124"/>
                    </a:lnTo>
                    <a:lnTo>
                      <a:pt x="70" y="124"/>
                    </a:lnTo>
                    <a:lnTo>
                      <a:pt x="73" y="123"/>
                    </a:lnTo>
                    <a:lnTo>
                      <a:pt x="79" y="118"/>
                    </a:lnTo>
                    <a:lnTo>
                      <a:pt x="88" y="112"/>
                    </a:lnTo>
                    <a:lnTo>
                      <a:pt x="110" y="114"/>
                    </a:lnTo>
                    <a:lnTo>
                      <a:pt x="119" y="118"/>
                    </a:lnTo>
                    <a:lnTo>
                      <a:pt x="125" y="118"/>
                    </a:lnTo>
                    <a:lnTo>
                      <a:pt x="135" y="121"/>
                    </a:lnTo>
                    <a:lnTo>
                      <a:pt x="159" y="119"/>
                    </a:lnTo>
                    <a:lnTo>
                      <a:pt x="164" y="116"/>
                    </a:lnTo>
                    <a:lnTo>
                      <a:pt x="169" y="109"/>
                    </a:lnTo>
                    <a:lnTo>
                      <a:pt x="178" y="107"/>
                    </a:lnTo>
                    <a:lnTo>
                      <a:pt x="180" y="106"/>
                    </a:lnTo>
                    <a:lnTo>
                      <a:pt x="185" y="103"/>
                    </a:lnTo>
                    <a:lnTo>
                      <a:pt x="186" y="102"/>
                    </a:lnTo>
                    <a:lnTo>
                      <a:pt x="184" y="98"/>
                    </a:lnTo>
                    <a:lnTo>
                      <a:pt x="184" y="97"/>
                    </a:lnTo>
                    <a:lnTo>
                      <a:pt x="184" y="96"/>
                    </a:lnTo>
                    <a:lnTo>
                      <a:pt x="192" y="95"/>
                    </a:lnTo>
                    <a:lnTo>
                      <a:pt x="191" y="92"/>
                    </a:lnTo>
                    <a:lnTo>
                      <a:pt x="195" y="91"/>
                    </a:lnTo>
                    <a:lnTo>
                      <a:pt x="194" y="87"/>
                    </a:lnTo>
                    <a:lnTo>
                      <a:pt x="197" y="84"/>
                    </a:lnTo>
                    <a:lnTo>
                      <a:pt x="197" y="80"/>
                    </a:lnTo>
                    <a:lnTo>
                      <a:pt x="201" y="76"/>
                    </a:lnTo>
                    <a:lnTo>
                      <a:pt x="211" y="73"/>
                    </a:lnTo>
                    <a:lnTo>
                      <a:pt x="213" y="65"/>
                    </a:lnTo>
                    <a:lnTo>
                      <a:pt x="217" y="63"/>
                    </a:lnTo>
                    <a:lnTo>
                      <a:pt x="219" y="59"/>
                    </a:lnTo>
                    <a:lnTo>
                      <a:pt x="228" y="53"/>
                    </a:lnTo>
                    <a:lnTo>
                      <a:pt x="233" y="48"/>
                    </a:lnTo>
                    <a:lnTo>
                      <a:pt x="237" y="46"/>
                    </a:lnTo>
                    <a:lnTo>
                      <a:pt x="238" y="43"/>
                    </a:lnTo>
                    <a:lnTo>
                      <a:pt x="239" y="42"/>
                    </a:lnTo>
                    <a:lnTo>
                      <a:pt x="240" y="39"/>
                    </a:lnTo>
                    <a:lnTo>
                      <a:pt x="245" y="35"/>
                    </a:lnTo>
                    <a:lnTo>
                      <a:pt x="245" y="32"/>
                    </a:lnTo>
                    <a:lnTo>
                      <a:pt x="248" y="31"/>
                    </a:lnTo>
                    <a:lnTo>
                      <a:pt x="249" y="27"/>
                    </a:lnTo>
                    <a:lnTo>
                      <a:pt x="259" y="21"/>
                    </a:lnTo>
                    <a:lnTo>
                      <a:pt x="270" y="10"/>
                    </a:lnTo>
                    <a:lnTo>
                      <a:pt x="274" y="0"/>
                    </a:lnTo>
                    <a:lnTo>
                      <a:pt x="275" y="4"/>
                    </a:lnTo>
                    <a:lnTo>
                      <a:pt x="277" y="10"/>
                    </a:lnTo>
                    <a:lnTo>
                      <a:pt x="276" y="12"/>
                    </a:lnTo>
                    <a:lnTo>
                      <a:pt x="277" y="16"/>
                    </a:lnTo>
                    <a:lnTo>
                      <a:pt x="275" y="21"/>
                    </a:lnTo>
                    <a:lnTo>
                      <a:pt x="277" y="22"/>
                    </a:lnTo>
                    <a:lnTo>
                      <a:pt x="285" y="25"/>
                    </a:lnTo>
                    <a:lnTo>
                      <a:pt x="288" y="31"/>
                    </a:lnTo>
                    <a:lnTo>
                      <a:pt x="287" y="64"/>
                    </a:lnTo>
                    <a:lnTo>
                      <a:pt x="288" y="73"/>
                    </a:lnTo>
                    <a:lnTo>
                      <a:pt x="255" y="73"/>
                    </a:lnTo>
                    <a:lnTo>
                      <a:pt x="272" y="119"/>
                    </a:lnTo>
                    <a:lnTo>
                      <a:pt x="239" y="132"/>
                    </a:lnTo>
                    <a:lnTo>
                      <a:pt x="228" y="20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grpSp>
            <p:nvGrpSpPr>
              <p:cNvPr id="126" name="Group 93">
                <a:extLst>
                  <a:ext uri="{FF2B5EF4-FFF2-40B4-BE49-F238E27FC236}">
                    <a16:creationId xmlns:a16="http://schemas.microsoft.com/office/drawing/2014/main" id="{5CF4C70D-E04E-1BDF-FF91-E9B788A5C076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802" y="1979"/>
                <a:ext cx="205" cy="88"/>
                <a:chOff x="2802" y="1979"/>
                <a:chExt cx="205" cy="88"/>
              </a:xfrm>
              <a:grpFill/>
            </p:grpSpPr>
            <p:sp>
              <p:nvSpPr>
                <p:cNvPr id="130" name="Freeform 94">
                  <a:extLst>
                    <a:ext uri="{FF2B5EF4-FFF2-40B4-BE49-F238E27FC236}">
                      <a16:creationId xmlns:a16="http://schemas.microsoft.com/office/drawing/2014/main" id="{98B73DA2-6400-73C5-2BDA-B9C13CC0E64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803" y="1979"/>
                  <a:ext cx="204" cy="88"/>
                </a:xfrm>
                <a:custGeom>
                  <a:avLst/>
                  <a:gdLst>
                    <a:gd name="T0" fmla="*/ 22 w 1022"/>
                    <a:gd name="T1" fmla="*/ 15 h 439"/>
                    <a:gd name="T2" fmla="*/ 20 w 1022"/>
                    <a:gd name="T3" fmla="*/ 16 h 439"/>
                    <a:gd name="T4" fmla="*/ 18 w 1022"/>
                    <a:gd name="T5" fmla="*/ 15 h 439"/>
                    <a:gd name="T6" fmla="*/ 16 w 1022"/>
                    <a:gd name="T7" fmla="*/ 17 h 439"/>
                    <a:gd name="T8" fmla="*/ 14 w 1022"/>
                    <a:gd name="T9" fmla="*/ 16 h 439"/>
                    <a:gd name="T10" fmla="*/ 11 w 1022"/>
                    <a:gd name="T11" fmla="*/ 15 h 439"/>
                    <a:gd name="T12" fmla="*/ 10 w 1022"/>
                    <a:gd name="T13" fmla="*/ 16 h 439"/>
                    <a:gd name="T14" fmla="*/ 8 w 1022"/>
                    <a:gd name="T15" fmla="*/ 17 h 439"/>
                    <a:gd name="T16" fmla="*/ 7 w 1022"/>
                    <a:gd name="T17" fmla="*/ 15 h 439"/>
                    <a:gd name="T18" fmla="*/ 6 w 1022"/>
                    <a:gd name="T19" fmla="*/ 15 h 439"/>
                    <a:gd name="T20" fmla="*/ 4 w 1022"/>
                    <a:gd name="T21" fmla="*/ 15 h 439"/>
                    <a:gd name="T22" fmla="*/ 3 w 1022"/>
                    <a:gd name="T23" fmla="*/ 15 h 439"/>
                    <a:gd name="T24" fmla="*/ 5 w 1022"/>
                    <a:gd name="T25" fmla="*/ 15 h 439"/>
                    <a:gd name="T26" fmla="*/ 3 w 1022"/>
                    <a:gd name="T27" fmla="*/ 14 h 439"/>
                    <a:gd name="T28" fmla="*/ 3 w 1022"/>
                    <a:gd name="T29" fmla="*/ 13 h 439"/>
                    <a:gd name="T30" fmla="*/ 2 w 1022"/>
                    <a:gd name="T31" fmla="*/ 13 h 439"/>
                    <a:gd name="T32" fmla="*/ 1 w 1022"/>
                    <a:gd name="T33" fmla="*/ 11 h 439"/>
                    <a:gd name="T34" fmla="*/ 0 w 1022"/>
                    <a:gd name="T35" fmla="*/ 11 h 439"/>
                    <a:gd name="T36" fmla="*/ 1 w 1022"/>
                    <a:gd name="T37" fmla="*/ 10 h 439"/>
                    <a:gd name="T38" fmla="*/ 2 w 1022"/>
                    <a:gd name="T39" fmla="*/ 10 h 439"/>
                    <a:gd name="T40" fmla="*/ 2 w 1022"/>
                    <a:gd name="T41" fmla="*/ 9 h 439"/>
                    <a:gd name="T42" fmla="*/ 2 w 1022"/>
                    <a:gd name="T43" fmla="*/ 7 h 439"/>
                    <a:gd name="T44" fmla="*/ 0 w 1022"/>
                    <a:gd name="T45" fmla="*/ 6 h 439"/>
                    <a:gd name="T46" fmla="*/ 1 w 1022"/>
                    <a:gd name="T47" fmla="*/ 5 h 439"/>
                    <a:gd name="T48" fmla="*/ 4 w 1022"/>
                    <a:gd name="T49" fmla="*/ 5 h 439"/>
                    <a:gd name="T50" fmla="*/ 4 w 1022"/>
                    <a:gd name="T51" fmla="*/ 5 h 439"/>
                    <a:gd name="T52" fmla="*/ 6 w 1022"/>
                    <a:gd name="T53" fmla="*/ 4 h 439"/>
                    <a:gd name="T54" fmla="*/ 8 w 1022"/>
                    <a:gd name="T55" fmla="*/ 4 h 439"/>
                    <a:gd name="T56" fmla="*/ 7 w 1022"/>
                    <a:gd name="T57" fmla="*/ 3 h 439"/>
                    <a:gd name="T58" fmla="*/ 7 w 1022"/>
                    <a:gd name="T59" fmla="*/ 3 h 439"/>
                    <a:gd name="T60" fmla="*/ 10 w 1022"/>
                    <a:gd name="T61" fmla="*/ 3 h 439"/>
                    <a:gd name="T62" fmla="*/ 13 w 1022"/>
                    <a:gd name="T63" fmla="*/ 2 h 439"/>
                    <a:gd name="T64" fmla="*/ 16 w 1022"/>
                    <a:gd name="T65" fmla="*/ 0 h 439"/>
                    <a:gd name="T66" fmla="*/ 20 w 1022"/>
                    <a:gd name="T67" fmla="*/ 0 h 439"/>
                    <a:gd name="T68" fmla="*/ 21 w 1022"/>
                    <a:gd name="T69" fmla="*/ 1 h 439"/>
                    <a:gd name="T70" fmla="*/ 25 w 1022"/>
                    <a:gd name="T71" fmla="*/ 3 h 439"/>
                    <a:gd name="T72" fmla="*/ 28 w 1022"/>
                    <a:gd name="T73" fmla="*/ 3 h 439"/>
                    <a:gd name="T74" fmla="*/ 33 w 1022"/>
                    <a:gd name="T75" fmla="*/ 2 h 439"/>
                    <a:gd name="T76" fmla="*/ 35 w 1022"/>
                    <a:gd name="T77" fmla="*/ 2 h 439"/>
                    <a:gd name="T78" fmla="*/ 37 w 1022"/>
                    <a:gd name="T79" fmla="*/ 2 h 439"/>
                    <a:gd name="T80" fmla="*/ 38 w 1022"/>
                    <a:gd name="T81" fmla="*/ 4 h 439"/>
                    <a:gd name="T82" fmla="*/ 40 w 1022"/>
                    <a:gd name="T83" fmla="*/ 6 h 439"/>
                    <a:gd name="T84" fmla="*/ 40 w 1022"/>
                    <a:gd name="T85" fmla="*/ 7 h 439"/>
                    <a:gd name="T86" fmla="*/ 40 w 1022"/>
                    <a:gd name="T87" fmla="*/ 11 h 439"/>
                    <a:gd name="T88" fmla="*/ 41 w 1022"/>
                    <a:gd name="T89" fmla="*/ 14 h 439"/>
                    <a:gd name="T90" fmla="*/ 38 w 1022"/>
                    <a:gd name="T91" fmla="*/ 13 h 439"/>
                    <a:gd name="T92" fmla="*/ 35 w 1022"/>
                    <a:gd name="T93" fmla="*/ 14 h 439"/>
                    <a:gd name="T94" fmla="*/ 33 w 1022"/>
                    <a:gd name="T95" fmla="*/ 14 h 439"/>
                    <a:gd name="T96" fmla="*/ 31 w 1022"/>
                    <a:gd name="T97" fmla="*/ 15 h 439"/>
                    <a:gd name="T98" fmla="*/ 27 w 1022"/>
                    <a:gd name="T99" fmla="*/ 15 h 439"/>
                    <a:gd name="T100" fmla="*/ 25 w 1022"/>
                    <a:gd name="T101" fmla="*/ 15 h 439"/>
                    <a:gd name="T102" fmla="*/ 24 w 1022"/>
                    <a:gd name="T103" fmla="*/ 15 h 439"/>
                    <a:gd name="T104" fmla="*/ 23 w 1022"/>
                    <a:gd name="T105" fmla="*/ 15 h 439"/>
                    <a:gd name="T106" fmla="*/ 23 w 1022"/>
                    <a:gd name="T107" fmla="*/ 16 h 439"/>
                    <a:gd name="T108" fmla="*/ 22 w 1022"/>
                    <a:gd name="T109" fmla="*/ 17 h 439"/>
                    <a:gd name="T110" fmla="*/ 22 w 1022"/>
                    <a:gd name="T111" fmla="*/ 17 h 439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w 1022"/>
                    <a:gd name="T169" fmla="*/ 0 h 439"/>
                    <a:gd name="T170" fmla="*/ 1022 w 1022"/>
                    <a:gd name="T171" fmla="*/ 439 h 439"/>
                  </a:gdLst>
                  <a:ahLst/>
                  <a:cxnLst>
                    <a:cxn ang="T112">
                      <a:pos x="T0" y="T1"/>
                    </a:cxn>
                    <a:cxn ang="T113">
                      <a:pos x="T2" y="T3"/>
                    </a:cxn>
                    <a:cxn ang="T114">
                      <a:pos x="T4" y="T5"/>
                    </a:cxn>
                    <a:cxn ang="T115">
                      <a:pos x="T6" y="T7"/>
                    </a:cxn>
                    <a:cxn ang="T116">
                      <a:pos x="T8" y="T9"/>
                    </a:cxn>
                    <a:cxn ang="T117">
                      <a:pos x="T10" y="T11"/>
                    </a:cxn>
                    <a:cxn ang="T118">
                      <a:pos x="T12" y="T13"/>
                    </a:cxn>
                    <a:cxn ang="T119">
                      <a:pos x="T14" y="T15"/>
                    </a:cxn>
                    <a:cxn ang="T120">
                      <a:pos x="T16" y="T17"/>
                    </a:cxn>
                    <a:cxn ang="T121">
                      <a:pos x="T18" y="T19"/>
                    </a:cxn>
                    <a:cxn ang="T122">
                      <a:pos x="T20" y="T21"/>
                    </a:cxn>
                    <a:cxn ang="T123">
                      <a:pos x="T22" y="T23"/>
                    </a:cxn>
                    <a:cxn ang="T124">
                      <a:pos x="T24" y="T25"/>
                    </a:cxn>
                    <a:cxn ang="T125">
                      <a:pos x="T26" y="T27"/>
                    </a:cxn>
                    <a:cxn ang="T126">
                      <a:pos x="T28" y="T29"/>
                    </a:cxn>
                    <a:cxn ang="T127">
                      <a:pos x="T30" y="T31"/>
                    </a:cxn>
                    <a:cxn ang="T128">
                      <a:pos x="T32" y="T33"/>
                    </a:cxn>
                    <a:cxn ang="T129">
                      <a:pos x="T34" y="T35"/>
                    </a:cxn>
                    <a:cxn ang="T130">
                      <a:pos x="T36" y="T37"/>
                    </a:cxn>
                    <a:cxn ang="T131">
                      <a:pos x="T38" y="T39"/>
                    </a:cxn>
                    <a:cxn ang="T132">
                      <a:pos x="T40" y="T41"/>
                    </a:cxn>
                    <a:cxn ang="T133">
                      <a:pos x="T42" y="T43"/>
                    </a:cxn>
                    <a:cxn ang="T134">
                      <a:pos x="T44" y="T45"/>
                    </a:cxn>
                    <a:cxn ang="T135">
                      <a:pos x="T46" y="T47"/>
                    </a:cxn>
                    <a:cxn ang="T136">
                      <a:pos x="T48" y="T49"/>
                    </a:cxn>
                    <a:cxn ang="T137">
                      <a:pos x="T50" y="T51"/>
                    </a:cxn>
                    <a:cxn ang="T138">
                      <a:pos x="T52" y="T53"/>
                    </a:cxn>
                    <a:cxn ang="T139">
                      <a:pos x="T54" y="T55"/>
                    </a:cxn>
                    <a:cxn ang="T140">
                      <a:pos x="T56" y="T57"/>
                    </a:cxn>
                    <a:cxn ang="T141">
                      <a:pos x="T58" y="T59"/>
                    </a:cxn>
                    <a:cxn ang="T142">
                      <a:pos x="T60" y="T61"/>
                    </a:cxn>
                    <a:cxn ang="T143">
                      <a:pos x="T62" y="T63"/>
                    </a:cxn>
                    <a:cxn ang="T144">
                      <a:pos x="T64" y="T65"/>
                    </a:cxn>
                    <a:cxn ang="T145">
                      <a:pos x="T66" y="T67"/>
                    </a:cxn>
                    <a:cxn ang="T146">
                      <a:pos x="T68" y="T69"/>
                    </a:cxn>
                    <a:cxn ang="T147">
                      <a:pos x="T70" y="T71"/>
                    </a:cxn>
                    <a:cxn ang="T148">
                      <a:pos x="T72" y="T73"/>
                    </a:cxn>
                    <a:cxn ang="T149">
                      <a:pos x="T74" y="T75"/>
                    </a:cxn>
                    <a:cxn ang="T150">
                      <a:pos x="T76" y="T77"/>
                    </a:cxn>
                    <a:cxn ang="T151">
                      <a:pos x="T78" y="T79"/>
                    </a:cxn>
                    <a:cxn ang="T152">
                      <a:pos x="T80" y="T81"/>
                    </a:cxn>
                    <a:cxn ang="T153">
                      <a:pos x="T82" y="T83"/>
                    </a:cxn>
                    <a:cxn ang="T154">
                      <a:pos x="T84" y="T85"/>
                    </a:cxn>
                    <a:cxn ang="T155">
                      <a:pos x="T86" y="T87"/>
                    </a:cxn>
                    <a:cxn ang="T156">
                      <a:pos x="T88" y="T89"/>
                    </a:cxn>
                    <a:cxn ang="T157">
                      <a:pos x="T90" y="T91"/>
                    </a:cxn>
                    <a:cxn ang="T158">
                      <a:pos x="T92" y="T93"/>
                    </a:cxn>
                    <a:cxn ang="T159">
                      <a:pos x="T94" y="T95"/>
                    </a:cxn>
                    <a:cxn ang="T160">
                      <a:pos x="T96" y="T97"/>
                    </a:cxn>
                    <a:cxn ang="T161">
                      <a:pos x="T98" y="T99"/>
                    </a:cxn>
                    <a:cxn ang="T162">
                      <a:pos x="T100" y="T101"/>
                    </a:cxn>
                    <a:cxn ang="T163">
                      <a:pos x="T102" y="T103"/>
                    </a:cxn>
                    <a:cxn ang="T164">
                      <a:pos x="T104" y="T105"/>
                    </a:cxn>
                    <a:cxn ang="T165">
                      <a:pos x="T106" y="T107"/>
                    </a:cxn>
                    <a:cxn ang="T166">
                      <a:pos x="T108" y="T109"/>
                    </a:cxn>
                    <a:cxn ang="T167">
                      <a:pos x="T110" y="T111"/>
                    </a:cxn>
                  </a:cxnLst>
                  <a:rect l="T168" t="T169" r="T170" b="T171"/>
                  <a:pathLst>
                    <a:path w="1022" h="439">
                      <a:moveTo>
                        <a:pt x="538" y="424"/>
                      </a:moveTo>
                      <a:lnTo>
                        <a:pt x="535" y="411"/>
                      </a:lnTo>
                      <a:lnTo>
                        <a:pt x="538" y="395"/>
                      </a:lnTo>
                      <a:lnTo>
                        <a:pt x="548" y="389"/>
                      </a:lnTo>
                      <a:lnTo>
                        <a:pt x="552" y="379"/>
                      </a:lnTo>
                      <a:lnTo>
                        <a:pt x="543" y="370"/>
                      </a:lnTo>
                      <a:lnTo>
                        <a:pt x="526" y="378"/>
                      </a:lnTo>
                      <a:lnTo>
                        <a:pt x="524" y="389"/>
                      </a:lnTo>
                      <a:lnTo>
                        <a:pt x="516" y="391"/>
                      </a:lnTo>
                      <a:lnTo>
                        <a:pt x="503" y="390"/>
                      </a:lnTo>
                      <a:lnTo>
                        <a:pt x="493" y="381"/>
                      </a:lnTo>
                      <a:lnTo>
                        <a:pt x="484" y="376"/>
                      </a:lnTo>
                      <a:lnTo>
                        <a:pt x="477" y="374"/>
                      </a:lnTo>
                      <a:lnTo>
                        <a:pt x="471" y="374"/>
                      </a:lnTo>
                      <a:lnTo>
                        <a:pt x="460" y="379"/>
                      </a:lnTo>
                      <a:lnTo>
                        <a:pt x="441" y="397"/>
                      </a:lnTo>
                      <a:lnTo>
                        <a:pt x="436" y="406"/>
                      </a:lnTo>
                      <a:lnTo>
                        <a:pt x="427" y="407"/>
                      </a:lnTo>
                      <a:lnTo>
                        <a:pt x="419" y="414"/>
                      </a:lnTo>
                      <a:lnTo>
                        <a:pt x="408" y="418"/>
                      </a:lnTo>
                      <a:lnTo>
                        <a:pt x="397" y="417"/>
                      </a:lnTo>
                      <a:lnTo>
                        <a:pt x="379" y="422"/>
                      </a:lnTo>
                      <a:lnTo>
                        <a:pt x="369" y="427"/>
                      </a:lnTo>
                      <a:lnTo>
                        <a:pt x="350" y="421"/>
                      </a:lnTo>
                      <a:lnTo>
                        <a:pt x="341" y="409"/>
                      </a:lnTo>
                      <a:lnTo>
                        <a:pt x="337" y="402"/>
                      </a:lnTo>
                      <a:lnTo>
                        <a:pt x="331" y="397"/>
                      </a:lnTo>
                      <a:lnTo>
                        <a:pt x="321" y="391"/>
                      </a:lnTo>
                      <a:lnTo>
                        <a:pt x="295" y="379"/>
                      </a:lnTo>
                      <a:lnTo>
                        <a:pt x="283" y="370"/>
                      </a:lnTo>
                      <a:lnTo>
                        <a:pt x="267" y="368"/>
                      </a:lnTo>
                      <a:lnTo>
                        <a:pt x="257" y="370"/>
                      </a:lnTo>
                      <a:lnTo>
                        <a:pt x="248" y="370"/>
                      </a:lnTo>
                      <a:lnTo>
                        <a:pt x="245" y="379"/>
                      </a:lnTo>
                      <a:lnTo>
                        <a:pt x="245" y="391"/>
                      </a:lnTo>
                      <a:lnTo>
                        <a:pt x="242" y="396"/>
                      </a:lnTo>
                      <a:lnTo>
                        <a:pt x="240" y="407"/>
                      </a:lnTo>
                      <a:lnTo>
                        <a:pt x="220" y="412"/>
                      </a:lnTo>
                      <a:lnTo>
                        <a:pt x="207" y="417"/>
                      </a:lnTo>
                      <a:lnTo>
                        <a:pt x="196" y="417"/>
                      </a:lnTo>
                      <a:lnTo>
                        <a:pt x="186" y="414"/>
                      </a:lnTo>
                      <a:lnTo>
                        <a:pt x="176" y="409"/>
                      </a:lnTo>
                      <a:lnTo>
                        <a:pt x="167" y="401"/>
                      </a:lnTo>
                      <a:lnTo>
                        <a:pt x="164" y="386"/>
                      </a:lnTo>
                      <a:lnTo>
                        <a:pt x="164" y="381"/>
                      </a:lnTo>
                      <a:lnTo>
                        <a:pt x="156" y="378"/>
                      </a:lnTo>
                      <a:lnTo>
                        <a:pt x="154" y="382"/>
                      </a:lnTo>
                      <a:lnTo>
                        <a:pt x="155" y="386"/>
                      </a:lnTo>
                      <a:lnTo>
                        <a:pt x="151" y="386"/>
                      </a:lnTo>
                      <a:lnTo>
                        <a:pt x="143" y="380"/>
                      </a:lnTo>
                      <a:lnTo>
                        <a:pt x="137" y="374"/>
                      </a:lnTo>
                      <a:lnTo>
                        <a:pt x="134" y="373"/>
                      </a:lnTo>
                      <a:lnTo>
                        <a:pt x="119" y="374"/>
                      </a:lnTo>
                      <a:lnTo>
                        <a:pt x="117" y="380"/>
                      </a:lnTo>
                      <a:lnTo>
                        <a:pt x="107" y="386"/>
                      </a:lnTo>
                      <a:lnTo>
                        <a:pt x="105" y="386"/>
                      </a:lnTo>
                      <a:lnTo>
                        <a:pt x="108" y="379"/>
                      </a:lnTo>
                      <a:lnTo>
                        <a:pt x="107" y="375"/>
                      </a:lnTo>
                      <a:lnTo>
                        <a:pt x="73" y="385"/>
                      </a:lnTo>
                      <a:lnTo>
                        <a:pt x="79" y="378"/>
                      </a:lnTo>
                      <a:lnTo>
                        <a:pt x="87" y="371"/>
                      </a:lnTo>
                      <a:lnTo>
                        <a:pt x="101" y="371"/>
                      </a:lnTo>
                      <a:lnTo>
                        <a:pt x="108" y="368"/>
                      </a:lnTo>
                      <a:lnTo>
                        <a:pt x="110" y="366"/>
                      </a:lnTo>
                      <a:lnTo>
                        <a:pt x="118" y="362"/>
                      </a:lnTo>
                      <a:lnTo>
                        <a:pt x="122" y="357"/>
                      </a:lnTo>
                      <a:lnTo>
                        <a:pt x="113" y="355"/>
                      </a:lnTo>
                      <a:lnTo>
                        <a:pt x="92" y="360"/>
                      </a:lnTo>
                      <a:lnTo>
                        <a:pt x="69" y="360"/>
                      </a:lnTo>
                      <a:lnTo>
                        <a:pt x="67" y="355"/>
                      </a:lnTo>
                      <a:lnTo>
                        <a:pt x="79" y="344"/>
                      </a:lnTo>
                      <a:lnTo>
                        <a:pt x="71" y="336"/>
                      </a:lnTo>
                      <a:lnTo>
                        <a:pt x="68" y="333"/>
                      </a:lnTo>
                      <a:lnTo>
                        <a:pt x="63" y="333"/>
                      </a:lnTo>
                      <a:lnTo>
                        <a:pt x="64" y="325"/>
                      </a:lnTo>
                      <a:lnTo>
                        <a:pt x="69" y="321"/>
                      </a:lnTo>
                      <a:lnTo>
                        <a:pt x="71" y="316"/>
                      </a:lnTo>
                      <a:lnTo>
                        <a:pt x="64" y="317"/>
                      </a:lnTo>
                      <a:lnTo>
                        <a:pt x="57" y="320"/>
                      </a:lnTo>
                      <a:lnTo>
                        <a:pt x="52" y="312"/>
                      </a:lnTo>
                      <a:lnTo>
                        <a:pt x="59" y="309"/>
                      </a:lnTo>
                      <a:lnTo>
                        <a:pt x="60" y="300"/>
                      </a:lnTo>
                      <a:lnTo>
                        <a:pt x="56" y="290"/>
                      </a:lnTo>
                      <a:lnTo>
                        <a:pt x="51" y="287"/>
                      </a:lnTo>
                      <a:lnTo>
                        <a:pt x="37" y="283"/>
                      </a:lnTo>
                      <a:lnTo>
                        <a:pt x="30" y="277"/>
                      </a:lnTo>
                      <a:lnTo>
                        <a:pt x="20" y="279"/>
                      </a:lnTo>
                      <a:lnTo>
                        <a:pt x="16" y="277"/>
                      </a:lnTo>
                      <a:lnTo>
                        <a:pt x="10" y="271"/>
                      </a:lnTo>
                      <a:lnTo>
                        <a:pt x="10" y="268"/>
                      </a:lnTo>
                      <a:lnTo>
                        <a:pt x="16" y="266"/>
                      </a:lnTo>
                      <a:lnTo>
                        <a:pt x="17" y="256"/>
                      </a:lnTo>
                      <a:lnTo>
                        <a:pt x="16" y="251"/>
                      </a:lnTo>
                      <a:lnTo>
                        <a:pt x="19" y="245"/>
                      </a:lnTo>
                      <a:lnTo>
                        <a:pt x="22" y="246"/>
                      </a:lnTo>
                      <a:lnTo>
                        <a:pt x="28" y="262"/>
                      </a:lnTo>
                      <a:lnTo>
                        <a:pt x="35" y="263"/>
                      </a:lnTo>
                      <a:lnTo>
                        <a:pt x="43" y="262"/>
                      </a:lnTo>
                      <a:lnTo>
                        <a:pt x="54" y="262"/>
                      </a:lnTo>
                      <a:lnTo>
                        <a:pt x="52" y="260"/>
                      </a:lnTo>
                      <a:lnTo>
                        <a:pt x="42" y="255"/>
                      </a:lnTo>
                      <a:lnTo>
                        <a:pt x="37" y="246"/>
                      </a:lnTo>
                      <a:lnTo>
                        <a:pt x="38" y="239"/>
                      </a:lnTo>
                      <a:lnTo>
                        <a:pt x="47" y="231"/>
                      </a:lnTo>
                      <a:lnTo>
                        <a:pt x="44" y="226"/>
                      </a:lnTo>
                      <a:lnTo>
                        <a:pt x="38" y="220"/>
                      </a:lnTo>
                      <a:lnTo>
                        <a:pt x="38" y="214"/>
                      </a:lnTo>
                      <a:lnTo>
                        <a:pt x="32" y="206"/>
                      </a:lnTo>
                      <a:lnTo>
                        <a:pt x="33" y="195"/>
                      </a:lnTo>
                      <a:lnTo>
                        <a:pt x="43" y="186"/>
                      </a:lnTo>
                      <a:lnTo>
                        <a:pt x="41" y="182"/>
                      </a:lnTo>
                      <a:lnTo>
                        <a:pt x="25" y="186"/>
                      </a:lnTo>
                      <a:lnTo>
                        <a:pt x="0" y="186"/>
                      </a:lnTo>
                      <a:lnTo>
                        <a:pt x="0" y="181"/>
                      </a:lnTo>
                      <a:lnTo>
                        <a:pt x="3" y="160"/>
                      </a:lnTo>
                      <a:lnTo>
                        <a:pt x="8" y="150"/>
                      </a:lnTo>
                      <a:lnTo>
                        <a:pt x="14" y="149"/>
                      </a:lnTo>
                      <a:lnTo>
                        <a:pt x="20" y="138"/>
                      </a:lnTo>
                      <a:lnTo>
                        <a:pt x="27" y="132"/>
                      </a:lnTo>
                      <a:lnTo>
                        <a:pt x="35" y="122"/>
                      </a:lnTo>
                      <a:lnTo>
                        <a:pt x="48" y="123"/>
                      </a:lnTo>
                      <a:lnTo>
                        <a:pt x="63" y="118"/>
                      </a:lnTo>
                      <a:lnTo>
                        <a:pt x="68" y="123"/>
                      </a:lnTo>
                      <a:lnTo>
                        <a:pt x="80" y="127"/>
                      </a:lnTo>
                      <a:lnTo>
                        <a:pt x="91" y="126"/>
                      </a:lnTo>
                      <a:lnTo>
                        <a:pt x="87" y="112"/>
                      </a:lnTo>
                      <a:lnTo>
                        <a:pt x="96" y="113"/>
                      </a:lnTo>
                      <a:lnTo>
                        <a:pt x="102" y="117"/>
                      </a:lnTo>
                      <a:lnTo>
                        <a:pt x="101" y="122"/>
                      </a:lnTo>
                      <a:lnTo>
                        <a:pt x="108" y="123"/>
                      </a:lnTo>
                      <a:lnTo>
                        <a:pt x="122" y="121"/>
                      </a:lnTo>
                      <a:lnTo>
                        <a:pt x="149" y="121"/>
                      </a:lnTo>
                      <a:lnTo>
                        <a:pt x="161" y="120"/>
                      </a:lnTo>
                      <a:lnTo>
                        <a:pt x="160" y="113"/>
                      </a:lnTo>
                      <a:lnTo>
                        <a:pt x="151" y="111"/>
                      </a:lnTo>
                      <a:lnTo>
                        <a:pt x="150" y="107"/>
                      </a:lnTo>
                      <a:lnTo>
                        <a:pt x="160" y="104"/>
                      </a:lnTo>
                      <a:lnTo>
                        <a:pt x="204" y="100"/>
                      </a:lnTo>
                      <a:lnTo>
                        <a:pt x="204" y="96"/>
                      </a:lnTo>
                      <a:lnTo>
                        <a:pt x="196" y="94"/>
                      </a:lnTo>
                      <a:lnTo>
                        <a:pt x="189" y="96"/>
                      </a:lnTo>
                      <a:lnTo>
                        <a:pt x="176" y="94"/>
                      </a:lnTo>
                      <a:lnTo>
                        <a:pt x="173" y="90"/>
                      </a:lnTo>
                      <a:lnTo>
                        <a:pt x="170" y="89"/>
                      </a:lnTo>
                      <a:lnTo>
                        <a:pt x="167" y="83"/>
                      </a:lnTo>
                      <a:lnTo>
                        <a:pt x="161" y="79"/>
                      </a:lnTo>
                      <a:lnTo>
                        <a:pt x="164" y="73"/>
                      </a:lnTo>
                      <a:lnTo>
                        <a:pt x="170" y="62"/>
                      </a:lnTo>
                      <a:lnTo>
                        <a:pt x="171" y="66"/>
                      </a:lnTo>
                      <a:lnTo>
                        <a:pt x="180" y="66"/>
                      </a:lnTo>
                      <a:lnTo>
                        <a:pt x="193" y="69"/>
                      </a:lnTo>
                      <a:lnTo>
                        <a:pt x="231" y="68"/>
                      </a:lnTo>
                      <a:lnTo>
                        <a:pt x="242" y="72"/>
                      </a:lnTo>
                      <a:lnTo>
                        <a:pt x="248" y="75"/>
                      </a:lnTo>
                      <a:lnTo>
                        <a:pt x="253" y="74"/>
                      </a:lnTo>
                      <a:lnTo>
                        <a:pt x="274" y="77"/>
                      </a:lnTo>
                      <a:lnTo>
                        <a:pt x="288" y="70"/>
                      </a:lnTo>
                      <a:lnTo>
                        <a:pt x="295" y="57"/>
                      </a:lnTo>
                      <a:lnTo>
                        <a:pt x="307" y="51"/>
                      </a:lnTo>
                      <a:lnTo>
                        <a:pt x="318" y="41"/>
                      </a:lnTo>
                      <a:lnTo>
                        <a:pt x="332" y="36"/>
                      </a:lnTo>
                      <a:lnTo>
                        <a:pt x="343" y="26"/>
                      </a:lnTo>
                      <a:lnTo>
                        <a:pt x="355" y="19"/>
                      </a:lnTo>
                      <a:lnTo>
                        <a:pt x="381" y="9"/>
                      </a:lnTo>
                      <a:lnTo>
                        <a:pt x="398" y="7"/>
                      </a:lnTo>
                      <a:lnTo>
                        <a:pt x="414" y="5"/>
                      </a:lnTo>
                      <a:lnTo>
                        <a:pt x="436" y="8"/>
                      </a:lnTo>
                      <a:lnTo>
                        <a:pt x="473" y="8"/>
                      </a:lnTo>
                      <a:lnTo>
                        <a:pt x="485" y="2"/>
                      </a:lnTo>
                      <a:lnTo>
                        <a:pt x="493" y="0"/>
                      </a:lnTo>
                      <a:lnTo>
                        <a:pt x="499" y="3"/>
                      </a:lnTo>
                      <a:lnTo>
                        <a:pt x="499" y="10"/>
                      </a:lnTo>
                      <a:lnTo>
                        <a:pt x="506" y="21"/>
                      </a:lnTo>
                      <a:lnTo>
                        <a:pt x="520" y="29"/>
                      </a:lnTo>
                      <a:lnTo>
                        <a:pt x="533" y="35"/>
                      </a:lnTo>
                      <a:lnTo>
                        <a:pt x="546" y="26"/>
                      </a:lnTo>
                      <a:lnTo>
                        <a:pt x="553" y="37"/>
                      </a:lnTo>
                      <a:lnTo>
                        <a:pt x="560" y="58"/>
                      </a:lnTo>
                      <a:lnTo>
                        <a:pt x="587" y="61"/>
                      </a:lnTo>
                      <a:lnTo>
                        <a:pt x="623" y="80"/>
                      </a:lnTo>
                      <a:lnTo>
                        <a:pt x="629" y="77"/>
                      </a:lnTo>
                      <a:lnTo>
                        <a:pt x="635" y="74"/>
                      </a:lnTo>
                      <a:lnTo>
                        <a:pt x="656" y="84"/>
                      </a:lnTo>
                      <a:lnTo>
                        <a:pt x="677" y="83"/>
                      </a:lnTo>
                      <a:lnTo>
                        <a:pt x="693" y="77"/>
                      </a:lnTo>
                      <a:lnTo>
                        <a:pt x="724" y="72"/>
                      </a:lnTo>
                      <a:lnTo>
                        <a:pt x="758" y="80"/>
                      </a:lnTo>
                      <a:lnTo>
                        <a:pt x="779" y="79"/>
                      </a:lnTo>
                      <a:lnTo>
                        <a:pt x="820" y="51"/>
                      </a:lnTo>
                      <a:lnTo>
                        <a:pt x="838" y="40"/>
                      </a:lnTo>
                      <a:lnTo>
                        <a:pt x="840" y="35"/>
                      </a:lnTo>
                      <a:lnTo>
                        <a:pt x="847" y="41"/>
                      </a:lnTo>
                      <a:lnTo>
                        <a:pt x="855" y="41"/>
                      </a:lnTo>
                      <a:lnTo>
                        <a:pt x="868" y="37"/>
                      </a:lnTo>
                      <a:lnTo>
                        <a:pt x="887" y="43"/>
                      </a:lnTo>
                      <a:lnTo>
                        <a:pt x="893" y="43"/>
                      </a:lnTo>
                      <a:lnTo>
                        <a:pt x="898" y="36"/>
                      </a:lnTo>
                      <a:lnTo>
                        <a:pt x="903" y="32"/>
                      </a:lnTo>
                      <a:lnTo>
                        <a:pt x="911" y="35"/>
                      </a:lnTo>
                      <a:lnTo>
                        <a:pt x="919" y="42"/>
                      </a:lnTo>
                      <a:lnTo>
                        <a:pt x="930" y="58"/>
                      </a:lnTo>
                      <a:lnTo>
                        <a:pt x="935" y="59"/>
                      </a:lnTo>
                      <a:lnTo>
                        <a:pt x="944" y="69"/>
                      </a:lnTo>
                      <a:lnTo>
                        <a:pt x="951" y="75"/>
                      </a:lnTo>
                      <a:lnTo>
                        <a:pt x="958" y="89"/>
                      </a:lnTo>
                      <a:lnTo>
                        <a:pt x="960" y="109"/>
                      </a:lnTo>
                      <a:lnTo>
                        <a:pt x="963" y="123"/>
                      </a:lnTo>
                      <a:lnTo>
                        <a:pt x="971" y="133"/>
                      </a:lnTo>
                      <a:lnTo>
                        <a:pt x="982" y="137"/>
                      </a:lnTo>
                      <a:lnTo>
                        <a:pt x="990" y="143"/>
                      </a:lnTo>
                      <a:lnTo>
                        <a:pt x="1000" y="153"/>
                      </a:lnTo>
                      <a:lnTo>
                        <a:pt x="1008" y="156"/>
                      </a:lnTo>
                      <a:lnTo>
                        <a:pt x="1012" y="161"/>
                      </a:lnTo>
                      <a:lnTo>
                        <a:pt x="1003" y="179"/>
                      </a:lnTo>
                      <a:lnTo>
                        <a:pt x="1001" y="186"/>
                      </a:lnTo>
                      <a:lnTo>
                        <a:pt x="987" y="195"/>
                      </a:lnTo>
                      <a:lnTo>
                        <a:pt x="988" y="202"/>
                      </a:lnTo>
                      <a:lnTo>
                        <a:pt x="995" y="219"/>
                      </a:lnTo>
                      <a:lnTo>
                        <a:pt x="997" y="246"/>
                      </a:lnTo>
                      <a:lnTo>
                        <a:pt x="997" y="263"/>
                      </a:lnTo>
                      <a:lnTo>
                        <a:pt x="999" y="279"/>
                      </a:lnTo>
                      <a:lnTo>
                        <a:pt x="995" y="300"/>
                      </a:lnTo>
                      <a:lnTo>
                        <a:pt x="1009" y="308"/>
                      </a:lnTo>
                      <a:lnTo>
                        <a:pt x="1021" y="325"/>
                      </a:lnTo>
                      <a:lnTo>
                        <a:pt x="1022" y="341"/>
                      </a:lnTo>
                      <a:lnTo>
                        <a:pt x="1015" y="348"/>
                      </a:lnTo>
                      <a:lnTo>
                        <a:pt x="1000" y="347"/>
                      </a:lnTo>
                      <a:lnTo>
                        <a:pt x="990" y="336"/>
                      </a:lnTo>
                      <a:lnTo>
                        <a:pt x="973" y="337"/>
                      </a:lnTo>
                      <a:lnTo>
                        <a:pt x="942" y="336"/>
                      </a:lnTo>
                      <a:lnTo>
                        <a:pt x="922" y="327"/>
                      </a:lnTo>
                      <a:lnTo>
                        <a:pt x="897" y="348"/>
                      </a:lnTo>
                      <a:lnTo>
                        <a:pt x="888" y="349"/>
                      </a:lnTo>
                      <a:lnTo>
                        <a:pt x="887" y="347"/>
                      </a:lnTo>
                      <a:lnTo>
                        <a:pt x="887" y="342"/>
                      </a:lnTo>
                      <a:lnTo>
                        <a:pt x="883" y="339"/>
                      </a:lnTo>
                      <a:lnTo>
                        <a:pt x="881" y="337"/>
                      </a:lnTo>
                      <a:lnTo>
                        <a:pt x="872" y="344"/>
                      </a:lnTo>
                      <a:lnTo>
                        <a:pt x="855" y="352"/>
                      </a:lnTo>
                      <a:lnTo>
                        <a:pt x="820" y="354"/>
                      </a:lnTo>
                      <a:lnTo>
                        <a:pt x="810" y="351"/>
                      </a:lnTo>
                      <a:lnTo>
                        <a:pt x="801" y="351"/>
                      </a:lnTo>
                      <a:lnTo>
                        <a:pt x="785" y="355"/>
                      </a:lnTo>
                      <a:lnTo>
                        <a:pt x="775" y="364"/>
                      </a:lnTo>
                      <a:lnTo>
                        <a:pt x="767" y="368"/>
                      </a:lnTo>
                      <a:lnTo>
                        <a:pt x="754" y="371"/>
                      </a:lnTo>
                      <a:lnTo>
                        <a:pt x="750" y="375"/>
                      </a:lnTo>
                      <a:lnTo>
                        <a:pt x="716" y="381"/>
                      </a:lnTo>
                      <a:lnTo>
                        <a:pt x="689" y="378"/>
                      </a:lnTo>
                      <a:lnTo>
                        <a:pt x="678" y="366"/>
                      </a:lnTo>
                      <a:lnTo>
                        <a:pt x="671" y="365"/>
                      </a:lnTo>
                      <a:lnTo>
                        <a:pt x="657" y="366"/>
                      </a:lnTo>
                      <a:lnTo>
                        <a:pt x="648" y="373"/>
                      </a:lnTo>
                      <a:lnTo>
                        <a:pt x="634" y="378"/>
                      </a:lnTo>
                      <a:lnTo>
                        <a:pt x="626" y="380"/>
                      </a:lnTo>
                      <a:lnTo>
                        <a:pt x="622" y="384"/>
                      </a:lnTo>
                      <a:lnTo>
                        <a:pt x="607" y="381"/>
                      </a:lnTo>
                      <a:lnTo>
                        <a:pt x="598" y="384"/>
                      </a:lnTo>
                      <a:lnTo>
                        <a:pt x="597" y="381"/>
                      </a:lnTo>
                      <a:lnTo>
                        <a:pt x="597" y="379"/>
                      </a:lnTo>
                      <a:lnTo>
                        <a:pt x="597" y="378"/>
                      </a:lnTo>
                      <a:lnTo>
                        <a:pt x="592" y="374"/>
                      </a:lnTo>
                      <a:lnTo>
                        <a:pt x="583" y="373"/>
                      </a:lnTo>
                      <a:lnTo>
                        <a:pt x="578" y="370"/>
                      </a:lnTo>
                      <a:lnTo>
                        <a:pt x="573" y="381"/>
                      </a:lnTo>
                      <a:lnTo>
                        <a:pt x="571" y="382"/>
                      </a:lnTo>
                      <a:lnTo>
                        <a:pt x="571" y="387"/>
                      </a:lnTo>
                      <a:lnTo>
                        <a:pt x="569" y="396"/>
                      </a:lnTo>
                      <a:lnTo>
                        <a:pt x="579" y="408"/>
                      </a:lnTo>
                      <a:lnTo>
                        <a:pt x="579" y="411"/>
                      </a:lnTo>
                      <a:lnTo>
                        <a:pt x="576" y="412"/>
                      </a:lnTo>
                      <a:lnTo>
                        <a:pt x="569" y="412"/>
                      </a:lnTo>
                      <a:lnTo>
                        <a:pt x="560" y="414"/>
                      </a:lnTo>
                      <a:lnTo>
                        <a:pt x="560" y="418"/>
                      </a:lnTo>
                      <a:lnTo>
                        <a:pt x="560" y="427"/>
                      </a:lnTo>
                      <a:lnTo>
                        <a:pt x="554" y="432"/>
                      </a:lnTo>
                      <a:lnTo>
                        <a:pt x="551" y="433"/>
                      </a:lnTo>
                      <a:lnTo>
                        <a:pt x="548" y="439"/>
                      </a:lnTo>
                      <a:lnTo>
                        <a:pt x="542" y="435"/>
                      </a:lnTo>
                      <a:lnTo>
                        <a:pt x="540" y="432"/>
                      </a:lnTo>
                      <a:lnTo>
                        <a:pt x="536" y="432"/>
                      </a:lnTo>
                      <a:lnTo>
                        <a:pt x="538" y="424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rgbClr val="77E2C3">
                      <a:lumMod val="40000"/>
                      <a:lumOff val="6000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77898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313C"/>
                    </a:solidFill>
                    <a:effectLst/>
                    <a:uLnTx/>
                    <a:uFillTx/>
                    <a:latin typeface="Arial"/>
                    <a:cs typeface="+mn-cs"/>
                  </a:endParaRPr>
                </a:p>
              </p:txBody>
            </p:sp>
            <p:sp>
              <p:nvSpPr>
                <p:cNvPr id="131" name="Freeform 95">
                  <a:extLst>
                    <a:ext uri="{FF2B5EF4-FFF2-40B4-BE49-F238E27FC236}">
                      <a16:creationId xmlns:a16="http://schemas.microsoft.com/office/drawing/2014/main" id="{030BC7A9-89BF-34BF-953A-582C2A7975E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802" y="1980"/>
                  <a:ext cx="33" cy="28"/>
                </a:xfrm>
                <a:custGeom>
                  <a:avLst/>
                  <a:gdLst>
                    <a:gd name="T0" fmla="*/ 4 w 166"/>
                    <a:gd name="T1" fmla="*/ 0 h 140"/>
                    <a:gd name="T2" fmla="*/ 4 w 166"/>
                    <a:gd name="T3" fmla="*/ 0 h 140"/>
                    <a:gd name="T4" fmla="*/ 3 w 166"/>
                    <a:gd name="T5" fmla="*/ 0 h 140"/>
                    <a:gd name="T6" fmla="*/ 2 w 166"/>
                    <a:gd name="T7" fmla="*/ 0 h 140"/>
                    <a:gd name="T8" fmla="*/ 2 w 166"/>
                    <a:gd name="T9" fmla="*/ 0 h 140"/>
                    <a:gd name="T10" fmla="*/ 1 w 166"/>
                    <a:gd name="T11" fmla="*/ 0 h 140"/>
                    <a:gd name="T12" fmla="*/ 1 w 166"/>
                    <a:gd name="T13" fmla="*/ 1 h 140"/>
                    <a:gd name="T14" fmla="*/ 1 w 166"/>
                    <a:gd name="T15" fmla="*/ 1 h 140"/>
                    <a:gd name="T16" fmla="*/ 1 w 166"/>
                    <a:gd name="T17" fmla="*/ 1 h 140"/>
                    <a:gd name="T18" fmla="*/ 1 w 166"/>
                    <a:gd name="T19" fmla="*/ 2 h 140"/>
                    <a:gd name="T20" fmla="*/ 1 w 166"/>
                    <a:gd name="T21" fmla="*/ 2 h 140"/>
                    <a:gd name="T22" fmla="*/ 1 w 166"/>
                    <a:gd name="T23" fmla="*/ 3 h 140"/>
                    <a:gd name="T24" fmla="*/ 0 w 166"/>
                    <a:gd name="T25" fmla="*/ 3 h 140"/>
                    <a:gd name="T26" fmla="*/ 0 w 166"/>
                    <a:gd name="T27" fmla="*/ 4 h 140"/>
                    <a:gd name="T28" fmla="*/ 0 w 166"/>
                    <a:gd name="T29" fmla="*/ 4 h 140"/>
                    <a:gd name="T30" fmla="*/ 0 w 166"/>
                    <a:gd name="T31" fmla="*/ 4 h 140"/>
                    <a:gd name="T32" fmla="*/ 2 w 166"/>
                    <a:gd name="T33" fmla="*/ 4 h 140"/>
                    <a:gd name="T34" fmla="*/ 1 w 166"/>
                    <a:gd name="T35" fmla="*/ 4 h 140"/>
                    <a:gd name="T36" fmla="*/ 1 w 166"/>
                    <a:gd name="T37" fmla="*/ 5 h 140"/>
                    <a:gd name="T38" fmla="*/ 0 w 166"/>
                    <a:gd name="T39" fmla="*/ 5 h 140"/>
                    <a:gd name="T40" fmla="*/ 0 w 166"/>
                    <a:gd name="T41" fmla="*/ 5 h 140"/>
                    <a:gd name="T42" fmla="*/ 0 w 166"/>
                    <a:gd name="T43" fmla="*/ 6 h 140"/>
                    <a:gd name="T44" fmla="*/ 1 w 166"/>
                    <a:gd name="T45" fmla="*/ 5 h 140"/>
                    <a:gd name="T46" fmla="*/ 1 w 166"/>
                    <a:gd name="T47" fmla="*/ 5 h 140"/>
                    <a:gd name="T48" fmla="*/ 1 w 166"/>
                    <a:gd name="T49" fmla="*/ 5 h 140"/>
                    <a:gd name="T50" fmla="*/ 2 w 166"/>
                    <a:gd name="T51" fmla="*/ 4 h 140"/>
                    <a:gd name="T52" fmla="*/ 3 w 166"/>
                    <a:gd name="T53" fmla="*/ 3 h 140"/>
                    <a:gd name="T54" fmla="*/ 3 w 166"/>
                    <a:gd name="T55" fmla="*/ 3 h 140"/>
                    <a:gd name="T56" fmla="*/ 4 w 166"/>
                    <a:gd name="T57" fmla="*/ 3 h 140"/>
                    <a:gd name="T58" fmla="*/ 4 w 166"/>
                    <a:gd name="T59" fmla="*/ 3 h 140"/>
                    <a:gd name="T60" fmla="*/ 5 w 166"/>
                    <a:gd name="T61" fmla="*/ 3 h 140"/>
                    <a:gd name="T62" fmla="*/ 5 w 166"/>
                    <a:gd name="T63" fmla="*/ 3 h 140"/>
                    <a:gd name="T64" fmla="*/ 6 w 166"/>
                    <a:gd name="T65" fmla="*/ 3 h 140"/>
                    <a:gd name="T66" fmla="*/ 6 w 166"/>
                    <a:gd name="T67" fmla="*/ 3 h 140"/>
                    <a:gd name="T68" fmla="*/ 7 w 166"/>
                    <a:gd name="T69" fmla="*/ 3 h 140"/>
                    <a:gd name="T70" fmla="*/ 7 w 166"/>
                    <a:gd name="T71" fmla="*/ 2 h 140"/>
                    <a:gd name="T72" fmla="*/ 6 w 166"/>
                    <a:gd name="T73" fmla="*/ 2 h 140"/>
                    <a:gd name="T74" fmla="*/ 6 w 166"/>
                    <a:gd name="T75" fmla="*/ 2 h 140"/>
                    <a:gd name="T76" fmla="*/ 5 w 166"/>
                    <a:gd name="T77" fmla="*/ 2 h 140"/>
                    <a:gd name="T78" fmla="*/ 5 w 166"/>
                    <a:gd name="T79" fmla="*/ 1 h 140"/>
                    <a:gd name="T80" fmla="*/ 4 w 166"/>
                    <a:gd name="T81" fmla="*/ 1 h 140"/>
                    <a:gd name="T82" fmla="*/ 4 w 166"/>
                    <a:gd name="T83" fmla="*/ 1 h 140"/>
                    <a:gd name="T84" fmla="*/ 4 w 166"/>
                    <a:gd name="T85" fmla="*/ 0 h 140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66"/>
                    <a:gd name="T130" fmla="*/ 0 h 140"/>
                    <a:gd name="T131" fmla="*/ 166 w 166"/>
                    <a:gd name="T132" fmla="*/ 140 h 140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66" h="140">
                      <a:moveTo>
                        <a:pt x="108" y="8"/>
                      </a:moveTo>
                      <a:lnTo>
                        <a:pt x="100" y="6"/>
                      </a:lnTo>
                      <a:lnTo>
                        <a:pt x="77" y="10"/>
                      </a:lnTo>
                      <a:lnTo>
                        <a:pt x="59" y="0"/>
                      </a:lnTo>
                      <a:lnTo>
                        <a:pt x="39" y="8"/>
                      </a:lnTo>
                      <a:lnTo>
                        <a:pt x="25" y="10"/>
                      </a:lnTo>
                      <a:lnTo>
                        <a:pt x="16" y="18"/>
                      </a:lnTo>
                      <a:lnTo>
                        <a:pt x="19" y="24"/>
                      </a:lnTo>
                      <a:lnTo>
                        <a:pt x="28" y="31"/>
                      </a:lnTo>
                      <a:lnTo>
                        <a:pt x="27" y="42"/>
                      </a:lnTo>
                      <a:lnTo>
                        <a:pt x="16" y="51"/>
                      </a:lnTo>
                      <a:lnTo>
                        <a:pt x="14" y="67"/>
                      </a:lnTo>
                      <a:lnTo>
                        <a:pt x="10" y="81"/>
                      </a:lnTo>
                      <a:lnTo>
                        <a:pt x="0" y="96"/>
                      </a:lnTo>
                      <a:lnTo>
                        <a:pt x="3" y="100"/>
                      </a:lnTo>
                      <a:lnTo>
                        <a:pt x="10" y="104"/>
                      </a:lnTo>
                      <a:lnTo>
                        <a:pt x="43" y="100"/>
                      </a:lnTo>
                      <a:lnTo>
                        <a:pt x="36" y="107"/>
                      </a:lnTo>
                      <a:lnTo>
                        <a:pt x="21" y="113"/>
                      </a:lnTo>
                      <a:lnTo>
                        <a:pt x="10" y="120"/>
                      </a:lnTo>
                      <a:lnTo>
                        <a:pt x="9" y="127"/>
                      </a:lnTo>
                      <a:lnTo>
                        <a:pt x="9" y="140"/>
                      </a:lnTo>
                      <a:lnTo>
                        <a:pt x="17" y="137"/>
                      </a:lnTo>
                      <a:lnTo>
                        <a:pt x="23" y="127"/>
                      </a:lnTo>
                      <a:lnTo>
                        <a:pt x="33" y="118"/>
                      </a:lnTo>
                      <a:lnTo>
                        <a:pt x="58" y="101"/>
                      </a:lnTo>
                      <a:lnTo>
                        <a:pt x="76" y="86"/>
                      </a:lnTo>
                      <a:lnTo>
                        <a:pt x="85" y="75"/>
                      </a:lnTo>
                      <a:lnTo>
                        <a:pt x="97" y="75"/>
                      </a:lnTo>
                      <a:lnTo>
                        <a:pt x="108" y="73"/>
                      </a:lnTo>
                      <a:lnTo>
                        <a:pt x="124" y="73"/>
                      </a:lnTo>
                      <a:lnTo>
                        <a:pt x="138" y="74"/>
                      </a:lnTo>
                      <a:lnTo>
                        <a:pt x="145" y="78"/>
                      </a:lnTo>
                      <a:lnTo>
                        <a:pt x="160" y="73"/>
                      </a:lnTo>
                      <a:lnTo>
                        <a:pt x="166" y="64"/>
                      </a:lnTo>
                      <a:lnTo>
                        <a:pt x="166" y="56"/>
                      </a:lnTo>
                      <a:lnTo>
                        <a:pt x="156" y="54"/>
                      </a:lnTo>
                      <a:lnTo>
                        <a:pt x="139" y="48"/>
                      </a:lnTo>
                      <a:lnTo>
                        <a:pt x="125" y="42"/>
                      </a:lnTo>
                      <a:lnTo>
                        <a:pt x="117" y="36"/>
                      </a:lnTo>
                      <a:lnTo>
                        <a:pt x="109" y="27"/>
                      </a:lnTo>
                      <a:lnTo>
                        <a:pt x="107" y="16"/>
                      </a:lnTo>
                      <a:lnTo>
                        <a:pt x="108" y="8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rgbClr val="77E2C3">
                      <a:lumMod val="40000"/>
                      <a:lumOff val="6000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77898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313C"/>
                    </a:solidFill>
                    <a:effectLst/>
                    <a:uLnTx/>
                    <a:uFillTx/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127" name="Freeform 96">
                <a:extLst>
                  <a:ext uri="{FF2B5EF4-FFF2-40B4-BE49-F238E27FC236}">
                    <a16:creationId xmlns:a16="http://schemas.microsoft.com/office/drawing/2014/main" id="{531AC236-4BB2-D704-9C26-89D2C540162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98" y="2100"/>
                <a:ext cx="47" cy="54"/>
              </a:xfrm>
              <a:custGeom>
                <a:avLst/>
                <a:gdLst>
                  <a:gd name="T0" fmla="*/ 9 w 231"/>
                  <a:gd name="T1" fmla="*/ 4 h 269"/>
                  <a:gd name="T2" fmla="*/ 10 w 231"/>
                  <a:gd name="T3" fmla="*/ 3 h 269"/>
                  <a:gd name="T4" fmla="*/ 9 w 231"/>
                  <a:gd name="T5" fmla="*/ 0 h 269"/>
                  <a:gd name="T6" fmla="*/ 7 w 231"/>
                  <a:gd name="T7" fmla="*/ 1 h 269"/>
                  <a:gd name="T8" fmla="*/ 6 w 231"/>
                  <a:gd name="T9" fmla="*/ 2 h 269"/>
                  <a:gd name="T10" fmla="*/ 4 w 231"/>
                  <a:gd name="T11" fmla="*/ 3 h 269"/>
                  <a:gd name="T12" fmla="*/ 4 w 231"/>
                  <a:gd name="T13" fmla="*/ 3 h 269"/>
                  <a:gd name="T14" fmla="*/ 3 w 231"/>
                  <a:gd name="T15" fmla="*/ 3 h 269"/>
                  <a:gd name="T16" fmla="*/ 3 w 231"/>
                  <a:gd name="T17" fmla="*/ 3 h 269"/>
                  <a:gd name="T18" fmla="*/ 3 w 231"/>
                  <a:gd name="T19" fmla="*/ 2 h 269"/>
                  <a:gd name="T20" fmla="*/ 2 w 231"/>
                  <a:gd name="T21" fmla="*/ 2 h 269"/>
                  <a:gd name="T22" fmla="*/ 2 w 231"/>
                  <a:gd name="T23" fmla="*/ 2 h 269"/>
                  <a:gd name="T24" fmla="*/ 2 w 231"/>
                  <a:gd name="T25" fmla="*/ 2 h 269"/>
                  <a:gd name="T26" fmla="*/ 1 w 231"/>
                  <a:gd name="T27" fmla="*/ 2 h 269"/>
                  <a:gd name="T28" fmla="*/ 1 w 231"/>
                  <a:gd name="T29" fmla="*/ 3 h 269"/>
                  <a:gd name="T30" fmla="*/ 1 w 231"/>
                  <a:gd name="T31" fmla="*/ 3 h 269"/>
                  <a:gd name="T32" fmla="*/ 1 w 231"/>
                  <a:gd name="T33" fmla="*/ 3 h 269"/>
                  <a:gd name="T34" fmla="*/ 1 w 231"/>
                  <a:gd name="T35" fmla="*/ 3 h 269"/>
                  <a:gd name="T36" fmla="*/ 1 w 231"/>
                  <a:gd name="T37" fmla="*/ 4 h 269"/>
                  <a:gd name="T38" fmla="*/ 1 w 231"/>
                  <a:gd name="T39" fmla="*/ 4 h 269"/>
                  <a:gd name="T40" fmla="*/ 1 w 231"/>
                  <a:gd name="T41" fmla="*/ 4 h 269"/>
                  <a:gd name="T42" fmla="*/ 1 w 231"/>
                  <a:gd name="T43" fmla="*/ 5 h 269"/>
                  <a:gd name="T44" fmla="*/ 1 w 231"/>
                  <a:gd name="T45" fmla="*/ 5 h 269"/>
                  <a:gd name="T46" fmla="*/ 1 w 231"/>
                  <a:gd name="T47" fmla="*/ 5 h 269"/>
                  <a:gd name="T48" fmla="*/ 1 w 231"/>
                  <a:gd name="T49" fmla="*/ 6 h 269"/>
                  <a:gd name="T50" fmla="*/ 1 w 231"/>
                  <a:gd name="T51" fmla="*/ 6 h 269"/>
                  <a:gd name="T52" fmla="*/ 1 w 231"/>
                  <a:gd name="T53" fmla="*/ 7 h 269"/>
                  <a:gd name="T54" fmla="*/ 0 w 231"/>
                  <a:gd name="T55" fmla="*/ 7 h 269"/>
                  <a:gd name="T56" fmla="*/ 0 w 231"/>
                  <a:gd name="T57" fmla="*/ 9 h 269"/>
                  <a:gd name="T58" fmla="*/ 0 w 231"/>
                  <a:gd name="T59" fmla="*/ 10 h 269"/>
                  <a:gd name="T60" fmla="*/ 0 w 231"/>
                  <a:gd name="T61" fmla="*/ 10 h 269"/>
                  <a:gd name="T62" fmla="*/ 0 w 231"/>
                  <a:gd name="T63" fmla="*/ 10 h 269"/>
                  <a:gd name="T64" fmla="*/ 0 w 231"/>
                  <a:gd name="T65" fmla="*/ 10 h 269"/>
                  <a:gd name="T66" fmla="*/ 3 w 231"/>
                  <a:gd name="T67" fmla="*/ 11 h 269"/>
                  <a:gd name="T68" fmla="*/ 3 w 231"/>
                  <a:gd name="T69" fmla="*/ 10 h 269"/>
                  <a:gd name="T70" fmla="*/ 3 w 231"/>
                  <a:gd name="T71" fmla="*/ 10 h 269"/>
                  <a:gd name="T72" fmla="*/ 4 w 231"/>
                  <a:gd name="T73" fmla="*/ 9 h 269"/>
                  <a:gd name="T74" fmla="*/ 6 w 231"/>
                  <a:gd name="T75" fmla="*/ 9 h 269"/>
                  <a:gd name="T76" fmla="*/ 6 w 231"/>
                  <a:gd name="T77" fmla="*/ 8 h 269"/>
                  <a:gd name="T78" fmla="*/ 6 w 231"/>
                  <a:gd name="T79" fmla="*/ 8 h 269"/>
                  <a:gd name="T80" fmla="*/ 7 w 231"/>
                  <a:gd name="T81" fmla="*/ 7 h 269"/>
                  <a:gd name="T82" fmla="*/ 7 w 231"/>
                  <a:gd name="T83" fmla="*/ 7 h 269"/>
                  <a:gd name="T84" fmla="*/ 5 w 231"/>
                  <a:gd name="T85" fmla="*/ 5 h 269"/>
                  <a:gd name="T86" fmla="*/ 4 w 231"/>
                  <a:gd name="T87" fmla="*/ 5 h 269"/>
                  <a:gd name="T88" fmla="*/ 6 w 231"/>
                  <a:gd name="T89" fmla="*/ 4 h 269"/>
                  <a:gd name="T90" fmla="*/ 9 w 231"/>
                  <a:gd name="T91" fmla="*/ 4 h 269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231"/>
                  <a:gd name="T139" fmla="*/ 0 h 269"/>
                  <a:gd name="T140" fmla="*/ 231 w 231"/>
                  <a:gd name="T141" fmla="*/ 269 h 269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231" h="269">
                    <a:moveTo>
                      <a:pt x="215" y="94"/>
                    </a:moveTo>
                    <a:lnTo>
                      <a:pt x="231" y="75"/>
                    </a:lnTo>
                    <a:lnTo>
                      <a:pt x="215" y="0"/>
                    </a:lnTo>
                    <a:lnTo>
                      <a:pt x="165" y="26"/>
                    </a:lnTo>
                    <a:lnTo>
                      <a:pt x="141" y="39"/>
                    </a:lnTo>
                    <a:lnTo>
                      <a:pt x="96" y="67"/>
                    </a:lnTo>
                    <a:lnTo>
                      <a:pt x="87" y="69"/>
                    </a:lnTo>
                    <a:lnTo>
                      <a:pt x="75" y="67"/>
                    </a:lnTo>
                    <a:lnTo>
                      <a:pt x="70" y="65"/>
                    </a:lnTo>
                    <a:lnTo>
                      <a:pt x="62" y="55"/>
                    </a:lnTo>
                    <a:lnTo>
                      <a:pt x="54" y="51"/>
                    </a:lnTo>
                    <a:lnTo>
                      <a:pt x="48" y="43"/>
                    </a:lnTo>
                    <a:lnTo>
                      <a:pt x="44" y="42"/>
                    </a:lnTo>
                    <a:lnTo>
                      <a:pt x="32" y="44"/>
                    </a:lnTo>
                    <a:lnTo>
                      <a:pt x="32" y="64"/>
                    </a:lnTo>
                    <a:lnTo>
                      <a:pt x="32" y="66"/>
                    </a:lnTo>
                    <a:lnTo>
                      <a:pt x="31" y="75"/>
                    </a:lnTo>
                    <a:lnTo>
                      <a:pt x="30" y="82"/>
                    </a:lnTo>
                    <a:lnTo>
                      <a:pt x="28" y="94"/>
                    </a:lnTo>
                    <a:lnTo>
                      <a:pt x="31" y="103"/>
                    </a:lnTo>
                    <a:lnTo>
                      <a:pt x="28" y="109"/>
                    </a:lnTo>
                    <a:lnTo>
                      <a:pt x="27" y="118"/>
                    </a:lnTo>
                    <a:lnTo>
                      <a:pt x="25" y="120"/>
                    </a:lnTo>
                    <a:lnTo>
                      <a:pt x="27" y="124"/>
                    </a:lnTo>
                    <a:lnTo>
                      <a:pt x="23" y="137"/>
                    </a:lnTo>
                    <a:lnTo>
                      <a:pt x="26" y="145"/>
                    </a:lnTo>
                    <a:lnTo>
                      <a:pt x="17" y="163"/>
                    </a:lnTo>
                    <a:lnTo>
                      <a:pt x="11" y="183"/>
                    </a:lnTo>
                    <a:lnTo>
                      <a:pt x="5" y="236"/>
                    </a:lnTo>
                    <a:lnTo>
                      <a:pt x="1" y="247"/>
                    </a:lnTo>
                    <a:lnTo>
                      <a:pt x="0" y="253"/>
                    </a:lnTo>
                    <a:lnTo>
                      <a:pt x="3" y="261"/>
                    </a:lnTo>
                    <a:lnTo>
                      <a:pt x="64" y="269"/>
                    </a:lnTo>
                    <a:lnTo>
                      <a:pt x="81" y="252"/>
                    </a:lnTo>
                    <a:lnTo>
                      <a:pt x="82" y="248"/>
                    </a:lnTo>
                    <a:lnTo>
                      <a:pt x="97" y="223"/>
                    </a:lnTo>
                    <a:lnTo>
                      <a:pt x="139" y="217"/>
                    </a:lnTo>
                    <a:lnTo>
                      <a:pt x="140" y="207"/>
                    </a:lnTo>
                    <a:lnTo>
                      <a:pt x="146" y="191"/>
                    </a:lnTo>
                    <a:lnTo>
                      <a:pt x="168" y="179"/>
                    </a:lnTo>
                    <a:lnTo>
                      <a:pt x="170" y="178"/>
                    </a:lnTo>
                    <a:lnTo>
                      <a:pt x="117" y="124"/>
                    </a:lnTo>
                    <a:lnTo>
                      <a:pt x="108" y="118"/>
                    </a:lnTo>
                    <a:lnTo>
                      <a:pt x="149" y="108"/>
                    </a:lnTo>
                    <a:lnTo>
                      <a:pt x="215" y="9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28" name="Freeform 97">
                <a:extLst>
                  <a:ext uri="{FF2B5EF4-FFF2-40B4-BE49-F238E27FC236}">
                    <a16:creationId xmlns:a16="http://schemas.microsoft.com/office/drawing/2014/main" id="{A501146F-B2AB-3BEA-E5F1-98F50E8B811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905" y="2047"/>
                <a:ext cx="77" cy="67"/>
              </a:xfrm>
              <a:custGeom>
                <a:avLst/>
                <a:gdLst>
                  <a:gd name="T0" fmla="*/ 10 w 387"/>
                  <a:gd name="T1" fmla="*/ 9 h 337"/>
                  <a:gd name="T2" fmla="*/ 12 w 387"/>
                  <a:gd name="T3" fmla="*/ 8 h 337"/>
                  <a:gd name="T4" fmla="*/ 13 w 387"/>
                  <a:gd name="T5" fmla="*/ 7 h 337"/>
                  <a:gd name="T6" fmla="*/ 14 w 387"/>
                  <a:gd name="T7" fmla="*/ 2 h 337"/>
                  <a:gd name="T8" fmla="*/ 15 w 387"/>
                  <a:gd name="T9" fmla="*/ 0 h 337"/>
                  <a:gd name="T10" fmla="*/ 15 w 387"/>
                  <a:gd name="T11" fmla="*/ 0 h 337"/>
                  <a:gd name="T12" fmla="*/ 14 w 387"/>
                  <a:gd name="T13" fmla="*/ 1 h 337"/>
                  <a:gd name="T14" fmla="*/ 12 w 387"/>
                  <a:gd name="T15" fmla="*/ 1 h 337"/>
                  <a:gd name="T16" fmla="*/ 10 w 387"/>
                  <a:gd name="T17" fmla="*/ 1 h 337"/>
                  <a:gd name="T18" fmla="*/ 8 w 387"/>
                  <a:gd name="T19" fmla="*/ 2 h 337"/>
                  <a:gd name="T20" fmla="*/ 6 w 387"/>
                  <a:gd name="T21" fmla="*/ 1 h 337"/>
                  <a:gd name="T22" fmla="*/ 5 w 387"/>
                  <a:gd name="T23" fmla="*/ 2 h 337"/>
                  <a:gd name="T24" fmla="*/ 4 w 387"/>
                  <a:gd name="T25" fmla="*/ 2 h 337"/>
                  <a:gd name="T26" fmla="*/ 3 w 387"/>
                  <a:gd name="T27" fmla="*/ 2 h 337"/>
                  <a:gd name="T28" fmla="*/ 3 w 387"/>
                  <a:gd name="T29" fmla="*/ 1 h 337"/>
                  <a:gd name="T30" fmla="*/ 2 w 387"/>
                  <a:gd name="T31" fmla="*/ 2 h 337"/>
                  <a:gd name="T32" fmla="*/ 3 w 387"/>
                  <a:gd name="T33" fmla="*/ 3 h 337"/>
                  <a:gd name="T34" fmla="*/ 2 w 387"/>
                  <a:gd name="T35" fmla="*/ 3 h 337"/>
                  <a:gd name="T36" fmla="*/ 2 w 387"/>
                  <a:gd name="T37" fmla="*/ 4 h 337"/>
                  <a:gd name="T38" fmla="*/ 2 w 387"/>
                  <a:gd name="T39" fmla="*/ 4 h 337"/>
                  <a:gd name="T40" fmla="*/ 1 w 387"/>
                  <a:gd name="T41" fmla="*/ 4 h 337"/>
                  <a:gd name="T42" fmla="*/ 1 w 387"/>
                  <a:gd name="T43" fmla="*/ 5 h 337"/>
                  <a:gd name="T44" fmla="*/ 1 w 387"/>
                  <a:gd name="T45" fmla="*/ 7 h 337"/>
                  <a:gd name="T46" fmla="*/ 2 w 387"/>
                  <a:gd name="T47" fmla="*/ 7 h 337"/>
                  <a:gd name="T48" fmla="*/ 2 w 387"/>
                  <a:gd name="T49" fmla="*/ 7 h 337"/>
                  <a:gd name="T50" fmla="*/ 2 w 387"/>
                  <a:gd name="T51" fmla="*/ 7 h 337"/>
                  <a:gd name="T52" fmla="*/ 2 w 387"/>
                  <a:gd name="T53" fmla="*/ 8 h 337"/>
                  <a:gd name="T54" fmla="*/ 3 w 387"/>
                  <a:gd name="T55" fmla="*/ 8 h 337"/>
                  <a:gd name="T56" fmla="*/ 3 w 387"/>
                  <a:gd name="T57" fmla="*/ 8 h 337"/>
                  <a:gd name="T58" fmla="*/ 3 w 387"/>
                  <a:gd name="T59" fmla="*/ 9 h 337"/>
                  <a:gd name="T60" fmla="*/ 2 w 387"/>
                  <a:gd name="T61" fmla="*/ 9 h 337"/>
                  <a:gd name="T62" fmla="*/ 2 w 387"/>
                  <a:gd name="T63" fmla="*/ 9 h 337"/>
                  <a:gd name="T64" fmla="*/ 2 w 387"/>
                  <a:gd name="T65" fmla="*/ 9 h 337"/>
                  <a:gd name="T66" fmla="*/ 1 w 387"/>
                  <a:gd name="T67" fmla="*/ 9 h 337"/>
                  <a:gd name="T68" fmla="*/ 1 w 387"/>
                  <a:gd name="T69" fmla="*/ 10 h 337"/>
                  <a:gd name="T70" fmla="*/ 1 w 387"/>
                  <a:gd name="T71" fmla="*/ 10 h 337"/>
                  <a:gd name="T72" fmla="*/ 1 w 387"/>
                  <a:gd name="T73" fmla="*/ 11 h 337"/>
                  <a:gd name="T74" fmla="*/ 0 w 387"/>
                  <a:gd name="T75" fmla="*/ 11 h 337"/>
                  <a:gd name="T76" fmla="*/ 0 w 387"/>
                  <a:gd name="T77" fmla="*/ 12 h 337"/>
                  <a:gd name="T78" fmla="*/ 0 w 387"/>
                  <a:gd name="T79" fmla="*/ 12 h 337"/>
                  <a:gd name="T80" fmla="*/ 1 w 387"/>
                  <a:gd name="T81" fmla="*/ 13 h 337"/>
                  <a:gd name="T82" fmla="*/ 2 w 387"/>
                  <a:gd name="T83" fmla="*/ 13 h 337"/>
                  <a:gd name="T84" fmla="*/ 4 w 387"/>
                  <a:gd name="T85" fmla="*/ 12 h 33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387"/>
                  <a:gd name="T130" fmla="*/ 0 h 337"/>
                  <a:gd name="T131" fmla="*/ 387 w 387"/>
                  <a:gd name="T132" fmla="*/ 337 h 33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387" h="337">
                    <a:moveTo>
                      <a:pt x="183" y="268"/>
                    </a:moveTo>
                    <a:lnTo>
                      <a:pt x="226" y="238"/>
                    </a:lnTo>
                    <a:lnTo>
                      <a:pt x="241" y="227"/>
                    </a:lnTo>
                    <a:lnTo>
                      <a:pt x="256" y="222"/>
                    </a:lnTo>
                    <a:lnTo>
                      <a:pt x="278" y="210"/>
                    </a:lnTo>
                    <a:lnTo>
                      <a:pt x="290" y="203"/>
                    </a:lnTo>
                    <a:lnTo>
                      <a:pt x="294" y="199"/>
                    </a:lnTo>
                    <a:lnTo>
                      <a:pt x="306" y="194"/>
                    </a:lnTo>
                    <a:lnTo>
                      <a:pt x="316" y="170"/>
                    </a:lnTo>
                    <a:lnTo>
                      <a:pt x="319" y="133"/>
                    </a:lnTo>
                    <a:lnTo>
                      <a:pt x="323" y="63"/>
                    </a:lnTo>
                    <a:lnTo>
                      <a:pt x="354" y="50"/>
                    </a:lnTo>
                    <a:lnTo>
                      <a:pt x="372" y="21"/>
                    </a:lnTo>
                    <a:lnTo>
                      <a:pt x="387" y="12"/>
                    </a:lnTo>
                    <a:lnTo>
                      <a:pt x="378" y="12"/>
                    </a:lnTo>
                    <a:lnTo>
                      <a:pt x="377" y="10"/>
                    </a:lnTo>
                    <a:lnTo>
                      <a:pt x="377" y="5"/>
                    </a:lnTo>
                    <a:lnTo>
                      <a:pt x="373" y="2"/>
                    </a:lnTo>
                    <a:lnTo>
                      <a:pt x="371" y="0"/>
                    </a:lnTo>
                    <a:lnTo>
                      <a:pt x="362" y="7"/>
                    </a:lnTo>
                    <a:lnTo>
                      <a:pt x="345" y="15"/>
                    </a:lnTo>
                    <a:lnTo>
                      <a:pt x="310" y="17"/>
                    </a:lnTo>
                    <a:lnTo>
                      <a:pt x="300" y="14"/>
                    </a:lnTo>
                    <a:lnTo>
                      <a:pt x="291" y="14"/>
                    </a:lnTo>
                    <a:lnTo>
                      <a:pt x="275" y="18"/>
                    </a:lnTo>
                    <a:lnTo>
                      <a:pt x="265" y="27"/>
                    </a:lnTo>
                    <a:lnTo>
                      <a:pt x="257" y="31"/>
                    </a:lnTo>
                    <a:lnTo>
                      <a:pt x="244" y="34"/>
                    </a:lnTo>
                    <a:lnTo>
                      <a:pt x="238" y="38"/>
                    </a:lnTo>
                    <a:lnTo>
                      <a:pt x="206" y="45"/>
                    </a:lnTo>
                    <a:lnTo>
                      <a:pt x="179" y="41"/>
                    </a:lnTo>
                    <a:lnTo>
                      <a:pt x="168" y="31"/>
                    </a:lnTo>
                    <a:lnTo>
                      <a:pt x="161" y="28"/>
                    </a:lnTo>
                    <a:lnTo>
                      <a:pt x="147" y="29"/>
                    </a:lnTo>
                    <a:lnTo>
                      <a:pt x="138" y="36"/>
                    </a:lnTo>
                    <a:lnTo>
                      <a:pt x="124" y="41"/>
                    </a:lnTo>
                    <a:lnTo>
                      <a:pt x="116" y="43"/>
                    </a:lnTo>
                    <a:lnTo>
                      <a:pt x="112" y="47"/>
                    </a:lnTo>
                    <a:lnTo>
                      <a:pt x="97" y="44"/>
                    </a:lnTo>
                    <a:lnTo>
                      <a:pt x="88" y="47"/>
                    </a:lnTo>
                    <a:lnTo>
                      <a:pt x="87" y="44"/>
                    </a:lnTo>
                    <a:lnTo>
                      <a:pt x="87" y="42"/>
                    </a:lnTo>
                    <a:lnTo>
                      <a:pt x="87" y="41"/>
                    </a:lnTo>
                    <a:lnTo>
                      <a:pt x="82" y="37"/>
                    </a:lnTo>
                    <a:lnTo>
                      <a:pt x="73" y="36"/>
                    </a:lnTo>
                    <a:lnTo>
                      <a:pt x="68" y="33"/>
                    </a:lnTo>
                    <a:lnTo>
                      <a:pt x="63" y="44"/>
                    </a:lnTo>
                    <a:lnTo>
                      <a:pt x="61" y="45"/>
                    </a:lnTo>
                    <a:lnTo>
                      <a:pt x="61" y="50"/>
                    </a:lnTo>
                    <a:lnTo>
                      <a:pt x="59" y="59"/>
                    </a:lnTo>
                    <a:lnTo>
                      <a:pt x="68" y="71"/>
                    </a:lnTo>
                    <a:lnTo>
                      <a:pt x="69" y="74"/>
                    </a:lnTo>
                    <a:lnTo>
                      <a:pt x="66" y="75"/>
                    </a:lnTo>
                    <a:lnTo>
                      <a:pt x="59" y="75"/>
                    </a:lnTo>
                    <a:lnTo>
                      <a:pt x="50" y="77"/>
                    </a:lnTo>
                    <a:lnTo>
                      <a:pt x="50" y="81"/>
                    </a:lnTo>
                    <a:lnTo>
                      <a:pt x="50" y="90"/>
                    </a:lnTo>
                    <a:lnTo>
                      <a:pt x="44" y="95"/>
                    </a:lnTo>
                    <a:lnTo>
                      <a:pt x="41" y="96"/>
                    </a:lnTo>
                    <a:lnTo>
                      <a:pt x="38" y="102"/>
                    </a:lnTo>
                    <a:lnTo>
                      <a:pt x="32" y="98"/>
                    </a:lnTo>
                    <a:lnTo>
                      <a:pt x="30" y="95"/>
                    </a:lnTo>
                    <a:lnTo>
                      <a:pt x="26" y="95"/>
                    </a:lnTo>
                    <a:lnTo>
                      <a:pt x="26" y="106"/>
                    </a:lnTo>
                    <a:lnTo>
                      <a:pt x="21" y="119"/>
                    </a:lnTo>
                    <a:lnTo>
                      <a:pt x="23" y="123"/>
                    </a:lnTo>
                    <a:lnTo>
                      <a:pt x="28" y="136"/>
                    </a:lnTo>
                    <a:lnTo>
                      <a:pt x="28" y="155"/>
                    </a:lnTo>
                    <a:lnTo>
                      <a:pt x="26" y="167"/>
                    </a:lnTo>
                    <a:lnTo>
                      <a:pt x="28" y="178"/>
                    </a:lnTo>
                    <a:lnTo>
                      <a:pt x="45" y="178"/>
                    </a:lnTo>
                    <a:lnTo>
                      <a:pt x="48" y="174"/>
                    </a:lnTo>
                    <a:lnTo>
                      <a:pt x="50" y="174"/>
                    </a:lnTo>
                    <a:lnTo>
                      <a:pt x="52" y="179"/>
                    </a:lnTo>
                    <a:lnTo>
                      <a:pt x="57" y="179"/>
                    </a:lnTo>
                    <a:lnTo>
                      <a:pt x="58" y="181"/>
                    </a:lnTo>
                    <a:lnTo>
                      <a:pt x="58" y="183"/>
                    </a:lnTo>
                    <a:lnTo>
                      <a:pt x="53" y="183"/>
                    </a:lnTo>
                    <a:lnTo>
                      <a:pt x="53" y="185"/>
                    </a:lnTo>
                    <a:lnTo>
                      <a:pt x="50" y="187"/>
                    </a:lnTo>
                    <a:lnTo>
                      <a:pt x="50" y="189"/>
                    </a:lnTo>
                    <a:lnTo>
                      <a:pt x="57" y="189"/>
                    </a:lnTo>
                    <a:lnTo>
                      <a:pt x="58" y="193"/>
                    </a:lnTo>
                    <a:lnTo>
                      <a:pt x="63" y="195"/>
                    </a:lnTo>
                    <a:lnTo>
                      <a:pt x="61" y="199"/>
                    </a:lnTo>
                    <a:lnTo>
                      <a:pt x="65" y="204"/>
                    </a:lnTo>
                    <a:lnTo>
                      <a:pt x="64" y="208"/>
                    </a:lnTo>
                    <a:lnTo>
                      <a:pt x="66" y="210"/>
                    </a:lnTo>
                    <a:lnTo>
                      <a:pt x="64" y="212"/>
                    </a:lnTo>
                    <a:lnTo>
                      <a:pt x="63" y="216"/>
                    </a:lnTo>
                    <a:lnTo>
                      <a:pt x="60" y="216"/>
                    </a:lnTo>
                    <a:lnTo>
                      <a:pt x="55" y="221"/>
                    </a:lnTo>
                    <a:lnTo>
                      <a:pt x="50" y="222"/>
                    </a:lnTo>
                    <a:lnTo>
                      <a:pt x="50" y="226"/>
                    </a:lnTo>
                    <a:lnTo>
                      <a:pt x="47" y="227"/>
                    </a:lnTo>
                    <a:lnTo>
                      <a:pt x="45" y="230"/>
                    </a:lnTo>
                    <a:lnTo>
                      <a:pt x="50" y="233"/>
                    </a:lnTo>
                    <a:lnTo>
                      <a:pt x="52" y="236"/>
                    </a:lnTo>
                    <a:lnTo>
                      <a:pt x="50" y="237"/>
                    </a:lnTo>
                    <a:lnTo>
                      <a:pt x="45" y="236"/>
                    </a:lnTo>
                    <a:lnTo>
                      <a:pt x="32" y="237"/>
                    </a:lnTo>
                    <a:lnTo>
                      <a:pt x="31" y="242"/>
                    </a:lnTo>
                    <a:lnTo>
                      <a:pt x="28" y="243"/>
                    </a:lnTo>
                    <a:lnTo>
                      <a:pt x="26" y="249"/>
                    </a:lnTo>
                    <a:lnTo>
                      <a:pt x="31" y="252"/>
                    </a:lnTo>
                    <a:lnTo>
                      <a:pt x="31" y="257"/>
                    </a:lnTo>
                    <a:lnTo>
                      <a:pt x="28" y="257"/>
                    </a:lnTo>
                    <a:lnTo>
                      <a:pt x="25" y="263"/>
                    </a:lnTo>
                    <a:lnTo>
                      <a:pt x="18" y="267"/>
                    </a:lnTo>
                    <a:lnTo>
                      <a:pt x="17" y="270"/>
                    </a:lnTo>
                    <a:lnTo>
                      <a:pt x="12" y="270"/>
                    </a:lnTo>
                    <a:lnTo>
                      <a:pt x="5" y="276"/>
                    </a:lnTo>
                    <a:lnTo>
                      <a:pt x="5" y="286"/>
                    </a:lnTo>
                    <a:lnTo>
                      <a:pt x="2" y="290"/>
                    </a:lnTo>
                    <a:lnTo>
                      <a:pt x="4" y="295"/>
                    </a:lnTo>
                    <a:lnTo>
                      <a:pt x="2" y="300"/>
                    </a:lnTo>
                    <a:lnTo>
                      <a:pt x="5" y="306"/>
                    </a:lnTo>
                    <a:lnTo>
                      <a:pt x="0" y="312"/>
                    </a:lnTo>
                    <a:lnTo>
                      <a:pt x="12" y="310"/>
                    </a:lnTo>
                    <a:lnTo>
                      <a:pt x="16" y="311"/>
                    </a:lnTo>
                    <a:lnTo>
                      <a:pt x="22" y="319"/>
                    </a:lnTo>
                    <a:lnTo>
                      <a:pt x="30" y="324"/>
                    </a:lnTo>
                    <a:lnTo>
                      <a:pt x="38" y="333"/>
                    </a:lnTo>
                    <a:lnTo>
                      <a:pt x="43" y="335"/>
                    </a:lnTo>
                    <a:lnTo>
                      <a:pt x="55" y="337"/>
                    </a:lnTo>
                    <a:lnTo>
                      <a:pt x="63" y="335"/>
                    </a:lnTo>
                    <a:lnTo>
                      <a:pt x="109" y="307"/>
                    </a:lnTo>
                    <a:lnTo>
                      <a:pt x="133" y="294"/>
                    </a:lnTo>
                    <a:lnTo>
                      <a:pt x="183" y="26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29" name="Freeform 98">
                <a:extLst>
                  <a:ext uri="{FF2B5EF4-FFF2-40B4-BE49-F238E27FC236}">
                    <a16:creationId xmlns:a16="http://schemas.microsoft.com/office/drawing/2014/main" id="{8C5FF6B6-B5C5-5F5C-0DAE-DF94406BDA3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71" y="2069"/>
                <a:ext cx="25" cy="15"/>
              </a:xfrm>
              <a:custGeom>
                <a:avLst/>
                <a:gdLst>
                  <a:gd name="T0" fmla="*/ 4 w 126"/>
                  <a:gd name="T1" fmla="*/ 1 h 75"/>
                  <a:gd name="T2" fmla="*/ 4 w 126"/>
                  <a:gd name="T3" fmla="*/ 0 h 75"/>
                  <a:gd name="T4" fmla="*/ 4 w 126"/>
                  <a:gd name="T5" fmla="*/ 0 h 75"/>
                  <a:gd name="T6" fmla="*/ 5 w 126"/>
                  <a:gd name="T7" fmla="*/ 0 h 75"/>
                  <a:gd name="T8" fmla="*/ 5 w 126"/>
                  <a:gd name="T9" fmla="*/ 0 h 75"/>
                  <a:gd name="T10" fmla="*/ 5 w 126"/>
                  <a:gd name="T11" fmla="*/ 0 h 75"/>
                  <a:gd name="T12" fmla="*/ 5 w 126"/>
                  <a:gd name="T13" fmla="*/ 1 h 75"/>
                  <a:gd name="T14" fmla="*/ 4 w 126"/>
                  <a:gd name="T15" fmla="*/ 1 h 75"/>
                  <a:gd name="T16" fmla="*/ 4 w 126"/>
                  <a:gd name="T17" fmla="*/ 1 h 75"/>
                  <a:gd name="T18" fmla="*/ 4 w 126"/>
                  <a:gd name="T19" fmla="*/ 2 h 75"/>
                  <a:gd name="T20" fmla="*/ 4 w 126"/>
                  <a:gd name="T21" fmla="*/ 2 h 75"/>
                  <a:gd name="T22" fmla="*/ 3 w 126"/>
                  <a:gd name="T23" fmla="*/ 2 h 75"/>
                  <a:gd name="T24" fmla="*/ 3 w 126"/>
                  <a:gd name="T25" fmla="*/ 3 h 75"/>
                  <a:gd name="T26" fmla="*/ 2 w 126"/>
                  <a:gd name="T27" fmla="*/ 3 h 75"/>
                  <a:gd name="T28" fmla="*/ 2 w 126"/>
                  <a:gd name="T29" fmla="*/ 3 h 75"/>
                  <a:gd name="T30" fmla="*/ 1 w 126"/>
                  <a:gd name="T31" fmla="*/ 3 h 75"/>
                  <a:gd name="T32" fmla="*/ 1 w 126"/>
                  <a:gd name="T33" fmla="*/ 3 h 75"/>
                  <a:gd name="T34" fmla="*/ 0 w 126"/>
                  <a:gd name="T35" fmla="*/ 2 h 75"/>
                  <a:gd name="T36" fmla="*/ 0 w 126"/>
                  <a:gd name="T37" fmla="*/ 2 h 75"/>
                  <a:gd name="T38" fmla="*/ 1 w 126"/>
                  <a:gd name="T39" fmla="*/ 2 h 75"/>
                  <a:gd name="T40" fmla="*/ 1 w 126"/>
                  <a:gd name="T41" fmla="*/ 1 h 75"/>
                  <a:gd name="T42" fmla="*/ 1 w 126"/>
                  <a:gd name="T43" fmla="*/ 1 h 75"/>
                  <a:gd name="T44" fmla="*/ 2 w 126"/>
                  <a:gd name="T45" fmla="*/ 1 h 75"/>
                  <a:gd name="T46" fmla="*/ 2 w 126"/>
                  <a:gd name="T47" fmla="*/ 1 h 75"/>
                  <a:gd name="T48" fmla="*/ 2 w 126"/>
                  <a:gd name="T49" fmla="*/ 1 h 75"/>
                  <a:gd name="T50" fmla="*/ 3 w 126"/>
                  <a:gd name="T51" fmla="*/ 1 h 75"/>
                  <a:gd name="T52" fmla="*/ 4 w 126"/>
                  <a:gd name="T53" fmla="*/ 1 h 75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126"/>
                  <a:gd name="T82" fmla="*/ 0 h 75"/>
                  <a:gd name="T83" fmla="*/ 126 w 126"/>
                  <a:gd name="T84" fmla="*/ 75 h 75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126" h="75">
                    <a:moveTo>
                      <a:pt x="92" y="16"/>
                    </a:moveTo>
                    <a:lnTo>
                      <a:pt x="106" y="11"/>
                    </a:lnTo>
                    <a:lnTo>
                      <a:pt x="112" y="5"/>
                    </a:lnTo>
                    <a:lnTo>
                      <a:pt x="122" y="0"/>
                    </a:lnTo>
                    <a:lnTo>
                      <a:pt x="126" y="0"/>
                    </a:lnTo>
                    <a:lnTo>
                      <a:pt x="123" y="9"/>
                    </a:lnTo>
                    <a:lnTo>
                      <a:pt x="115" y="17"/>
                    </a:lnTo>
                    <a:lnTo>
                      <a:pt x="107" y="21"/>
                    </a:lnTo>
                    <a:lnTo>
                      <a:pt x="96" y="37"/>
                    </a:lnTo>
                    <a:lnTo>
                      <a:pt x="99" y="43"/>
                    </a:lnTo>
                    <a:lnTo>
                      <a:pt x="92" y="52"/>
                    </a:lnTo>
                    <a:lnTo>
                      <a:pt x="80" y="54"/>
                    </a:lnTo>
                    <a:lnTo>
                      <a:pt x="69" y="64"/>
                    </a:lnTo>
                    <a:lnTo>
                      <a:pt x="53" y="68"/>
                    </a:lnTo>
                    <a:lnTo>
                      <a:pt x="43" y="75"/>
                    </a:lnTo>
                    <a:lnTo>
                      <a:pt x="25" y="72"/>
                    </a:lnTo>
                    <a:lnTo>
                      <a:pt x="13" y="66"/>
                    </a:lnTo>
                    <a:lnTo>
                      <a:pt x="5" y="57"/>
                    </a:lnTo>
                    <a:lnTo>
                      <a:pt x="0" y="45"/>
                    </a:lnTo>
                    <a:lnTo>
                      <a:pt x="13" y="42"/>
                    </a:lnTo>
                    <a:lnTo>
                      <a:pt x="21" y="37"/>
                    </a:lnTo>
                    <a:lnTo>
                      <a:pt x="31" y="36"/>
                    </a:lnTo>
                    <a:lnTo>
                      <a:pt x="38" y="33"/>
                    </a:lnTo>
                    <a:lnTo>
                      <a:pt x="40" y="25"/>
                    </a:lnTo>
                    <a:lnTo>
                      <a:pt x="43" y="26"/>
                    </a:lnTo>
                    <a:lnTo>
                      <a:pt x="63" y="25"/>
                    </a:lnTo>
                    <a:lnTo>
                      <a:pt x="92" y="1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sp>
          <p:nvSpPr>
            <p:cNvPr id="10" name="Freeform 99">
              <a:extLst>
                <a:ext uri="{FF2B5EF4-FFF2-40B4-BE49-F238E27FC236}">
                  <a16:creationId xmlns:a16="http://schemas.microsoft.com/office/drawing/2014/main" id="{D2BEEB8E-6914-04F7-0982-52B06FE3AC30}"/>
                </a:ext>
              </a:extLst>
            </p:cNvPr>
            <p:cNvSpPr>
              <a:spLocks/>
            </p:cNvSpPr>
            <p:nvPr/>
          </p:nvSpPr>
          <p:spPr bwMode="gray">
            <a:xfrm>
              <a:off x="5196710" y="2152573"/>
              <a:ext cx="60274" cy="61153"/>
            </a:xfrm>
            <a:custGeom>
              <a:avLst/>
              <a:gdLst>
                <a:gd name="T0" fmla="*/ 6682 w 170"/>
                <a:gd name="T1" fmla="*/ 9869 h 175"/>
                <a:gd name="T2" fmla="*/ 6236 w 170"/>
                <a:gd name="T3" fmla="*/ 8635 h 175"/>
                <a:gd name="T4" fmla="*/ 5791 w 170"/>
                <a:gd name="T5" fmla="*/ 8224 h 175"/>
                <a:gd name="T6" fmla="*/ 4900 w 170"/>
                <a:gd name="T7" fmla="*/ 8224 h 175"/>
                <a:gd name="T8" fmla="*/ 4009 w 170"/>
                <a:gd name="T9" fmla="*/ 7402 h 175"/>
                <a:gd name="T10" fmla="*/ 3563 w 170"/>
                <a:gd name="T11" fmla="*/ 6990 h 175"/>
                <a:gd name="T12" fmla="*/ 2227 w 170"/>
                <a:gd name="T13" fmla="*/ 6579 h 175"/>
                <a:gd name="T14" fmla="*/ 1782 w 170"/>
                <a:gd name="T15" fmla="*/ 5757 h 175"/>
                <a:gd name="T16" fmla="*/ 1336 w 170"/>
                <a:gd name="T17" fmla="*/ 4523 h 175"/>
                <a:gd name="T18" fmla="*/ 1336 w 170"/>
                <a:gd name="T19" fmla="*/ 2878 h 175"/>
                <a:gd name="T20" fmla="*/ 445 w 170"/>
                <a:gd name="T21" fmla="*/ 1645 h 175"/>
                <a:gd name="T22" fmla="*/ 0 w 170"/>
                <a:gd name="T23" fmla="*/ 1234 h 175"/>
                <a:gd name="T24" fmla="*/ 1782 w 170"/>
                <a:gd name="T25" fmla="*/ 1234 h 175"/>
                <a:gd name="T26" fmla="*/ 2673 w 170"/>
                <a:gd name="T27" fmla="*/ 822 h 175"/>
                <a:gd name="T28" fmla="*/ 4009 w 170"/>
                <a:gd name="T29" fmla="*/ 822 h 175"/>
                <a:gd name="T30" fmla="*/ 4454 w 170"/>
                <a:gd name="T31" fmla="*/ 411 h 175"/>
                <a:gd name="T32" fmla="*/ 5791 w 170"/>
                <a:gd name="T33" fmla="*/ 411 h 175"/>
                <a:gd name="T34" fmla="*/ 6682 w 170"/>
                <a:gd name="T35" fmla="*/ 411 h 175"/>
                <a:gd name="T36" fmla="*/ 7572 w 170"/>
                <a:gd name="T37" fmla="*/ 0 h 175"/>
                <a:gd name="T38" fmla="*/ 7572 w 170"/>
                <a:gd name="T39" fmla="*/ 0 h 175"/>
                <a:gd name="T40" fmla="*/ 8018 w 170"/>
                <a:gd name="T41" fmla="*/ 822 h 175"/>
                <a:gd name="T42" fmla="*/ 8909 w 170"/>
                <a:gd name="T43" fmla="*/ 1645 h 175"/>
                <a:gd name="T44" fmla="*/ 9354 w 170"/>
                <a:gd name="T45" fmla="*/ 1645 h 175"/>
                <a:gd name="T46" fmla="*/ 10245 w 170"/>
                <a:gd name="T47" fmla="*/ 2056 h 175"/>
                <a:gd name="T48" fmla="*/ 10245 w 170"/>
                <a:gd name="T49" fmla="*/ 2878 h 175"/>
                <a:gd name="T50" fmla="*/ 9800 w 170"/>
                <a:gd name="T51" fmla="*/ 3290 h 175"/>
                <a:gd name="T52" fmla="*/ 9800 w 170"/>
                <a:gd name="T53" fmla="*/ 4112 h 175"/>
                <a:gd name="T54" fmla="*/ 10245 w 170"/>
                <a:gd name="T55" fmla="*/ 4523 h 175"/>
                <a:gd name="T56" fmla="*/ 10690 w 170"/>
                <a:gd name="T57" fmla="*/ 5346 h 175"/>
                <a:gd name="T58" fmla="*/ 11136 w 170"/>
                <a:gd name="T59" fmla="*/ 5757 h 175"/>
                <a:gd name="T60" fmla="*/ 12027 w 170"/>
                <a:gd name="T61" fmla="*/ 6168 h 175"/>
                <a:gd name="T62" fmla="*/ 12472 w 170"/>
                <a:gd name="T63" fmla="*/ 6990 h 175"/>
                <a:gd name="T64" fmla="*/ 12027 w 170"/>
                <a:gd name="T65" fmla="*/ 7813 h 175"/>
                <a:gd name="T66" fmla="*/ 11136 w 170"/>
                <a:gd name="T67" fmla="*/ 7813 h 175"/>
                <a:gd name="T68" fmla="*/ 11581 w 170"/>
                <a:gd name="T69" fmla="*/ 8224 h 175"/>
                <a:gd name="T70" fmla="*/ 12472 w 170"/>
                <a:gd name="T71" fmla="*/ 9458 h 175"/>
                <a:gd name="T72" fmla="*/ 13808 w 170"/>
                <a:gd name="T73" fmla="*/ 9869 h 175"/>
                <a:gd name="T74" fmla="*/ 14254 w 170"/>
                <a:gd name="T75" fmla="*/ 9869 h 175"/>
                <a:gd name="T76" fmla="*/ 15145 w 170"/>
                <a:gd name="T77" fmla="*/ 10280 h 175"/>
                <a:gd name="T78" fmla="*/ 14699 w 170"/>
                <a:gd name="T79" fmla="*/ 10691 h 175"/>
                <a:gd name="T80" fmla="*/ 14699 w 170"/>
                <a:gd name="T81" fmla="*/ 11514 h 175"/>
                <a:gd name="T82" fmla="*/ 15145 w 170"/>
                <a:gd name="T83" fmla="*/ 11925 h 175"/>
                <a:gd name="T84" fmla="*/ 15145 w 170"/>
                <a:gd name="T85" fmla="*/ 12336 h 175"/>
                <a:gd name="T86" fmla="*/ 14254 w 170"/>
                <a:gd name="T87" fmla="*/ 12747 h 175"/>
                <a:gd name="T88" fmla="*/ 14699 w 170"/>
                <a:gd name="T89" fmla="*/ 13158 h 175"/>
                <a:gd name="T90" fmla="*/ 15145 w 170"/>
                <a:gd name="T91" fmla="*/ 13981 h 175"/>
                <a:gd name="T92" fmla="*/ 15145 w 170"/>
                <a:gd name="T93" fmla="*/ 14392 h 175"/>
                <a:gd name="T94" fmla="*/ 14699 w 170"/>
                <a:gd name="T95" fmla="*/ 14392 h 175"/>
                <a:gd name="T96" fmla="*/ 12918 w 170"/>
                <a:gd name="T97" fmla="*/ 14392 h 175"/>
                <a:gd name="T98" fmla="*/ 12472 w 170"/>
                <a:gd name="T99" fmla="*/ 14392 h 175"/>
                <a:gd name="T100" fmla="*/ 12472 w 170"/>
                <a:gd name="T101" fmla="*/ 12336 h 175"/>
                <a:gd name="T102" fmla="*/ 12027 w 170"/>
                <a:gd name="T103" fmla="*/ 11925 h 175"/>
                <a:gd name="T104" fmla="*/ 11581 w 170"/>
                <a:gd name="T105" fmla="*/ 11102 h 175"/>
                <a:gd name="T106" fmla="*/ 11581 w 170"/>
                <a:gd name="T107" fmla="*/ 10691 h 175"/>
                <a:gd name="T108" fmla="*/ 10690 w 170"/>
                <a:gd name="T109" fmla="*/ 10280 h 175"/>
                <a:gd name="T110" fmla="*/ 10245 w 170"/>
                <a:gd name="T111" fmla="*/ 10691 h 175"/>
                <a:gd name="T112" fmla="*/ 9354 w 170"/>
                <a:gd name="T113" fmla="*/ 10691 h 175"/>
                <a:gd name="T114" fmla="*/ 8909 w 170"/>
                <a:gd name="T115" fmla="*/ 10280 h 175"/>
                <a:gd name="T116" fmla="*/ 8463 w 170"/>
                <a:gd name="T117" fmla="*/ 9458 h 175"/>
                <a:gd name="T118" fmla="*/ 7572 w 170"/>
                <a:gd name="T119" fmla="*/ 9458 h 175"/>
                <a:gd name="T120" fmla="*/ 6682 w 170"/>
                <a:gd name="T121" fmla="*/ 9869 h 175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70"/>
                <a:gd name="T184" fmla="*/ 0 h 175"/>
                <a:gd name="T185" fmla="*/ 170 w 170"/>
                <a:gd name="T186" fmla="*/ 175 h 175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70" h="175">
                  <a:moveTo>
                    <a:pt x="77" y="118"/>
                  </a:moveTo>
                  <a:lnTo>
                    <a:pt x="68" y="107"/>
                  </a:lnTo>
                  <a:lnTo>
                    <a:pt x="64" y="102"/>
                  </a:lnTo>
                  <a:lnTo>
                    <a:pt x="56" y="99"/>
                  </a:lnTo>
                  <a:lnTo>
                    <a:pt x="46" y="89"/>
                  </a:lnTo>
                  <a:lnTo>
                    <a:pt x="38" y="83"/>
                  </a:lnTo>
                  <a:lnTo>
                    <a:pt x="27" y="79"/>
                  </a:lnTo>
                  <a:lnTo>
                    <a:pt x="19" y="69"/>
                  </a:lnTo>
                  <a:lnTo>
                    <a:pt x="16" y="55"/>
                  </a:lnTo>
                  <a:lnTo>
                    <a:pt x="14" y="35"/>
                  </a:lnTo>
                  <a:lnTo>
                    <a:pt x="7" y="21"/>
                  </a:lnTo>
                  <a:lnTo>
                    <a:pt x="0" y="15"/>
                  </a:lnTo>
                  <a:lnTo>
                    <a:pt x="21" y="14"/>
                  </a:lnTo>
                  <a:lnTo>
                    <a:pt x="28" y="9"/>
                  </a:lnTo>
                  <a:lnTo>
                    <a:pt x="44" y="8"/>
                  </a:lnTo>
                  <a:lnTo>
                    <a:pt x="51" y="4"/>
                  </a:lnTo>
                  <a:lnTo>
                    <a:pt x="67" y="7"/>
                  </a:lnTo>
                  <a:lnTo>
                    <a:pt x="76" y="5"/>
                  </a:lnTo>
                  <a:lnTo>
                    <a:pt x="86" y="0"/>
                  </a:lnTo>
                  <a:lnTo>
                    <a:pt x="87" y="0"/>
                  </a:lnTo>
                  <a:lnTo>
                    <a:pt x="89" y="8"/>
                  </a:lnTo>
                  <a:lnTo>
                    <a:pt x="99" y="20"/>
                  </a:lnTo>
                  <a:lnTo>
                    <a:pt x="107" y="21"/>
                  </a:lnTo>
                  <a:lnTo>
                    <a:pt x="114" y="26"/>
                  </a:lnTo>
                  <a:lnTo>
                    <a:pt x="115" y="34"/>
                  </a:lnTo>
                  <a:lnTo>
                    <a:pt x="110" y="40"/>
                  </a:lnTo>
                  <a:lnTo>
                    <a:pt x="110" y="48"/>
                  </a:lnTo>
                  <a:lnTo>
                    <a:pt x="113" y="56"/>
                  </a:lnTo>
                  <a:lnTo>
                    <a:pt x="118" y="63"/>
                  </a:lnTo>
                  <a:lnTo>
                    <a:pt x="123" y="68"/>
                  </a:lnTo>
                  <a:lnTo>
                    <a:pt x="137" y="77"/>
                  </a:lnTo>
                  <a:lnTo>
                    <a:pt x="138" y="84"/>
                  </a:lnTo>
                  <a:lnTo>
                    <a:pt x="135" y="93"/>
                  </a:lnTo>
                  <a:lnTo>
                    <a:pt x="126" y="94"/>
                  </a:lnTo>
                  <a:lnTo>
                    <a:pt x="129" y="101"/>
                  </a:lnTo>
                  <a:lnTo>
                    <a:pt x="138" y="113"/>
                  </a:lnTo>
                  <a:lnTo>
                    <a:pt x="153" y="122"/>
                  </a:lnTo>
                  <a:lnTo>
                    <a:pt x="161" y="122"/>
                  </a:lnTo>
                  <a:lnTo>
                    <a:pt x="168" y="123"/>
                  </a:lnTo>
                  <a:lnTo>
                    <a:pt x="164" y="131"/>
                  </a:lnTo>
                  <a:lnTo>
                    <a:pt x="163" y="139"/>
                  </a:lnTo>
                  <a:lnTo>
                    <a:pt x="169" y="144"/>
                  </a:lnTo>
                  <a:lnTo>
                    <a:pt x="168" y="152"/>
                  </a:lnTo>
                  <a:lnTo>
                    <a:pt x="161" y="154"/>
                  </a:lnTo>
                  <a:lnTo>
                    <a:pt x="166" y="160"/>
                  </a:lnTo>
                  <a:lnTo>
                    <a:pt x="169" y="168"/>
                  </a:lnTo>
                  <a:lnTo>
                    <a:pt x="170" y="175"/>
                  </a:lnTo>
                  <a:lnTo>
                    <a:pt x="164" y="175"/>
                  </a:lnTo>
                  <a:lnTo>
                    <a:pt x="147" y="175"/>
                  </a:lnTo>
                  <a:lnTo>
                    <a:pt x="142" y="175"/>
                  </a:lnTo>
                  <a:lnTo>
                    <a:pt x="141" y="150"/>
                  </a:lnTo>
                  <a:lnTo>
                    <a:pt x="137" y="143"/>
                  </a:lnTo>
                  <a:lnTo>
                    <a:pt x="132" y="136"/>
                  </a:lnTo>
                  <a:lnTo>
                    <a:pt x="129" y="128"/>
                  </a:lnTo>
                  <a:lnTo>
                    <a:pt x="121" y="126"/>
                  </a:lnTo>
                  <a:lnTo>
                    <a:pt x="114" y="128"/>
                  </a:lnTo>
                  <a:lnTo>
                    <a:pt x="107" y="128"/>
                  </a:lnTo>
                  <a:lnTo>
                    <a:pt x="99" y="125"/>
                  </a:lnTo>
                  <a:lnTo>
                    <a:pt x="94" y="117"/>
                  </a:lnTo>
                  <a:lnTo>
                    <a:pt x="87" y="116"/>
                  </a:lnTo>
                  <a:lnTo>
                    <a:pt x="77" y="118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1" name="Freeform 100">
              <a:extLst>
                <a:ext uri="{FF2B5EF4-FFF2-40B4-BE49-F238E27FC236}">
                  <a16:creationId xmlns:a16="http://schemas.microsoft.com/office/drawing/2014/main" id="{B4AD84F7-A42D-6A5A-1E0D-068947E3C495}"/>
                </a:ext>
              </a:extLst>
            </p:cNvPr>
            <p:cNvSpPr>
              <a:spLocks/>
            </p:cNvSpPr>
            <p:nvPr/>
          </p:nvSpPr>
          <p:spPr bwMode="gray">
            <a:xfrm>
              <a:off x="5256984" y="1740809"/>
              <a:ext cx="784813" cy="418559"/>
            </a:xfrm>
            <a:custGeom>
              <a:avLst/>
              <a:gdLst>
                <a:gd name="T0" fmla="*/ 41426 w 2230"/>
                <a:gd name="T1" fmla="*/ 93342 h 1190"/>
                <a:gd name="T2" fmla="*/ 31626 w 2230"/>
                <a:gd name="T3" fmla="*/ 91286 h 1190"/>
                <a:gd name="T4" fmla="*/ 23163 w 2230"/>
                <a:gd name="T5" fmla="*/ 85118 h 1190"/>
                <a:gd name="T6" fmla="*/ 22272 w 2230"/>
                <a:gd name="T7" fmla="*/ 76483 h 1190"/>
                <a:gd name="T8" fmla="*/ 26726 w 2230"/>
                <a:gd name="T9" fmla="*/ 72371 h 1190"/>
                <a:gd name="T10" fmla="*/ 36971 w 2230"/>
                <a:gd name="T11" fmla="*/ 72371 h 1190"/>
                <a:gd name="T12" fmla="*/ 37417 w 2230"/>
                <a:gd name="T13" fmla="*/ 67848 h 1190"/>
                <a:gd name="T14" fmla="*/ 29844 w 2230"/>
                <a:gd name="T15" fmla="*/ 60035 h 1190"/>
                <a:gd name="T16" fmla="*/ 21381 w 2230"/>
                <a:gd name="T17" fmla="*/ 59212 h 1190"/>
                <a:gd name="T18" fmla="*/ 8909 w 2230"/>
                <a:gd name="T19" fmla="*/ 64147 h 1190"/>
                <a:gd name="T20" fmla="*/ 9354 w 2230"/>
                <a:gd name="T21" fmla="*/ 57568 h 1190"/>
                <a:gd name="T22" fmla="*/ 3118 w 2230"/>
                <a:gd name="T23" fmla="*/ 54278 h 1190"/>
                <a:gd name="T24" fmla="*/ 1336 w 2230"/>
                <a:gd name="T25" fmla="*/ 44821 h 1190"/>
                <a:gd name="T26" fmla="*/ 5791 w 2230"/>
                <a:gd name="T27" fmla="*/ 37830 h 1190"/>
                <a:gd name="T28" fmla="*/ 11136 w 2230"/>
                <a:gd name="T29" fmla="*/ 35774 h 1190"/>
                <a:gd name="T30" fmla="*/ 17372 w 2230"/>
                <a:gd name="T31" fmla="*/ 31251 h 1190"/>
                <a:gd name="T32" fmla="*/ 23608 w 2230"/>
                <a:gd name="T33" fmla="*/ 29606 h 1190"/>
                <a:gd name="T34" fmla="*/ 29399 w 2230"/>
                <a:gd name="T35" fmla="*/ 29606 h 1190"/>
                <a:gd name="T36" fmla="*/ 37417 w 2230"/>
                <a:gd name="T37" fmla="*/ 32896 h 1190"/>
                <a:gd name="T38" fmla="*/ 39198 w 2230"/>
                <a:gd name="T39" fmla="*/ 33718 h 1190"/>
                <a:gd name="T40" fmla="*/ 47216 w 2230"/>
                <a:gd name="T41" fmla="*/ 34952 h 1190"/>
                <a:gd name="T42" fmla="*/ 52562 w 2230"/>
                <a:gd name="T43" fmla="*/ 32896 h 1190"/>
                <a:gd name="T44" fmla="*/ 60134 w 2230"/>
                <a:gd name="T45" fmla="*/ 35774 h 1190"/>
                <a:gd name="T46" fmla="*/ 67706 w 2230"/>
                <a:gd name="T47" fmla="*/ 35774 h 1190"/>
                <a:gd name="T48" fmla="*/ 70824 w 2230"/>
                <a:gd name="T49" fmla="*/ 30017 h 1190"/>
                <a:gd name="T50" fmla="*/ 67706 w 2230"/>
                <a:gd name="T51" fmla="*/ 25083 h 1190"/>
                <a:gd name="T52" fmla="*/ 71715 w 2230"/>
                <a:gd name="T53" fmla="*/ 18504 h 1190"/>
                <a:gd name="T54" fmla="*/ 71715 w 2230"/>
                <a:gd name="T55" fmla="*/ 15626 h 1190"/>
                <a:gd name="T56" fmla="*/ 71270 w 2230"/>
                <a:gd name="T57" fmla="*/ 12336 h 1190"/>
                <a:gd name="T58" fmla="*/ 78397 w 2230"/>
                <a:gd name="T59" fmla="*/ 11514 h 1190"/>
                <a:gd name="T60" fmla="*/ 85969 w 2230"/>
                <a:gd name="T61" fmla="*/ 9046 h 1190"/>
                <a:gd name="T62" fmla="*/ 92205 w 2230"/>
                <a:gd name="T63" fmla="*/ 6168 h 1190"/>
                <a:gd name="T64" fmla="*/ 105569 w 2230"/>
                <a:gd name="T65" fmla="*/ 3290 h 1190"/>
                <a:gd name="T66" fmla="*/ 110468 w 2230"/>
                <a:gd name="T67" fmla="*/ 0 h 1190"/>
                <a:gd name="T68" fmla="*/ 118041 w 2230"/>
                <a:gd name="T69" fmla="*/ 822 h 1190"/>
                <a:gd name="T70" fmla="*/ 120268 w 2230"/>
                <a:gd name="T71" fmla="*/ 8224 h 1190"/>
                <a:gd name="T72" fmla="*/ 124722 w 2230"/>
                <a:gd name="T73" fmla="*/ 8635 h 1190"/>
                <a:gd name="T74" fmla="*/ 126949 w 2230"/>
                <a:gd name="T75" fmla="*/ 10280 h 1190"/>
                <a:gd name="T76" fmla="*/ 132740 w 2230"/>
                <a:gd name="T77" fmla="*/ 11925 h 1190"/>
                <a:gd name="T78" fmla="*/ 134522 w 2230"/>
                <a:gd name="T79" fmla="*/ 14392 h 1190"/>
                <a:gd name="T80" fmla="*/ 141203 w 2230"/>
                <a:gd name="T81" fmla="*/ 10280 h 1190"/>
                <a:gd name="T82" fmla="*/ 147440 w 2230"/>
                <a:gd name="T83" fmla="*/ 9869 h 1190"/>
                <a:gd name="T84" fmla="*/ 165257 w 2230"/>
                <a:gd name="T85" fmla="*/ 32485 h 1190"/>
                <a:gd name="T86" fmla="*/ 172829 w 2230"/>
                <a:gd name="T87" fmla="*/ 34952 h 1190"/>
                <a:gd name="T88" fmla="*/ 180847 w 2230"/>
                <a:gd name="T89" fmla="*/ 33718 h 1190"/>
                <a:gd name="T90" fmla="*/ 185302 w 2230"/>
                <a:gd name="T91" fmla="*/ 38653 h 1190"/>
                <a:gd name="T92" fmla="*/ 192429 w 2230"/>
                <a:gd name="T93" fmla="*/ 43998 h 1190"/>
                <a:gd name="T94" fmla="*/ 198219 w 2230"/>
                <a:gd name="T95" fmla="*/ 45643 h 1190"/>
                <a:gd name="T96" fmla="*/ 190647 w 2230"/>
                <a:gd name="T97" fmla="*/ 60446 h 1190"/>
                <a:gd name="T98" fmla="*/ 176393 w 2230"/>
                <a:gd name="T99" fmla="*/ 63736 h 1190"/>
                <a:gd name="T100" fmla="*/ 163921 w 2230"/>
                <a:gd name="T101" fmla="*/ 74016 h 1190"/>
                <a:gd name="T102" fmla="*/ 165702 w 2230"/>
                <a:gd name="T103" fmla="*/ 87174 h 1190"/>
                <a:gd name="T104" fmla="*/ 157685 w 2230"/>
                <a:gd name="T105" fmla="*/ 87174 h 1190"/>
                <a:gd name="T106" fmla="*/ 144322 w 2230"/>
                <a:gd name="T107" fmla="*/ 86351 h 1190"/>
                <a:gd name="T108" fmla="*/ 134076 w 2230"/>
                <a:gd name="T109" fmla="*/ 85118 h 1190"/>
                <a:gd name="T110" fmla="*/ 126504 w 2230"/>
                <a:gd name="T111" fmla="*/ 87996 h 1190"/>
                <a:gd name="T112" fmla="*/ 119822 w 2230"/>
                <a:gd name="T113" fmla="*/ 88819 h 1190"/>
                <a:gd name="T114" fmla="*/ 111805 w 2230"/>
                <a:gd name="T115" fmla="*/ 94987 h 1190"/>
                <a:gd name="T116" fmla="*/ 105569 w 2230"/>
                <a:gd name="T117" fmla="*/ 97043 h 1190"/>
                <a:gd name="T118" fmla="*/ 93542 w 2230"/>
                <a:gd name="T119" fmla="*/ 83884 h 1190"/>
                <a:gd name="T120" fmla="*/ 65925 w 2230"/>
                <a:gd name="T121" fmla="*/ 74016 h 119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230"/>
                <a:gd name="T184" fmla="*/ 0 h 1190"/>
                <a:gd name="T185" fmla="*/ 2230 w 2230"/>
                <a:gd name="T186" fmla="*/ 1190 h 119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230" h="1190">
                  <a:moveTo>
                    <a:pt x="518" y="898"/>
                  </a:moveTo>
                  <a:lnTo>
                    <a:pt x="518" y="968"/>
                  </a:lnTo>
                  <a:lnTo>
                    <a:pt x="518" y="1042"/>
                  </a:lnTo>
                  <a:lnTo>
                    <a:pt x="518" y="1107"/>
                  </a:lnTo>
                  <a:lnTo>
                    <a:pt x="518" y="1168"/>
                  </a:lnTo>
                  <a:lnTo>
                    <a:pt x="506" y="1174"/>
                  </a:lnTo>
                  <a:lnTo>
                    <a:pt x="486" y="1173"/>
                  </a:lnTo>
                  <a:lnTo>
                    <a:pt x="477" y="1166"/>
                  </a:lnTo>
                  <a:lnTo>
                    <a:pt x="468" y="1143"/>
                  </a:lnTo>
                  <a:lnTo>
                    <a:pt x="464" y="1136"/>
                  </a:lnTo>
                  <a:lnTo>
                    <a:pt x="458" y="1130"/>
                  </a:lnTo>
                  <a:lnTo>
                    <a:pt x="452" y="1115"/>
                  </a:lnTo>
                  <a:lnTo>
                    <a:pt x="447" y="1108"/>
                  </a:lnTo>
                  <a:lnTo>
                    <a:pt x="432" y="1102"/>
                  </a:lnTo>
                  <a:lnTo>
                    <a:pt x="425" y="1097"/>
                  </a:lnTo>
                  <a:lnTo>
                    <a:pt x="418" y="1092"/>
                  </a:lnTo>
                  <a:lnTo>
                    <a:pt x="410" y="1092"/>
                  </a:lnTo>
                  <a:lnTo>
                    <a:pt x="402" y="1093"/>
                  </a:lnTo>
                  <a:lnTo>
                    <a:pt x="378" y="1100"/>
                  </a:lnTo>
                  <a:lnTo>
                    <a:pt x="355" y="1109"/>
                  </a:lnTo>
                  <a:lnTo>
                    <a:pt x="325" y="1135"/>
                  </a:lnTo>
                  <a:lnTo>
                    <a:pt x="324" y="1096"/>
                  </a:lnTo>
                  <a:lnTo>
                    <a:pt x="333" y="1085"/>
                  </a:lnTo>
                  <a:lnTo>
                    <a:pt x="335" y="1065"/>
                  </a:lnTo>
                  <a:lnTo>
                    <a:pt x="323" y="1060"/>
                  </a:lnTo>
                  <a:lnTo>
                    <a:pt x="311" y="1059"/>
                  </a:lnTo>
                  <a:lnTo>
                    <a:pt x="291" y="1050"/>
                  </a:lnTo>
                  <a:lnTo>
                    <a:pt x="281" y="1037"/>
                  </a:lnTo>
                  <a:lnTo>
                    <a:pt x="274" y="1037"/>
                  </a:lnTo>
                  <a:lnTo>
                    <a:pt x="262" y="1035"/>
                  </a:lnTo>
                  <a:lnTo>
                    <a:pt x="259" y="996"/>
                  </a:lnTo>
                  <a:lnTo>
                    <a:pt x="247" y="976"/>
                  </a:lnTo>
                  <a:lnTo>
                    <a:pt x="239" y="970"/>
                  </a:lnTo>
                  <a:lnTo>
                    <a:pt x="232" y="956"/>
                  </a:lnTo>
                  <a:lnTo>
                    <a:pt x="209" y="947"/>
                  </a:lnTo>
                  <a:lnTo>
                    <a:pt x="198" y="930"/>
                  </a:lnTo>
                  <a:lnTo>
                    <a:pt x="205" y="924"/>
                  </a:lnTo>
                  <a:lnTo>
                    <a:pt x="223" y="924"/>
                  </a:lnTo>
                  <a:lnTo>
                    <a:pt x="241" y="927"/>
                  </a:lnTo>
                  <a:lnTo>
                    <a:pt x="250" y="932"/>
                  </a:lnTo>
                  <a:lnTo>
                    <a:pt x="258" y="930"/>
                  </a:lnTo>
                  <a:lnTo>
                    <a:pt x="271" y="931"/>
                  </a:lnTo>
                  <a:lnTo>
                    <a:pt x="268" y="924"/>
                  </a:lnTo>
                  <a:lnTo>
                    <a:pt x="264" y="913"/>
                  </a:lnTo>
                  <a:lnTo>
                    <a:pt x="262" y="894"/>
                  </a:lnTo>
                  <a:lnTo>
                    <a:pt x="266" y="883"/>
                  </a:lnTo>
                  <a:lnTo>
                    <a:pt x="276" y="878"/>
                  </a:lnTo>
                  <a:lnTo>
                    <a:pt x="276" y="886"/>
                  </a:lnTo>
                  <a:lnTo>
                    <a:pt x="287" y="887"/>
                  </a:lnTo>
                  <a:lnTo>
                    <a:pt x="298" y="882"/>
                  </a:lnTo>
                  <a:lnTo>
                    <a:pt x="301" y="873"/>
                  </a:lnTo>
                  <a:lnTo>
                    <a:pt x="311" y="865"/>
                  </a:lnTo>
                  <a:lnTo>
                    <a:pt x="328" y="863"/>
                  </a:lnTo>
                  <a:lnTo>
                    <a:pt x="344" y="873"/>
                  </a:lnTo>
                  <a:lnTo>
                    <a:pt x="360" y="879"/>
                  </a:lnTo>
                  <a:lnTo>
                    <a:pt x="376" y="876"/>
                  </a:lnTo>
                  <a:lnTo>
                    <a:pt x="386" y="868"/>
                  </a:lnTo>
                  <a:lnTo>
                    <a:pt x="389" y="870"/>
                  </a:lnTo>
                  <a:lnTo>
                    <a:pt x="394" y="874"/>
                  </a:lnTo>
                  <a:lnTo>
                    <a:pt x="413" y="881"/>
                  </a:lnTo>
                  <a:lnTo>
                    <a:pt x="424" y="887"/>
                  </a:lnTo>
                  <a:lnTo>
                    <a:pt x="435" y="884"/>
                  </a:lnTo>
                  <a:lnTo>
                    <a:pt x="447" y="887"/>
                  </a:lnTo>
                  <a:lnTo>
                    <a:pt x="451" y="879"/>
                  </a:lnTo>
                  <a:lnTo>
                    <a:pt x="443" y="867"/>
                  </a:lnTo>
                  <a:lnTo>
                    <a:pt x="453" y="867"/>
                  </a:lnTo>
                  <a:lnTo>
                    <a:pt x="446" y="855"/>
                  </a:lnTo>
                  <a:lnTo>
                    <a:pt x="435" y="841"/>
                  </a:lnTo>
                  <a:lnTo>
                    <a:pt x="425" y="834"/>
                  </a:lnTo>
                  <a:lnTo>
                    <a:pt x="420" y="823"/>
                  </a:lnTo>
                  <a:lnTo>
                    <a:pt x="409" y="823"/>
                  </a:lnTo>
                  <a:lnTo>
                    <a:pt x="398" y="806"/>
                  </a:lnTo>
                  <a:lnTo>
                    <a:pt x="392" y="782"/>
                  </a:lnTo>
                  <a:lnTo>
                    <a:pt x="384" y="771"/>
                  </a:lnTo>
                  <a:lnTo>
                    <a:pt x="382" y="777"/>
                  </a:lnTo>
                  <a:lnTo>
                    <a:pt x="375" y="760"/>
                  </a:lnTo>
                  <a:lnTo>
                    <a:pt x="370" y="760"/>
                  </a:lnTo>
                  <a:lnTo>
                    <a:pt x="367" y="749"/>
                  </a:lnTo>
                  <a:lnTo>
                    <a:pt x="348" y="732"/>
                  </a:lnTo>
                  <a:lnTo>
                    <a:pt x="336" y="731"/>
                  </a:lnTo>
                  <a:lnTo>
                    <a:pt x="336" y="725"/>
                  </a:lnTo>
                  <a:lnTo>
                    <a:pt x="323" y="723"/>
                  </a:lnTo>
                  <a:lnTo>
                    <a:pt x="312" y="728"/>
                  </a:lnTo>
                  <a:lnTo>
                    <a:pt x="303" y="730"/>
                  </a:lnTo>
                  <a:lnTo>
                    <a:pt x="292" y="736"/>
                  </a:lnTo>
                  <a:lnTo>
                    <a:pt x="289" y="725"/>
                  </a:lnTo>
                  <a:lnTo>
                    <a:pt x="274" y="725"/>
                  </a:lnTo>
                  <a:lnTo>
                    <a:pt x="270" y="722"/>
                  </a:lnTo>
                  <a:lnTo>
                    <a:pt x="257" y="720"/>
                  </a:lnTo>
                  <a:lnTo>
                    <a:pt x="242" y="718"/>
                  </a:lnTo>
                  <a:lnTo>
                    <a:pt x="207" y="752"/>
                  </a:lnTo>
                  <a:lnTo>
                    <a:pt x="188" y="753"/>
                  </a:lnTo>
                  <a:lnTo>
                    <a:pt x="162" y="761"/>
                  </a:lnTo>
                  <a:lnTo>
                    <a:pt x="136" y="765"/>
                  </a:lnTo>
                  <a:lnTo>
                    <a:pt x="114" y="771"/>
                  </a:lnTo>
                  <a:lnTo>
                    <a:pt x="136" y="786"/>
                  </a:lnTo>
                  <a:lnTo>
                    <a:pt x="119" y="793"/>
                  </a:lnTo>
                  <a:lnTo>
                    <a:pt x="112" y="791"/>
                  </a:lnTo>
                  <a:lnTo>
                    <a:pt x="108" y="785"/>
                  </a:lnTo>
                  <a:lnTo>
                    <a:pt x="102" y="781"/>
                  </a:lnTo>
                  <a:lnTo>
                    <a:pt x="93" y="781"/>
                  </a:lnTo>
                  <a:lnTo>
                    <a:pt x="86" y="779"/>
                  </a:lnTo>
                  <a:lnTo>
                    <a:pt x="83" y="773"/>
                  </a:lnTo>
                  <a:lnTo>
                    <a:pt x="90" y="766"/>
                  </a:lnTo>
                  <a:lnTo>
                    <a:pt x="91" y="758"/>
                  </a:lnTo>
                  <a:lnTo>
                    <a:pt x="98" y="755"/>
                  </a:lnTo>
                  <a:lnTo>
                    <a:pt x="107" y="761"/>
                  </a:lnTo>
                  <a:lnTo>
                    <a:pt x="119" y="758"/>
                  </a:lnTo>
                  <a:lnTo>
                    <a:pt x="110" y="701"/>
                  </a:lnTo>
                  <a:lnTo>
                    <a:pt x="103" y="699"/>
                  </a:lnTo>
                  <a:lnTo>
                    <a:pt x="98" y="693"/>
                  </a:lnTo>
                  <a:lnTo>
                    <a:pt x="96" y="684"/>
                  </a:lnTo>
                  <a:lnTo>
                    <a:pt x="92" y="678"/>
                  </a:lnTo>
                  <a:lnTo>
                    <a:pt x="86" y="672"/>
                  </a:lnTo>
                  <a:lnTo>
                    <a:pt x="79" y="672"/>
                  </a:lnTo>
                  <a:lnTo>
                    <a:pt x="61" y="674"/>
                  </a:lnTo>
                  <a:lnTo>
                    <a:pt x="48" y="671"/>
                  </a:lnTo>
                  <a:lnTo>
                    <a:pt x="47" y="679"/>
                  </a:lnTo>
                  <a:lnTo>
                    <a:pt x="34" y="667"/>
                  </a:lnTo>
                  <a:lnTo>
                    <a:pt x="33" y="660"/>
                  </a:lnTo>
                  <a:lnTo>
                    <a:pt x="29" y="652"/>
                  </a:lnTo>
                  <a:lnTo>
                    <a:pt x="34" y="646"/>
                  </a:lnTo>
                  <a:lnTo>
                    <a:pt x="29" y="639"/>
                  </a:lnTo>
                  <a:lnTo>
                    <a:pt x="28" y="631"/>
                  </a:lnTo>
                  <a:lnTo>
                    <a:pt x="0" y="621"/>
                  </a:lnTo>
                  <a:lnTo>
                    <a:pt x="11" y="577"/>
                  </a:lnTo>
                  <a:lnTo>
                    <a:pt x="24" y="570"/>
                  </a:lnTo>
                  <a:lnTo>
                    <a:pt x="29" y="562"/>
                  </a:lnTo>
                  <a:lnTo>
                    <a:pt x="27" y="555"/>
                  </a:lnTo>
                  <a:lnTo>
                    <a:pt x="16" y="544"/>
                  </a:lnTo>
                  <a:lnTo>
                    <a:pt x="26" y="499"/>
                  </a:lnTo>
                  <a:lnTo>
                    <a:pt x="39" y="490"/>
                  </a:lnTo>
                  <a:lnTo>
                    <a:pt x="44" y="484"/>
                  </a:lnTo>
                  <a:lnTo>
                    <a:pt x="42" y="475"/>
                  </a:lnTo>
                  <a:lnTo>
                    <a:pt x="45" y="468"/>
                  </a:lnTo>
                  <a:lnTo>
                    <a:pt x="45" y="461"/>
                  </a:lnTo>
                  <a:lnTo>
                    <a:pt x="49" y="452"/>
                  </a:lnTo>
                  <a:lnTo>
                    <a:pt x="54" y="446"/>
                  </a:lnTo>
                  <a:lnTo>
                    <a:pt x="60" y="451"/>
                  </a:lnTo>
                  <a:lnTo>
                    <a:pt x="64" y="458"/>
                  </a:lnTo>
                  <a:lnTo>
                    <a:pt x="76" y="468"/>
                  </a:lnTo>
                  <a:lnTo>
                    <a:pt x="93" y="505"/>
                  </a:lnTo>
                  <a:lnTo>
                    <a:pt x="102" y="507"/>
                  </a:lnTo>
                  <a:lnTo>
                    <a:pt x="128" y="490"/>
                  </a:lnTo>
                  <a:lnTo>
                    <a:pt x="125" y="481"/>
                  </a:lnTo>
                  <a:lnTo>
                    <a:pt x="122" y="474"/>
                  </a:lnTo>
                  <a:lnTo>
                    <a:pt x="118" y="449"/>
                  </a:lnTo>
                  <a:lnTo>
                    <a:pt x="110" y="436"/>
                  </a:lnTo>
                  <a:lnTo>
                    <a:pt x="119" y="437"/>
                  </a:lnTo>
                  <a:lnTo>
                    <a:pt x="126" y="435"/>
                  </a:lnTo>
                  <a:lnTo>
                    <a:pt x="146" y="420"/>
                  </a:lnTo>
                  <a:lnTo>
                    <a:pt x="153" y="416"/>
                  </a:lnTo>
                  <a:lnTo>
                    <a:pt x="158" y="410"/>
                  </a:lnTo>
                  <a:lnTo>
                    <a:pt x="158" y="402"/>
                  </a:lnTo>
                  <a:lnTo>
                    <a:pt x="158" y="393"/>
                  </a:lnTo>
                  <a:lnTo>
                    <a:pt x="166" y="392"/>
                  </a:lnTo>
                  <a:lnTo>
                    <a:pt x="174" y="393"/>
                  </a:lnTo>
                  <a:lnTo>
                    <a:pt x="182" y="391"/>
                  </a:lnTo>
                  <a:lnTo>
                    <a:pt x="187" y="383"/>
                  </a:lnTo>
                  <a:lnTo>
                    <a:pt x="193" y="379"/>
                  </a:lnTo>
                  <a:lnTo>
                    <a:pt x="201" y="377"/>
                  </a:lnTo>
                  <a:lnTo>
                    <a:pt x="206" y="371"/>
                  </a:lnTo>
                  <a:lnTo>
                    <a:pt x="214" y="366"/>
                  </a:lnTo>
                  <a:lnTo>
                    <a:pt x="219" y="360"/>
                  </a:lnTo>
                  <a:lnTo>
                    <a:pt x="220" y="352"/>
                  </a:lnTo>
                  <a:lnTo>
                    <a:pt x="227" y="348"/>
                  </a:lnTo>
                  <a:lnTo>
                    <a:pt x="242" y="343"/>
                  </a:lnTo>
                  <a:lnTo>
                    <a:pt x="258" y="343"/>
                  </a:lnTo>
                  <a:lnTo>
                    <a:pt x="259" y="351"/>
                  </a:lnTo>
                  <a:lnTo>
                    <a:pt x="263" y="359"/>
                  </a:lnTo>
                  <a:lnTo>
                    <a:pt x="279" y="355"/>
                  </a:lnTo>
                  <a:lnTo>
                    <a:pt x="284" y="361"/>
                  </a:lnTo>
                  <a:lnTo>
                    <a:pt x="289" y="354"/>
                  </a:lnTo>
                  <a:lnTo>
                    <a:pt x="291" y="345"/>
                  </a:lnTo>
                  <a:lnTo>
                    <a:pt x="296" y="339"/>
                  </a:lnTo>
                  <a:lnTo>
                    <a:pt x="303" y="340"/>
                  </a:lnTo>
                  <a:lnTo>
                    <a:pt x="311" y="336"/>
                  </a:lnTo>
                  <a:lnTo>
                    <a:pt x="318" y="336"/>
                  </a:lnTo>
                  <a:lnTo>
                    <a:pt x="324" y="352"/>
                  </a:lnTo>
                  <a:lnTo>
                    <a:pt x="329" y="359"/>
                  </a:lnTo>
                  <a:lnTo>
                    <a:pt x="338" y="355"/>
                  </a:lnTo>
                  <a:lnTo>
                    <a:pt x="345" y="355"/>
                  </a:lnTo>
                  <a:lnTo>
                    <a:pt x="352" y="357"/>
                  </a:lnTo>
                  <a:lnTo>
                    <a:pt x="368" y="354"/>
                  </a:lnTo>
                  <a:lnTo>
                    <a:pt x="376" y="355"/>
                  </a:lnTo>
                  <a:lnTo>
                    <a:pt x="383" y="360"/>
                  </a:lnTo>
                  <a:lnTo>
                    <a:pt x="389" y="365"/>
                  </a:lnTo>
                  <a:lnTo>
                    <a:pt x="395" y="379"/>
                  </a:lnTo>
                  <a:lnTo>
                    <a:pt x="416" y="392"/>
                  </a:lnTo>
                  <a:lnTo>
                    <a:pt x="421" y="398"/>
                  </a:lnTo>
                  <a:lnTo>
                    <a:pt x="424" y="406"/>
                  </a:lnTo>
                  <a:lnTo>
                    <a:pt x="435" y="419"/>
                  </a:lnTo>
                  <a:lnTo>
                    <a:pt x="434" y="426"/>
                  </a:lnTo>
                  <a:lnTo>
                    <a:pt x="435" y="435"/>
                  </a:lnTo>
                  <a:lnTo>
                    <a:pt x="440" y="441"/>
                  </a:lnTo>
                  <a:lnTo>
                    <a:pt x="447" y="438"/>
                  </a:lnTo>
                  <a:lnTo>
                    <a:pt x="447" y="431"/>
                  </a:lnTo>
                  <a:lnTo>
                    <a:pt x="446" y="422"/>
                  </a:lnTo>
                  <a:lnTo>
                    <a:pt x="447" y="415"/>
                  </a:lnTo>
                  <a:lnTo>
                    <a:pt x="442" y="408"/>
                  </a:lnTo>
                  <a:lnTo>
                    <a:pt x="447" y="402"/>
                  </a:lnTo>
                  <a:lnTo>
                    <a:pt x="456" y="400"/>
                  </a:lnTo>
                  <a:lnTo>
                    <a:pt x="458" y="408"/>
                  </a:lnTo>
                  <a:lnTo>
                    <a:pt x="464" y="414"/>
                  </a:lnTo>
                  <a:lnTo>
                    <a:pt x="467" y="421"/>
                  </a:lnTo>
                  <a:lnTo>
                    <a:pt x="473" y="426"/>
                  </a:lnTo>
                  <a:lnTo>
                    <a:pt x="488" y="432"/>
                  </a:lnTo>
                  <a:lnTo>
                    <a:pt x="502" y="440"/>
                  </a:lnTo>
                  <a:lnTo>
                    <a:pt x="511" y="437"/>
                  </a:lnTo>
                  <a:lnTo>
                    <a:pt x="531" y="424"/>
                  </a:lnTo>
                  <a:lnTo>
                    <a:pt x="531" y="415"/>
                  </a:lnTo>
                  <a:lnTo>
                    <a:pt x="537" y="411"/>
                  </a:lnTo>
                  <a:lnTo>
                    <a:pt x="543" y="406"/>
                  </a:lnTo>
                  <a:lnTo>
                    <a:pt x="551" y="405"/>
                  </a:lnTo>
                  <a:lnTo>
                    <a:pt x="559" y="408"/>
                  </a:lnTo>
                  <a:lnTo>
                    <a:pt x="559" y="400"/>
                  </a:lnTo>
                  <a:lnTo>
                    <a:pt x="567" y="399"/>
                  </a:lnTo>
                  <a:lnTo>
                    <a:pt x="575" y="402"/>
                  </a:lnTo>
                  <a:lnTo>
                    <a:pt x="582" y="397"/>
                  </a:lnTo>
                  <a:lnTo>
                    <a:pt x="590" y="402"/>
                  </a:lnTo>
                  <a:lnTo>
                    <a:pt x="601" y="413"/>
                  </a:lnTo>
                  <a:lnTo>
                    <a:pt x="615" y="404"/>
                  </a:lnTo>
                  <a:lnTo>
                    <a:pt x="619" y="397"/>
                  </a:lnTo>
                  <a:lnTo>
                    <a:pt x="634" y="397"/>
                  </a:lnTo>
                  <a:lnTo>
                    <a:pt x="641" y="393"/>
                  </a:lnTo>
                  <a:lnTo>
                    <a:pt x="657" y="399"/>
                  </a:lnTo>
                  <a:lnTo>
                    <a:pt x="662" y="405"/>
                  </a:lnTo>
                  <a:lnTo>
                    <a:pt x="663" y="421"/>
                  </a:lnTo>
                  <a:lnTo>
                    <a:pt x="669" y="427"/>
                  </a:lnTo>
                  <a:lnTo>
                    <a:pt x="674" y="434"/>
                  </a:lnTo>
                  <a:lnTo>
                    <a:pt x="690" y="432"/>
                  </a:lnTo>
                  <a:lnTo>
                    <a:pt x="705" y="435"/>
                  </a:lnTo>
                  <a:lnTo>
                    <a:pt x="707" y="446"/>
                  </a:lnTo>
                  <a:lnTo>
                    <a:pt x="725" y="445"/>
                  </a:lnTo>
                  <a:lnTo>
                    <a:pt x="731" y="440"/>
                  </a:lnTo>
                  <a:lnTo>
                    <a:pt x="738" y="425"/>
                  </a:lnTo>
                  <a:lnTo>
                    <a:pt x="743" y="419"/>
                  </a:lnTo>
                  <a:lnTo>
                    <a:pt x="749" y="421"/>
                  </a:lnTo>
                  <a:lnTo>
                    <a:pt x="760" y="434"/>
                  </a:lnTo>
                  <a:lnTo>
                    <a:pt x="776" y="435"/>
                  </a:lnTo>
                  <a:lnTo>
                    <a:pt x="792" y="432"/>
                  </a:lnTo>
                  <a:lnTo>
                    <a:pt x="800" y="426"/>
                  </a:lnTo>
                  <a:lnTo>
                    <a:pt x="814" y="421"/>
                  </a:lnTo>
                  <a:lnTo>
                    <a:pt x="827" y="383"/>
                  </a:lnTo>
                  <a:lnTo>
                    <a:pt x="830" y="376"/>
                  </a:lnTo>
                  <a:lnTo>
                    <a:pt x="824" y="370"/>
                  </a:lnTo>
                  <a:lnTo>
                    <a:pt x="823" y="366"/>
                  </a:lnTo>
                  <a:lnTo>
                    <a:pt x="809" y="365"/>
                  </a:lnTo>
                  <a:lnTo>
                    <a:pt x="793" y="363"/>
                  </a:lnTo>
                  <a:lnTo>
                    <a:pt x="787" y="356"/>
                  </a:lnTo>
                  <a:lnTo>
                    <a:pt x="784" y="351"/>
                  </a:lnTo>
                  <a:lnTo>
                    <a:pt x="766" y="348"/>
                  </a:lnTo>
                  <a:lnTo>
                    <a:pt x="759" y="345"/>
                  </a:lnTo>
                  <a:lnTo>
                    <a:pt x="760" y="336"/>
                  </a:lnTo>
                  <a:lnTo>
                    <a:pt x="755" y="329"/>
                  </a:lnTo>
                  <a:lnTo>
                    <a:pt x="739" y="327"/>
                  </a:lnTo>
                  <a:lnTo>
                    <a:pt x="741" y="318"/>
                  </a:lnTo>
                  <a:lnTo>
                    <a:pt x="748" y="316"/>
                  </a:lnTo>
                  <a:lnTo>
                    <a:pt x="760" y="306"/>
                  </a:lnTo>
                  <a:lnTo>
                    <a:pt x="776" y="301"/>
                  </a:lnTo>
                  <a:lnTo>
                    <a:pt x="790" y="291"/>
                  </a:lnTo>
                  <a:lnTo>
                    <a:pt x="793" y="285"/>
                  </a:lnTo>
                  <a:lnTo>
                    <a:pt x="795" y="276"/>
                  </a:lnTo>
                  <a:lnTo>
                    <a:pt x="776" y="249"/>
                  </a:lnTo>
                  <a:lnTo>
                    <a:pt x="784" y="246"/>
                  </a:lnTo>
                  <a:lnTo>
                    <a:pt x="790" y="241"/>
                  </a:lnTo>
                  <a:lnTo>
                    <a:pt x="792" y="232"/>
                  </a:lnTo>
                  <a:lnTo>
                    <a:pt x="798" y="227"/>
                  </a:lnTo>
                  <a:lnTo>
                    <a:pt x="807" y="226"/>
                  </a:lnTo>
                  <a:lnTo>
                    <a:pt x="814" y="227"/>
                  </a:lnTo>
                  <a:lnTo>
                    <a:pt x="823" y="226"/>
                  </a:lnTo>
                  <a:lnTo>
                    <a:pt x="830" y="228"/>
                  </a:lnTo>
                  <a:lnTo>
                    <a:pt x="846" y="228"/>
                  </a:lnTo>
                  <a:lnTo>
                    <a:pt x="855" y="226"/>
                  </a:lnTo>
                  <a:lnTo>
                    <a:pt x="857" y="217"/>
                  </a:lnTo>
                  <a:lnTo>
                    <a:pt x="854" y="211"/>
                  </a:lnTo>
                  <a:lnTo>
                    <a:pt x="839" y="203"/>
                  </a:lnTo>
                  <a:lnTo>
                    <a:pt x="807" y="199"/>
                  </a:lnTo>
                  <a:lnTo>
                    <a:pt x="803" y="192"/>
                  </a:lnTo>
                  <a:lnTo>
                    <a:pt x="805" y="183"/>
                  </a:lnTo>
                  <a:lnTo>
                    <a:pt x="812" y="183"/>
                  </a:lnTo>
                  <a:lnTo>
                    <a:pt x="819" y="180"/>
                  </a:lnTo>
                  <a:lnTo>
                    <a:pt x="823" y="173"/>
                  </a:lnTo>
                  <a:lnTo>
                    <a:pt x="818" y="168"/>
                  </a:lnTo>
                  <a:lnTo>
                    <a:pt x="811" y="172"/>
                  </a:lnTo>
                  <a:lnTo>
                    <a:pt x="795" y="172"/>
                  </a:lnTo>
                  <a:lnTo>
                    <a:pt x="795" y="163"/>
                  </a:lnTo>
                  <a:lnTo>
                    <a:pt x="797" y="156"/>
                  </a:lnTo>
                  <a:lnTo>
                    <a:pt x="802" y="150"/>
                  </a:lnTo>
                  <a:lnTo>
                    <a:pt x="791" y="139"/>
                  </a:lnTo>
                  <a:lnTo>
                    <a:pt x="807" y="137"/>
                  </a:lnTo>
                  <a:lnTo>
                    <a:pt x="811" y="131"/>
                  </a:lnTo>
                  <a:lnTo>
                    <a:pt x="820" y="131"/>
                  </a:lnTo>
                  <a:lnTo>
                    <a:pt x="825" y="137"/>
                  </a:lnTo>
                  <a:lnTo>
                    <a:pt x="833" y="136"/>
                  </a:lnTo>
                  <a:lnTo>
                    <a:pt x="841" y="137"/>
                  </a:lnTo>
                  <a:lnTo>
                    <a:pt x="849" y="135"/>
                  </a:lnTo>
                  <a:lnTo>
                    <a:pt x="873" y="136"/>
                  </a:lnTo>
                  <a:lnTo>
                    <a:pt x="878" y="142"/>
                  </a:lnTo>
                  <a:lnTo>
                    <a:pt x="888" y="130"/>
                  </a:lnTo>
                  <a:lnTo>
                    <a:pt x="895" y="128"/>
                  </a:lnTo>
                  <a:lnTo>
                    <a:pt x="911" y="128"/>
                  </a:lnTo>
                  <a:lnTo>
                    <a:pt x="918" y="123"/>
                  </a:lnTo>
                  <a:lnTo>
                    <a:pt x="926" y="120"/>
                  </a:lnTo>
                  <a:lnTo>
                    <a:pt x="938" y="110"/>
                  </a:lnTo>
                  <a:lnTo>
                    <a:pt x="947" y="113"/>
                  </a:lnTo>
                  <a:lnTo>
                    <a:pt x="952" y="118"/>
                  </a:lnTo>
                  <a:lnTo>
                    <a:pt x="961" y="118"/>
                  </a:lnTo>
                  <a:lnTo>
                    <a:pt x="963" y="110"/>
                  </a:lnTo>
                  <a:lnTo>
                    <a:pt x="980" y="107"/>
                  </a:lnTo>
                  <a:lnTo>
                    <a:pt x="986" y="102"/>
                  </a:lnTo>
                  <a:lnTo>
                    <a:pt x="995" y="102"/>
                  </a:lnTo>
                  <a:lnTo>
                    <a:pt x="1002" y="98"/>
                  </a:lnTo>
                  <a:lnTo>
                    <a:pt x="1010" y="98"/>
                  </a:lnTo>
                  <a:lnTo>
                    <a:pt x="1017" y="101"/>
                  </a:lnTo>
                  <a:lnTo>
                    <a:pt x="1022" y="93"/>
                  </a:lnTo>
                  <a:lnTo>
                    <a:pt x="1023" y="86"/>
                  </a:lnTo>
                  <a:lnTo>
                    <a:pt x="1027" y="79"/>
                  </a:lnTo>
                  <a:lnTo>
                    <a:pt x="1034" y="74"/>
                  </a:lnTo>
                  <a:lnTo>
                    <a:pt x="1042" y="72"/>
                  </a:lnTo>
                  <a:lnTo>
                    <a:pt x="1049" y="76"/>
                  </a:lnTo>
                  <a:lnTo>
                    <a:pt x="1067" y="70"/>
                  </a:lnTo>
                  <a:lnTo>
                    <a:pt x="1067" y="71"/>
                  </a:lnTo>
                  <a:lnTo>
                    <a:pt x="1104" y="61"/>
                  </a:lnTo>
                  <a:lnTo>
                    <a:pt x="1136" y="58"/>
                  </a:lnTo>
                  <a:lnTo>
                    <a:pt x="1164" y="49"/>
                  </a:lnTo>
                  <a:lnTo>
                    <a:pt x="1171" y="44"/>
                  </a:lnTo>
                  <a:lnTo>
                    <a:pt x="1179" y="44"/>
                  </a:lnTo>
                  <a:lnTo>
                    <a:pt x="1187" y="42"/>
                  </a:lnTo>
                  <a:lnTo>
                    <a:pt x="1191" y="36"/>
                  </a:lnTo>
                  <a:lnTo>
                    <a:pt x="1191" y="28"/>
                  </a:lnTo>
                  <a:lnTo>
                    <a:pt x="1191" y="20"/>
                  </a:lnTo>
                  <a:lnTo>
                    <a:pt x="1200" y="21"/>
                  </a:lnTo>
                  <a:lnTo>
                    <a:pt x="1207" y="20"/>
                  </a:lnTo>
                  <a:lnTo>
                    <a:pt x="1212" y="12"/>
                  </a:lnTo>
                  <a:lnTo>
                    <a:pt x="1218" y="7"/>
                  </a:lnTo>
                  <a:lnTo>
                    <a:pt x="1227" y="7"/>
                  </a:lnTo>
                  <a:lnTo>
                    <a:pt x="1232" y="1"/>
                  </a:lnTo>
                  <a:lnTo>
                    <a:pt x="1239" y="0"/>
                  </a:lnTo>
                  <a:lnTo>
                    <a:pt x="1244" y="6"/>
                  </a:lnTo>
                  <a:lnTo>
                    <a:pt x="1253" y="4"/>
                  </a:lnTo>
                  <a:lnTo>
                    <a:pt x="1260" y="7"/>
                  </a:lnTo>
                  <a:lnTo>
                    <a:pt x="1269" y="5"/>
                  </a:lnTo>
                  <a:lnTo>
                    <a:pt x="1276" y="9"/>
                  </a:lnTo>
                  <a:lnTo>
                    <a:pt x="1281" y="15"/>
                  </a:lnTo>
                  <a:lnTo>
                    <a:pt x="1295" y="23"/>
                  </a:lnTo>
                  <a:lnTo>
                    <a:pt x="1302" y="20"/>
                  </a:lnTo>
                  <a:lnTo>
                    <a:pt x="1308" y="15"/>
                  </a:lnTo>
                  <a:lnTo>
                    <a:pt x="1324" y="12"/>
                  </a:lnTo>
                  <a:lnTo>
                    <a:pt x="1332" y="15"/>
                  </a:lnTo>
                  <a:lnTo>
                    <a:pt x="1338" y="21"/>
                  </a:lnTo>
                  <a:lnTo>
                    <a:pt x="1341" y="28"/>
                  </a:lnTo>
                  <a:lnTo>
                    <a:pt x="1343" y="44"/>
                  </a:lnTo>
                  <a:lnTo>
                    <a:pt x="1341" y="53"/>
                  </a:lnTo>
                  <a:lnTo>
                    <a:pt x="1344" y="60"/>
                  </a:lnTo>
                  <a:lnTo>
                    <a:pt x="1356" y="71"/>
                  </a:lnTo>
                  <a:lnTo>
                    <a:pt x="1352" y="79"/>
                  </a:lnTo>
                  <a:lnTo>
                    <a:pt x="1354" y="94"/>
                  </a:lnTo>
                  <a:lnTo>
                    <a:pt x="1349" y="102"/>
                  </a:lnTo>
                  <a:lnTo>
                    <a:pt x="1344" y="107"/>
                  </a:lnTo>
                  <a:lnTo>
                    <a:pt x="1347" y="114"/>
                  </a:lnTo>
                  <a:lnTo>
                    <a:pt x="1350" y="123"/>
                  </a:lnTo>
                  <a:lnTo>
                    <a:pt x="1366" y="118"/>
                  </a:lnTo>
                  <a:lnTo>
                    <a:pt x="1373" y="123"/>
                  </a:lnTo>
                  <a:lnTo>
                    <a:pt x="1381" y="122"/>
                  </a:lnTo>
                  <a:lnTo>
                    <a:pt x="1384" y="113"/>
                  </a:lnTo>
                  <a:lnTo>
                    <a:pt x="1392" y="113"/>
                  </a:lnTo>
                  <a:lnTo>
                    <a:pt x="1399" y="115"/>
                  </a:lnTo>
                  <a:lnTo>
                    <a:pt x="1402" y="107"/>
                  </a:lnTo>
                  <a:lnTo>
                    <a:pt x="1402" y="99"/>
                  </a:lnTo>
                  <a:lnTo>
                    <a:pt x="1409" y="101"/>
                  </a:lnTo>
                  <a:lnTo>
                    <a:pt x="1413" y="108"/>
                  </a:lnTo>
                  <a:lnTo>
                    <a:pt x="1415" y="117"/>
                  </a:lnTo>
                  <a:lnTo>
                    <a:pt x="1420" y="122"/>
                  </a:lnTo>
                  <a:lnTo>
                    <a:pt x="1418" y="129"/>
                  </a:lnTo>
                  <a:lnTo>
                    <a:pt x="1416" y="137"/>
                  </a:lnTo>
                  <a:lnTo>
                    <a:pt x="1432" y="139"/>
                  </a:lnTo>
                  <a:lnTo>
                    <a:pt x="1430" y="131"/>
                  </a:lnTo>
                  <a:lnTo>
                    <a:pt x="1425" y="125"/>
                  </a:lnTo>
                  <a:lnTo>
                    <a:pt x="1432" y="123"/>
                  </a:lnTo>
                  <a:lnTo>
                    <a:pt x="1448" y="125"/>
                  </a:lnTo>
                  <a:lnTo>
                    <a:pt x="1456" y="130"/>
                  </a:lnTo>
                  <a:lnTo>
                    <a:pt x="1461" y="136"/>
                  </a:lnTo>
                  <a:lnTo>
                    <a:pt x="1469" y="140"/>
                  </a:lnTo>
                  <a:lnTo>
                    <a:pt x="1476" y="140"/>
                  </a:lnTo>
                  <a:lnTo>
                    <a:pt x="1480" y="133"/>
                  </a:lnTo>
                  <a:lnTo>
                    <a:pt x="1488" y="129"/>
                  </a:lnTo>
                  <a:lnTo>
                    <a:pt x="1490" y="137"/>
                  </a:lnTo>
                  <a:lnTo>
                    <a:pt x="1490" y="145"/>
                  </a:lnTo>
                  <a:lnTo>
                    <a:pt x="1481" y="147"/>
                  </a:lnTo>
                  <a:lnTo>
                    <a:pt x="1475" y="152"/>
                  </a:lnTo>
                  <a:lnTo>
                    <a:pt x="1470" y="160"/>
                  </a:lnTo>
                  <a:lnTo>
                    <a:pt x="1468" y="167"/>
                  </a:lnTo>
                  <a:lnTo>
                    <a:pt x="1469" y="176"/>
                  </a:lnTo>
                  <a:lnTo>
                    <a:pt x="1474" y="183"/>
                  </a:lnTo>
                  <a:lnTo>
                    <a:pt x="1481" y="182"/>
                  </a:lnTo>
                  <a:lnTo>
                    <a:pt x="1486" y="176"/>
                  </a:lnTo>
                  <a:lnTo>
                    <a:pt x="1501" y="169"/>
                  </a:lnTo>
                  <a:lnTo>
                    <a:pt x="1508" y="173"/>
                  </a:lnTo>
                  <a:lnTo>
                    <a:pt x="1517" y="172"/>
                  </a:lnTo>
                  <a:lnTo>
                    <a:pt x="1522" y="177"/>
                  </a:lnTo>
                  <a:lnTo>
                    <a:pt x="1531" y="177"/>
                  </a:lnTo>
                  <a:lnTo>
                    <a:pt x="1528" y="169"/>
                  </a:lnTo>
                  <a:lnTo>
                    <a:pt x="1533" y="163"/>
                  </a:lnTo>
                  <a:lnTo>
                    <a:pt x="1542" y="163"/>
                  </a:lnTo>
                  <a:lnTo>
                    <a:pt x="1551" y="151"/>
                  </a:lnTo>
                  <a:lnTo>
                    <a:pt x="1567" y="149"/>
                  </a:lnTo>
                  <a:lnTo>
                    <a:pt x="1580" y="137"/>
                  </a:lnTo>
                  <a:lnTo>
                    <a:pt x="1586" y="123"/>
                  </a:lnTo>
                  <a:lnTo>
                    <a:pt x="1592" y="118"/>
                  </a:lnTo>
                  <a:lnTo>
                    <a:pt x="1601" y="119"/>
                  </a:lnTo>
                  <a:lnTo>
                    <a:pt x="1617" y="115"/>
                  </a:lnTo>
                  <a:lnTo>
                    <a:pt x="1624" y="113"/>
                  </a:lnTo>
                  <a:lnTo>
                    <a:pt x="1628" y="106"/>
                  </a:lnTo>
                  <a:lnTo>
                    <a:pt x="1644" y="104"/>
                  </a:lnTo>
                  <a:lnTo>
                    <a:pt x="1657" y="96"/>
                  </a:lnTo>
                  <a:lnTo>
                    <a:pt x="1661" y="103"/>
                  </a:lnTo>
                  <a:lnTo>
                    <a:pt x="1662" y="110"/>
                  </a:lnTo>
                  <a:lnTo>
                    <a:pt x="1657" y="118"/>
                  </a:lnTo>
                  <a:lnTo>
                    <a:pt x="1650" y="122"/>
                  </a:lnTo>
                  <a:lnTo>
                    <a:pt x="1642" y="120"/>
                  </a:lnTo>
                  <a:lnTo>
                    <a:pt x="1641" y="128"/>
                  </a:lnTo>
                  <a:lnTo>
                    <a:pt x="1644" y="135"/>
                  </a:lnTo>
                  <a:lnTo>
                    <a:pt x="1648" y="137"/>
                  </a:lnTo>
                  <a:lnTo>
                    <a:pt x="1720" y="204"/>
                  </a:lnTo>
                  <a:lnTo>
                    <a:pt x="1840" y="422"/>
                  </a:lnTo>
                  <a:lnTo>
                    <a:pt x="1854" y="411"/>
                  </a:lnTo>
                  <a:lnTo>
                    <a:pt x="1857" y="404"/>
                  </a:lnTo>
                  <a:lnTo>
                    <a:pt x="1857" y="397"/>
                  </a:lnTo>
                  <a:lnTo>
                    <a:pt x="1868" y="383"/>
                  </a:lnTo>
                  <a:lnTo>
                    <a:pt x="1876" y="382"/>
                  </a:lnTo>
                  <a:lnTo>
                    <a:pt x="1881" y="388"/>
                  </a:lnTo>
                  <a:lnTo>
                    <a:pt x="1889" y="391"/>
                  </a:lnTo>
                  <a:lnTo>
                    <a:pt x="1903" y="399"/>
                  </a:lnTo>
                  <a:lnTo>
                    <a:pt x="1899" y="406"/>
                  </a:lnTo>
                  <a:lnTo>
                    <a:pt x="1903" y="413"/>
                  </a:lnTo>
                  <a:lnTo>
                    <a:pt x="1909" y="414"/>
                  </a:lnTo>
                  <a:lnTo>
                    <a:pt x="1914" y="427"/>
                  </a:lnTo>
                  <a:lnTo>
                    <a:pt x="1938" y="425"/>
                  </a:lnTo>
                  <a:lnTo>
                    <a:pt x="1956" y="430"/>
                  </a:lnTo>
                  <a:lnTo>
                    <a:pt x="1963" y="427"/>
                  </a:lnTo>
                  <a:lnTo>
                    <a:pt x="1979" y="427"/>
                  </a:lnTo>
                  <a:lnTo>
                    <a:pt x="1981" y="420"/>
                  </a:lnTo>
                  <a:lnTo>
                    <a:pt x="1986" y="414"/>
                  </a:lnTo>
                  <a:lnTo>
                    <a:pt x="1995" y="415"/>
                  </a:lnTo>
                  <a:lnTo>
                    <a:pt x="2002" y="415"/>
                  </a:lnTo>
                  <a:lnTo>
                    <a:pt x="2006" y="408"/>
                  </a:lnTo>
                  <a:lnTo>
                    <a:pt x="2012" y="403"/>
                  </a:lnTo>
                  <a:lnTo>
                    <a:pt x="2028" y="408"/>
                  </a:lnTo>
                  <a:lnTo>
                    <a:pt x="2035" y="411"/>
                  </a:lnTo>
                  <a:lnTo>
                    <a:pt x="2039" y="419"/>
                  </a:lnTo>
                  <a:lnTo>
                    <a:pt x="2046" y="422"/>
                  </a:lnTo>
                  <a:lnTo>
                    <a:pt x="2056" y="435"/>
                  </a:lnTo>
                  <a:lnTo>
                    <a:pt x="2064" y="438"/>
                  </a:lnTo>
                  <a:lnTo>
                    <a:pt x="2067" y="446"/>
                  </a:lnTo>
                  <a:lnTo>
                    <a:pt x="2065" y="454"/>
                  </a:lnTo>
                  <a:lnTo>
                    <a:pt x="2066" y="462"/>
                  </a:lnTo>
                  <a:lnTo>
                    <a:pt x="2070" y="469"/>
                  </a:lnTo>
                  <a:lnTo>
                    <a:pt x="2078" y="470"/>
                  </a:lnTo>
                  <a:lnTo>
                    <a:pt x="2099" y="481"/>
                  </a:lnTo>
                  <a:lnTo>
                    <a:pt x="2103" y="489"/>
                  </a:lnTo>
                  <a:lnTo>
                    <a:pt x="2103" y="496"/>
                  </a:lnTo>
                  <a:lnTo>
                    <a:pt x="2110" y="500"/>
                  </a:lnTo>
                  <a:lnTo>
                    <a:pt x="2115" y="505"/>
                  </a:lnTo>
                  <a:lnTo>
                    <a:pt x="2123" y="519"/>
                  </a:lnTo>
                  <a:lnTo>
                    <a:pt x="2129" y="524"/>
                  </a:lnTo>
                  <a:lnTo>
                    <a:pt x="2145" y="526"/>
                  </a:lnTo>
                  <a:lnTo>
                    <a:pt x="2152" y="531"/>
                  </a:lnTo>
                  <a:lnTo>
                    <a:pt x="2159" y="533"/>
                  </a:lnTo>
                  <a:lnTo>
                    <a:pt x="2168" y="534"/>
                  </a:lnTo>
                  <a:lnTo>
                    <a:pt x="2177" y="534"/>
                  </a:lnTo>
                  <a:lnTo>
                    <a:pt x="2179" y="527"/>
                  </a:lnTo>
                  <a:lnTo>
                    <a:pt x="2184" y="521"/>
                  </a:lnTo>
                  <a:lnTo>
                    <a:pt x="2199" y="515"/>
                  </a:lnTo>
                  <a:lnTo>
                    <a:pt x="2201" y="523"/>
                  </a:lnTo>
                  <a:lnTo>
                    <a:pt x="2205" y="531"/>
                  </a:lnTo>
                  <a:lnTo>
                    <a:pt x="2212" y="535"/>
                  </a:lnTo>
                  <a:lnTo>
                    <a:pt x="2218" y="549"/>
                  </a:lnTo>
                  <a:lnTo>
                    <a:pt x="2226" y="554"/>
                  </a:lnTo>
                  <a:lnTo>
                    <a:pt x="2230" y="561"/>
                  </a:lnTo>
                  <a:lnTo>
                    <a:pt x="2217" y="587"/>
                  </a:lnTo>
                  <a:lnTo>
                    <a:pt x="2207" y="607"/>
                  </a:lnTo>
                  <a:lnTo>
                    <a:pt x="2191" y="623"/>
                  </a:lnTo>
                  <a:lnTo>
                    <a:pt x="2171" y="629"/>
                  </a:lnTo>
                  <a:lnTo>
                    <a:pt x="2156" y="628"/>
                  </a:lnTo>
                  <a:lnTo>
                    <a:pt x="2145" y="648"/>
                  </a:lnTo>
                  <a:lnTo>
                    <a:pt x="2140" y="673"/>
                  </a:lnTo>
                  <a:lnTo>
                    <a:pt x="2142" y="696"/>
                  </a:lnTo>
                  <a:lnTo>
                    <a:pt x="2139" y="733"/>
                  </a:lnTo>
                  <a:lnTo>
                    <a:pt x="2116" y="741"/>
                  </a:lnTo>
                  <a:lnTo>
                    <a:pt x="2102" y="753"/>
                  </a:lnTo>
                  <a:lnTo>
                    <a:pt x="2092" y="745"/>
                  </a:lnTo>
                  <a:lnTo>
                    <a:pt x="2082" y="736"/>
                  </a:lnTo>
                  <a:lnTo>
                    <a:pt x="2048" y="739"/>
                  </a:lnTo>
                  <a:lnTo>
                    <a:pt x="2030" y="733"/>
                  </a:lnTo>
                  <a:lnTo>
                    <a:pt x="2021" y="726"/>
                  </a:lnTo>
                  <a:lnTo>
                    <a:pt x="1996" y="726"/>
                  </a:lnTo>
                  <a:lnTo>
                    <a:pt x="1986" y="747"/>
                  </a:lnTo>
                  <a:lnTo>
                    <a:pt x="1978" y="773"/>
                  </a:lnTo>
                  <a:lnTo>
                    <a:pt x="1965" y="800"/>
                  </a:lnTo>
                  <a:lnTo>
                    <a:pt x="1959" y="824"/>
                  </a:lnTo>
                  <a:lnTo>
                    <a:pt x="1956" y="844"/>
                  </a:lnTo>
                  <a:lnTo>
                    <a:pt x="1958" y="859"/>
                  </a:lnTo>
                  <a:lnTo>
                    <a:pt x="1964" y="877"/>
                  </a:lnTo>
                  <a:lnTo>
                    <a:pt x="1957" y="882"/>
                  </a:lnTo>
                  <a:lnTo>
                    <a:pt x="1902" y="884"/>
                  </a:lnTo>
                  <a:lnTo>
                    <a:pt x="1879" y="892"/>
                  </a:lnTo>
                  <a:lnTo>
                    <a:pt x="1861" y="894"/>
                  </a:lnTo>
                  <a:lnTo>
                    <a:pt x="1841" y="901"/>
                  </a:lnTo>
                  <a:lnTo>
                    <a:pt x="1831" y="909"/>
                  </a:lnTo>
                  <a:lnTo>
                    <a:pt x="1840" y="916"/>
                  </a:lnTo>
                  <a:lnTo>
                    <a:pt x="1847" y="931"/>
                  </a:lnTo>
                  <a:lnTo>
                    <a:pt x="1852" y="969"/>
                  </a:lnTo>
                  <a:lnTo>
                    <a:pt x="1856" y="984"/>
                  </a:lnTo>
                  <a:lnTo>
                    <a:pt x="1863" y="996"/>
                  </a:lnTo>
                  <a:lnTo>
                    <a:pt x="1872" y="1023"/>
                  </a:lnTo>
                  <a:lnTo>
                    <a:pt x="1872" y="1038"/>
                  </a:lnTo>
                  <a:lnTo>
                    <a:pt x="1859" y="1048"/>
                  </a:lnTo>
                  <a:lnTo>
                    <a:pt x="1860" y="1061"/>
                  </a:lnTo>
                  <a:lnTo>
                    <a:pt x="1852" y="1070"/>
                  </a:lnTo>
                  <a:lnTo>
                    <a:pt x="1850" y="1081"/>
                  </a:lnTo>
                  <a:lnTo>
                    <a:pt x="1850" y="1099"/>
                  </a:lnTo>
                  <a:lnTo>
                    <a:pt x="1843" y="1099"/>
                  </a:lnTo>
                  <a:lnTo>
                    <a:pt x="1823" y="1086"/>
                  </a:lnTo>
                  <a:lnTo>
                    <a:pt x="1807" y="1083"/>
                  </a:lnTo>
                  <a:lnTo>
                    <a:pt x="1792" y="1065"/>
                  </a:lnTo>
                  <a:lnTo>
                    <a:pt x="1776" y="1064"/>
                  </a:lnTo>
                  <a:lnTo>
                    <a:pt x="1768" y="1061"/>
                  </a:lnTo>
                  <a:lnTo>
                    <a:pt x="1760" y="1061"/>
                  </a:lnTo>
                  <a:lnTo>
                    <a:pt x="1753" y="1057"/>
                  </a:lnTo>
                  <a:lnTo>
                    <a:pt x="1745" y="1056"/>
                  </a:lnTo>
                  <a:lnTo>
                    <a:pt x="1721" y="1057"/>
                  </a:lnTo>
                  <a:lnTo>
                    <a:pt x="1698" y="1054"/>
                  </a:lnTo>
                  <a:lnTo>
                    <a:pt x="1689" y="1055"/>
                  </a:lnTo>
                  <a:lnTo>
                    <a:pt x="1674" y="1048"/>
                  </a:lnTo>
                  <a:lnTo>
                    <a:pt x="1667" y="1048"/>
                  </a:lnTo>
                  <a:lnTo>
                    <a:pt x="1652" y="1054"/>
                  </a:lnTo>
                  <a:lnTo>
                    <a:pt x="1620" y="1050"/>
                  </a:lnTo>
                  <a:lnTo>
                    <a:pt x="1612" y="1050"/>
                  </a:lnTo>
                  <a:lnTo>
                    <a:pt x="1596" y="1054"/>
                  </a:lnTo>
                  <a:lnTo>
                    <a:pt x="1580" y="1054"/>
                  </a:lnTo>
                  <a:lnTo>
                    <a:pt x="1571" y="1053"/>
                  </a:lnTo>
                  <a:lnTo>
                    <a:pt x="1565" y="1048"/>
                  </a:lnTo>
                  <a:lnTo>
                    <a:pt x="1556" y="1046"/>
                  </a:lnTo>
                  <a:lnTo>
                    <a:pt x="1540" y="1048"/>
                  </a:lnTo>
                  <a:lnTo>
                    <a:pt x="1534" y="1043"/>
                  </a:lnTo>
                  <a:lnTo>
                    <a:pt x="1513" y="1030"/>
                  </a:lnTo>
                  <a:lnTo>
                    <a:pt x="1506" y="1034"/>
                  </a:lnTo>
                  <a:lnTo>
                    <a:pt x="1499" y="1035"/>
                  </a:lnTo>
                  <a:lnTo>
                    <a:pt x="1491" y="1038"/>
                  </a:lnTo>
                  <a:lnTo>
                    <a:pt x="1479" y="1048"/>
                  </a:lnTo>
                  <a:lnTo>
                    <a:pt x="1478" y="1056"/>
                  </a:lnTo>
                  <a:lnTo>
                    <a:pt x="1473" y="1064"/>
                  </a:lnTo>
                  <a:lnTo>
                    <a:pt x="1470" y="1080"/>
                  </a:lnTo>
                  <a:lnTo>
                    <a:pt x="1467" y="1086"/>
                  </a:lnTo>
                  <a:lnTo>
                    <a:pt x="1451" y="1082"/>
                  </a:lnTo>
                  <a:lnTo>
                    <a:pt x="1437" y="1075"/>
                  </a:lnTo>
                  <a:lnTo>
                    <a:pt x="1421" y="1070"/>
                  </a:lnTo>
                  <a:lnTo>
                    <a:pt x="1414" y="1066"/>
                  </a:lnTo>
                  <a:lnTo>
                    <a:pt x="1406" y="1064"/>
                  </a:lnTo>
                  <a:lnTo>
                    <a:pt x="1398" y="1064"/>
                  </a:lnTo>
                  <a:lnTo>
                    <a:pt x="1383" y="1061"/>
                  </a:lnTo>
                  <a:lnTo>
                    <a:pt x="1375" y="1062"/>
                  </a:lnTo>
                  <a:lnTo>
                    <a:pt x="1367" y="1060"/>
                  </a:lnTo>
                  <a:lnTo>
                    <a:pt x="1351" y="1062"/>
                  </a:lnTo>
                  <a:lnTo>
                    <a:pt x="1344" y="1066"/>
                  </a:lnTo>
                  <a:lnTo>
                    <a:pt x="1341" y="1073"/>
                  </a:lnTo>
                  <a:lnTo>
                    <a:pt x="1343" y="1081"/>
                  </a:lnTo>
                  <a:lnTo>
                    <a:pt x="1338" y="1088"/>
                  </a:lnTo>
                  <a:lnTo>
                    <a:pt x="1334" y="1096"/>
                  </a:lnTo>
                  <a:lnTo>
                    <a:pt x="1332" y="1103"/>
                  </a:lnTo>
                  <a:lnTo>
                    <a:pt x="1320" y="1115"/>
                  </a:lnTo>
                  <a:lnTo>
                    <a:pt x="1313" y="1118"/>
                  </a:lnTo>
                  <a:lnTo>
                    <a:pt x="1306" y="1115"/>
                  </a:lnTo>
                  <a:lnTo>
                    <a:pt x="1300" y="1130"/>
                  </a:lnTo>
                  <a:lnTo>
                    <a:pt x="1293" y="1135"/>
                  </a:lnTo>
                  <a:lnTo>
                    <a:pt x="1271" y="1145"/>
                  </a:lnTo>
                  <a:lnTo>
                    <a:pt x="1257" y="1153"/>
                  </a:lnTo>
                  <a:lnTo>
                    <a:pt x="1252" y="1159"/>
                  </a:lnTo>
                  <a:lnTo>
                    <a:pt x="1244" y="1162"/>
                  </a:lnTo>
                  <a:lnTo>
                    <a:pt x="1237" y="1167"/>
                  </a:lnTo>
                  <a:lnTo>
                    <a:pt x="1233" y="1174"/>
                  </a:lnTo>
                  <a:lnTo>
                    <a:pt x="1231" y="1182"/>
                  </a:lnTo>
                  <a:lnTo>
                    <a:pt x="1225" y="1186"/>
                  </a:lnTo>
                  <a:lnTo>
                    <a:pt x="1217" y="1190"/>
                  </a:lnTo>
                  <a:lnTo>
                    <a:pt x="1209" y="1189"/>
                  </a:lnTo>
                  <a:lnTo>
                    <a:pt x="1194" y="1183"/>
                  </a:lnTo>
                  <a:lnTo>
                    <a:pt x="1185" y="1180"/>
                  </a:lnTo>
                  <a:lnTo>
                    <a:pt x="1172" y="1172"/>
                  </a:lnTo>
                  <a:lnTo>
                    <a:pt x="1115" y="1178"/>
                  </a:lnTo>
                  <a:lnTo>
                    <a:pt x="1105" y="1132"/>
                  </a:lnTo>
                  <a:lnTo>
                    <a:pt x="1072" y="1126"/>
                  </a:lnTo>
                  <a:lnTo>
                    <a:pt x="1071" y="1113"/>
                  </a:lnTo>
                  <a:lnTo>
                    <a:pt x="1071" y="1097"/>
                  </a:lnTo>
                  <a:lnTo>
                    <a:pt x="1080" y="1096"/>
                  </a:lnTo>
                  <a:lnTo>
                    <a:pt x="1078" y="1053"/>
                  </a:lnTo>
                  <a:lnTo>
                    <a:pt x="1065" y="1054"/>
                  </a:lnTo>
                  <a:lnTo>
                    <a:pt x="1048" y="1021"/>
                  </a:lnTo>
                  <a:lnTo>
                    <a:pt x="1035" y="1011"/>
                  </a:lnTo>
                  <a:lnTo>
                    <a:pt x="1028" y="1007"/>
                  </a:lnTo>
                  <a:lnTo>
                    <a:pt x="1016" y="997"/>
                  </a:lnTo>
                  <a:lnTo>
                    <a:pt x="1010" y="991"/>
                  </a:lnTo>
                  <a:lnTo>
                    <a:pt x="996" y="997"/>
                  </a:lnTo>
                  <a:lnTo>
                    <a:pt x="920" y="996"/>
                  </a:lnTo>
                  <a:lnTo>
                    <a:pt x="849" y="1008"/>
                  </a:lnTo>
                  <a:lnTo>
                    <a:pt x="820" y="980"/>
                  </a:lnTo>
                  <a:lnTo>
                    <a:pt x="777" y="932"/>
                  </a:lnTo>
                  <a:lnTo>
                    <a:pt x="742" y="899"/>
                  </a:lnTo>
                  <a:lnTo>
                    <a:pt x="728" y="889"/>
                  </a:lnTo>
                  <a:lnTo>
                    <a:pt x="709" y="874"/>
                  </a:lnTo>
                  <a:lnTo>
                    <a:pt x="689" y="860"/>
                  </a:lnTo>
                  <a:lnTo>
                    <a:pt x="658" y="847"/>
                  </a:lnTo>
                  <a:lnTo>
                    <a:pt x="518" y="898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2" name="Freeform 101">
              <a:extLst>
                <a:ext uri="{FF2B5EF4-FFF2-40B4-BE49-F238E27FC236}">
                  <a16:creationId xmlns:a16="http://schemas.microsoft.com/office/drawing/2014/main" id="{BE14B17C-66EA-CE42-12E6-3E0B7D103F0E}"/>
                </a:ext>
              </a:extLst>
            </p:cNvPr>
            <p:cNvSpPr>
              <a:spLocks/>
            </p:cNvSpPr>
            <p:nvPr/>
          </p:nvSpPr>
          <p:spPr bwMode="gray">
            <a:xfrm>
              <a:off x="5127647" y="2094138"/>
              <a:ext cx="130593" cy="63871"/>
            </a:xfrm>
            <a:custGeom>
              <a:avLst/>
              <a:gdLst>
                <a:gd name="T0" fmla="*/ 8509 w 368"/>
                <a:gd name="T1" fmla="*/ 12200 h 182"/>
                <a:gd name="T2" fmla="*/ 10301 w 368"/>
                <a:gd name="T3" fmla="*/ 12200 h 182"/>
                <a:gd name="T4" fmla="*/ 12540 w 368"/>
                <a:gd name="T5" fmla="*/ 12607 h 182"/>
                <a:gd name="T6" fmla="*/ 13436 w 368"/>
                <a:gd name="T7" fmla="*/ 11794 h 182"/>
                <a:gd name="T8" fmla="*/ 14779 w 368"/>
                <a:gd name="T9" fmla="*/ 12607 h 182"/>
                <a:gd name="T10" fmla="*/ 16571 w 368"/>
                <a:gd name="T11" fmla="*/ 13827 h 182"/>
                <a:gd name="T12" fmla="*/ 19258 w 368"/>
                <a:gd name="T13" fmla="*/ 14641 h 182"/>
                <a:gd name="T14" fmla="*/ 21049 w 368"/>
                <a:gd name="T15" fmla="*/ 14234 h 182"/>
                <a:gd name="T16" fmla="*/ 23289 w 368"/>
                <a:gd name="T17" fmla="*/ 13827 h 182"/>
                <a:gd name="T18" fmla="*/ 25080 w 368"/>
                <a:gd name="T19" fmla="*/ 13420 h 182"/>
                <a:gd name="T20" fmla="*/ 26872 w 368"/>
                <a:gd name="T21" fmla="*/ 12607 h 182"/>
                <a:gd name="T22" fmla="*/ 28215 w 368"/>
                <a:gd name="T23" fmla="*/ 13014 h 182"/>
                <a:gd name="T24" fmla="*/ 30007 w 368"/>
                <a:gd name="T25" fmla="*/ 13827 h 182"/>
                <a:gd name="T26" fmla="*/ 31798 w 368"/>
                <a:gd name="T27" fmla="*/ 14234 h 182"/>
                <a:gd name="T28" fmla="*/ 33142 w 368"/>
                <a:gd name="T29" fmla="*/ 13827 h 182"/>
                <a:gd name="T30" fmla="*/ 31798 w 368"/>
                <a:gd name="T31" fmla="*/ 12607 h 182"/>
                <a:gd name="T32" fmla="*/ 30902 w 368"/>
                <a:gd name="T33" fmla="*/ 11387 h 182"/>
                <a:gd name="T34" fmla="*/ 31798 w 368"/>
                <a:gd name="T35" fmla="*/ 10167 h 182"/>
                <a:gd name="T36" fmla="*/ 31798 w 368"/>
                <a:gd name="T37" fmla="*/ 9760 h 182"/>
                <a:gd name="T38" fmla="*/ 29559 w 368"/>
                <a:gd name="T39" fmla="*/ 8947 h 182"/>
                <a:gd name="T40" fmla="*/ 29111 w 368"/>
                <a:gd name="T41" fmla="*/ 6914 h 182"/>
                <a:gd name="T42" fmla="*/ 27767 w 368"/>
                <a:gd name="T43" fmla="*/ 6100 h 182"/>
                <a:gd name="T44" fmla="*/ 26424 w 368"/>
                <a:gd name="T45" fmla="*/ 5694 h 182"/>
                <a:gd name="T46" fmla="*/ 24632 w 368"/>
                <a:gd name="T47" fmla="*/ 4880 h 182"/>
                <a:gd name="T48" fmla="*/ 23289 w 368"/>
                <a:gd name="T49" fmla="*/ 4880 h 182"/>
                <a:gd name="T50" fmla="*/ 21497 w 368"/>
                <a:gd name="T51" fmla="*/ 5287 h 182"/>
                <a:gd name="T52" fmla="*/ 20154 w 368"/>
                <a:gd name="T53" fmla="*/ 5694 h 182"/>
                <a:gd name="T54" fmla="*/ 19258 w 368"/>
                <a:gd name="T55" fmla="*/ 4880 h 182"/>
                <a:gd name="T56" fmla="*/ 15227 w 368"/>
                <a:gd name="T57" fmla="*/ 2847 h 182"/>
                <a:gd name="T58" fmla="*/ 13436 w 368"/>
                <a:gd name="T59" fmla="*/ 2440 h 182"/>
                <a:gd name="T60" fmla="*/ 9853 w 368"/>
                <a:gd name="T61" fmla="*/ 2033 h 182"/>
                <a:gd name="T62" fmla="*/ 6718 w 368"/>
                <a:gd name="T63" fmla="*/ 1220 h 182"/>
                <a:gd name="T64" fmla="*/ 4926 w 368"/>
                <a:gd name="T65" fmla="*/ 407 h 182"/>
                <a:gd name="T66" fmla="*/ 2687 w 368"/>
                <a:gd name="T67" fmla="*/ 407 h 182"/>
                <a:gd name="T68" fmla="*/ 1344 w 368"/>
                <a:gd name="T69" fmla="*/ 0 h 182"/>
                <a:gd name="T70" fmla="*/ 448 w 368"/>
                <a:gd name="T71" fmla="*/ 813 h 182"/>
                <a:gd name="T72" fmla="*/ 1791 w 368"/>
                <a:gd name="T73" fmla="*/ 2033 h 182"/>
                <a:gd name="T74" fmla="*/ 4926 w 368"/>
                <a:gd name="T75" fmla="*/ 3253 h 182"/>
                <a:gd name="T76" fmla="*/ 7166 w 368"/>
                <a:gd name="T77" fmla="*/ 4473 h 182"/>
                <a:gd name="T78" fmla="*/ 7614 w 368"/>
                <a:gd name="T79" fmla="*/ 6507 h 182"/>
                <a:gd name="T80" fmla="*/ 8957 w 368"/>
                <a:gd name="T81" fmla="*/ 8947 h 182"/>
                <a:gd name="T82" fmla="*/ 8957 w 368"/>
                <a:gd name="T83" fmla="*/ 10980 h 182"/>
                <a:gd name="T84" fmla="*/ 7614 w 368"/>
                <a:gd name="T85" fmla="*/ 11794 h 18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68"/>
                <a:gd name="T130" fmla="*/ 0 h 182"/>
                <a:gd name="T131" fmla="*/ 368 w 368"/>
                <a:gd name="T132" fmla="*/ 182 h 182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68" h="182">
                  <a:moveTo>
                    <a:pt x="87" y="148"/>
                  </a:moveTo>
                  <a:lnTo>
                    <a:pt x="94" y="154"/>
                  </a:lnTo>
                  <a:lnTo>
                    <a:pt x="102" y="154"/>
                  </a:lnTo>
                  <a:lnTo>
                    <a:pt x="115" y="150"/>
                  </a:lnTo>
                  <a:lnTo>
                    <a:pt x="134" y="156"/>
                  </a:lnTo>
                  <a:lnTo>
                    <a:pt x="140" y="156"/>
                  </a:lnTo>
                  <a:lnTo>
                    <a:pt x="145" y="149"/>
                  </a:lnTo>
                  <a:lnTo>
                    <a:pt x="150" y="145"/>
                  </a:lnTo>
                  <a:lnTo>
                    <a:pt x="158" y="148"/>
                  </a:lnTo>
                  <a:lnTo>
                    <a:pt x="166" y="155"/>
                  </a:lnTo>
                  <a:lnTo>
                    <a:pt x="177" y="171"/>
                  </a:lnTo>
                  <a:lnTo>
                    <a:pt x="182" y="172"/>
                  </a:lnTo>
                  <a:lnTo>
                    <a:pt x="191" y="182"/>
                  </a:lnTo>
                  <a:lnTo>
                    <a:pt x="212" y="181"/>
                  </a:lnTo>
                  <a:lnTo>
                    <a:pt x="219" y="176"/>
                  </a:lnTo>
                  <a:lnTo>
                    <a:pt x="235" y="175"/>
                  </a:lnTo>
                  <a:lnTo>
                    <a:pt x="242" y="171"/>
                  </a:lnTo>
                  <a:lnTo>
                    <a:pt x="258" y="174"/>
                  </a:lnTo>
                  <a:lnTo>
                    <a:pt x="267" y="172"/>
                  </a:lnTo>
                  <a:lnTo>
                    <a:pt x="277" y="167"/>
                  </a:lnTo>
                  <a:lnTo>
                    <a:pt x="282" y="166"/>
                  </a:lnTo>
                  <a:lnTo>
                    <a:pt x="296" y="156"/>
                  </a:lnTo>
                  <a:lnTo>
                    <a:pt x="304" y="158"/>
                  </a:lnTo>
                  <a:lnTo>
                    <a:pt x="311" y="160"/>
                  </a:lnTo>
                  <a:lnTo>
                    <a:pt x="317" y="166"/>
                  </a:lnTo>
                  <a:lnTo>
                    <a:pt x="332" y="174"/>
                  </a:lnTo>
                  <a:lnTo>
                    <a:pt x="341" y="172"/>
                  </a:lnTo>
                  <a:lnTo>
                    <a:pt x="355" y="179"/>
                  </a:lnTo>
                  <a:lnTo>
                    <a:pt x="364" y="180"/>
                  </a:lnTo>
                  <a:lnTo>
                    <a:pt x="368" y="174"/>
                  </a:lnTo>
                  <a:lnTo>
                    <a:pt x="365" y="166"/>
                  </a:lnTo>
                  <a:lnTo>
                    <a:pt x="352" y="156"/>
                  </a:lnTo>
                  <a:lnTo>
                    <a:pt x="349" y="149"/>
                  </a:lnTo>
                  <a:lnTo>
                    <a:pt x="343" y="143"/>
                  </a:lnTo>
                  <a:lnTo>
                    <a:pt x="344" y="134"/>
                  </a:lnTo>
                  <a:lnTo>
                    <a:pt x="355" y="124"/>
                  </a:lnTo>
                  <a:lnTo>
                    <a:pt x="357" y="124"/>
                  </a:lnTo>
                  <a:lnTo>
                    <a:pt x="352" y="121"/>
                  </a:lnTo>
                  <a:lnTo>
                    <a:pt x="345" y="116"/>
                  </a:lnTo>
                  <a:lnTo>
                    <a:pt x="329" y="111"/>
                  </a:lnTo>
                  <a:lnTo>
                    <a:pt x="317" y="101"/>
                  </a:lnTo>
                  <a:lnTo>
                    <a:pt x="321" y="86"/>
                  </a:lnTo>
                  <a:lnTo>
                    <a:pt x="317" y="79"/>
                  </a:lnTo>
                  <a:lnTo>
                    <a:pt x="310" y="75"/>
                  </a:lnTo>
                  <a:lnTo>
                    <a:pt x="302" y="75"/>
                  </a:lnTo>
                  <a:lnTo>
                    <a:pt x="295" y="72"/>
                  </a:lnTo>
                  <a:lnTo>
                    <a:pt x="290" y="66"/>
                  </a:lnTo>
                  <a:lnTo>
                    <a:pt x="274" y="63"/>
                  </a:lnTo>
                  <a:lnTo>
                    <a:pt x="267" y="64"/>
                  </a:lnTo>
                  <a:lnTo>
                    <a:pt x="261" y="59"/>
                  </a:lnTo>
                  <a:lnTo>
                    <a:pt x="252" y="59"/>
                  </a:lnTo>
                  <a:lnTo>
                    <a:pt x="237" y="66"/>
                  </a:lnTo>
                  <a:lnTo>
                    <a:pt x="231" y="70"/>
                  </a:lnTo>
                  <a:lnTo>
                    <a:pt x="223" y="73"/>
                  </a:lnTo>
                  <a:lnTo>
                    <a:pt x="215" y="69"/>
                  </a:lnTo>
                  <a:lnTo>
                    <a:pt x="213" y="61"/>
                  </a:lnTo>
                  <a:lnTo>
                    <a:pt x="175" y="39"/>
                  </a:lnTo>
                  <a:lnTo>
                    <a:pt x="171" y="34"/>
                  </a:lnTo>
                  <a:lnTo>
                    <a:pt x="164" y="29"/>
                  </a:lnTo>
                  <a:lnTo>
                    <a:pt x="148" y="29"/>
                  </a:lnTo>
                  <a:lnTo>
                    <a:pt x="132" y="24"/>
                  </a:lnTo>
                  <a:lnTo>
                    <a:pt x="108" y="26"/>
                  </a:lnTo>
                  <a:lnTo>
                    <a:pt x="99" y="25"/>
                  </a:lnTo>
                  <a:lnTo>
                    <a:pt x="76" y="15"/>
                  </a:lnTo>
                  <a:lnTo>
                    <a:pt x="60" y="13"/>
                  </a:lnTo>
                  <a:lnTo>
                    <a:pt x="54" y="7"/>
                  </a:lnTo>
                  <a:lnTo>
                    <a:pt x="40" y="2"/>
                  </a:lnTo>
                  <a:lnTo>
                    <a:pt x="31" y="3"/>
                  </a:lnTo>
                  <a:lnTo>
                    <a:pt x="24" y="0"/>
                  </a:lnTo>
                  <a:lnTo>
                    <a:pt x="15" y="2"/>
                  </a:lnTo>
                  <a:lnTo>
                    <a:pt x="0" y="7"/>
                  </a:lnTo>
                  <a:lnTo>
                    <a:pt x="5" y="11"/>
                  </a:lnTo>
                  <a:lnTo>
                    <a:pt x="14" y="18"/>
                  </a:lnTo>
                  <a:lnTo>
                    <a:pt x="21" y="27"/>
                  </a:lnTo>
                  <a:lnTo>
                    <a:pt x="31" y="32"/>
                  </a:lnTo>
                  <a:lnTo>
                    <a:pt x="56" y="39"/>
                  </a:lnTo>
                  <a:lnTo>
                    <a:pt x="67" y="51"/>
                  </a:lnTo>
                  <a:lnTo>
                    <a:pt x="78" y="57"/>
                  </a:lnTo>
                  <a:lnTo>
                    <a:pt x="84" y="68"/>
                  </a:lnTo>
                  <a:lnTo>
                    <a:pt x="87" y="82"/>
                  </a:lnTo>
                  <a:lnTo>
                    <a:pt x="91" y="104"/>
                  </a:lnTo>
                  <a:lnTo>
                    <a:pt x="100" y="113"/>
                  </a:lnTo>
                  <a:lnTo>
                    <a:pt x="100" y="124"/>
                  </a:lnTo>
                  <a:lnTo>
                    <a:pt x="99" y="138"/>
                  </a:lnTo>
                  <a:lnTo>
                    <a:pt x="92" y="145"/>
                  </a:lnTo>
                  <a:lnTo>
                    <a:pt x="87" y="148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3" name="Freeform 102">
              <a:extLst>
                <a:ext uri="{FF2B5EF4-FFF2-40B4-BE49-F238E27FC236}">
                  <a16:creationId xmlns:a16="http://schemas.microsoft.com/office/drawing/2014/main" id="{694A1AA9-E567-D6B7-B19E-886556A15D08}"/>
                </a:ext>
              </a:extLst>
            </p:cNvPr>
            <p:cNvSpPr>
              <a:spLocks/>
            </p:cNvSpPr>
            <p:nvPr/>
          </p:nvSpPr>
          <p:spPr bwMode="gray">
            <a:xfrm>
              <a:off x="5439061" y="2039779"/>
              <a:ext cx="331505" cy="214715"/>
            </a:xfrm>
            <a:custGeom>
              <a:avLst/>
              <a:gdLst>
                <a:gd name="T0" fmla="*/ 0 w 940"/>
                <a:gd name="T1" fmla="*/ 21312 h 612"/>
                <a:gd name="T2" fmla="*/ 4900 w 940"/>
                <a:gd name="T3" fmla="*/ 25411 h 612"/>
                <a:gd name="T4" fmla="*/ 5791 w 940"/>
                <a:gd name="T5" fmla="*/ 22542 h 612"/>
                <a:gd name="T6" fmla="*/ 8463 w 940"/>
                <a:gd name="T7" fmla="*/ 21312 h 612"/>
                <a:gd name="T8" fmla="*/ 10245 w 940"/>
                <a:gd name="T9" fmla="*/ 19263 h 612"/>
                <a:gd name="T10" fmla="*/ 11136 w 940"/>
                <a:gd name="T11" fmla="*/ 19263 h 612"/>
                <a:gd name="T12" fmla="*/ 12918 w 940"/>
                <a:gd name="T13" fmla="*/ 18034 h 612"/>
                <a:gd name="T14" fmla="*/ 16481 w 940"/>
                <a:gd name="T15" fmla="*/ 20493 h 612"/>
                <a:gd name="T16" fmla="*/ 19599 w 940"/>
                <a:gd name="T17" fmla="*/ 21312 h 612"/>
                <a:gd name="T18" fmla="*/ 20490 w 940"/>
                <a:gd name="T19" fmla="*/ 23362 h 612"/>
                <a:gd name="T20" fmla="*/ 20045 w 940"/>
                <a:gd name="T21" fmla="*/ 25821 h 612"/>
                <a:gd name="T22" fmla="*/ 23608 w 940"/>
                <a:gd name="T23" fmla="*/ 27050 h 612"/>
                <a:gd name="T24" fmla="*/ 27172 w 940"/>
                <a:gd name="T25" fmla="*/ 26231 h 612"/>
                <a:gd name="T26" fmla="*/ 29844 w 940"/>
                <a:gd name="T27" fmla="*/ 28690 h 612"/>
                <a:gd name="T28" fmla="*/ 31181 w 940"/>
                <a:gd name="T29" fmla="*/ 31559 h 612"/>
                <a:gd name="T30" fmla="*/ 32517 w 940"/>
                <a:gd name="T31" fmla="*/ 35247 h 612"/>
                <a:gd name="T32" fmla="*/ 40980 w 940"/>
                <a:gd name="T33" fmla="*/ 39756 h 612"/>
                <a:gd name="T34" fmla="*/ 46325 w 940"/>
                <a:gd name="T35" fmla="*/ 44264 h 612"/>
                <a:gd name="T36" fmla="*/ 50334 w 940"/>
                <a:gd name="T37" fmla="*/ 44674 h 612"/>
                <a:gd name="T38" fmla="*/ 51671 w 940"/>
                <a:gd name="T39" fmla="*/ 46314 h 612"/>
                <a:gd name="T40" fmla="*/ 51671 w 940"/>
                <a:gd name="T41" fmla="*/ 49592 h 612"/>
                <a:gd name="T42" fmla="*/ 56125 w 940"/>
                <a:gd name="T43" fmla="*/ 50002 h 612"/>
                <a:gd name="T44" fmla="*/ 57461 w 940"/>
                <a:gd name="T45" fmla="*/ 48773 h 612"/>
                <a:gd name="T46" fmla="*/ 59689 w 940"/>
                <a:gd name="T47" fmla="*/ 45494 h 612"/>
                <a:gd name="T48" fmla="*/ 59689 w 940"/>
                <a:gd name="T49" fmla="*/ 43854 h 612"/>
                <a:gd name="T50" fmla="*/ 59243 w 940"/>
                <a:gd name="T51" fmla="*/ 40576 h 612"/>
                <a:gd name="T52" fmla="*/ 57016 w 940"/>
                <a:gd name="T53" fmla="*/ 39756 h 612"/>
                <a:gd name="T54" fmla="*/ 56125 w 940"/>
                <a:gd name="T55" fmla="*/ 37707 h 612"/>
                <a:gd name="T56" fmla="*/ 57907 w 940"/>
                <a:gd name="T57" fmla="*/ 36067 h 612"/>
                <a:gd name="T58" fmla="*/ 61025 w 940"/>
                <a:gd name="T59" fmla="*/ 36477 h 612"/>
                <a:gd name="T60" fmla="*/ 64588 w 940"/>
                <a:gd name="T61" fmla="*/ 33608 h 612"/>
                <a:gd name="T62" fmla="*/ 64588 w 940"/>
                <a:gd name="T63" fmla="*/ 31149 h 612"/>
                <a:gd name="T64" fmla="*/ 66370 w 940"/>
                <a:gd name="T65" fmla="*/ 30329 h 612"/>
                <a:gd name="T66" fmla="*/ 70379 w 940"/>
                <a:gd name="T67" fmla="*/ 28280 h 612"/>
                <a:gd name="T68" fmla="*/ 71715 w 940"/>
                <a:gd name="T69" fmla="*/ 29100 h 612"/>
                <a:gd name="T70" fmla="*/ 70379 w 940"/>
                <a:gd name="T71" fmla="*/ 31149 h 612"/>
                <a:gd name="T72" fmla="*/ 72606 w 940"/>
                <a:gd name="T73" fmla="*/ 32379 h 612"/>
                <a:gd name="T74" fmla="*/ 76170 w 940"/>
                <a:gd name="T75" fmla="*/ 32788 h 612"/>
                <a:gd name="T76" fmla="*/ 79288 w 940"/>
                <a:gd name="T77" fmla="*/ 31559 h 612"/>
                <a:gd name="T78" fmla="*/ 81515 w 940"/>
                <a:gd name="T79" fmla="*/ 30739 h 612"/>
                <a:gd name="T80" fmla="*/ 83297 w 940"/>
                <a:gd name="T81" fmla="*/ 29100 h 612"/>
                <a:gd name="T82" fmla="*/ 79288 w 940"/>
                <a:gd name="T83" fmla="*/ 27870 h 612"/>
                <a:gd name="T84" fmla="*/ 77061 w 940"/>
                <a:gd name="T85" fmla="*/ 25821 h 612"/>
                <a:gd name="T86" fmla="*/ 75279 w 940"/>
                <a:gd name="T87" fmla="*/ 27460 h 612"/>
                <a:gd name="T88" fmla="*/ 70825 w 940"/>
                <a:gd name="T89" fmla="*/ 25821 h 612"/>
                <a:gd name="T90" fmla="*/ 71270 w 940"/>
                <a:gd name="T91" fmla="*/ 23772 h 612"/>
                <a:gd name="T92" fmla="*/ 74388 w 940"/>
                <a:gd name="T93" fmla="*/ 20493 h 612"/>
                <a:gd name="T94" fmla="*/ 70825 w 940"/>
                <a:gd name="T95" fmla="*/ 22132 h 612"/>
                <a:gd name="T96" fmla="*/ 67261 w 940"/>
                <a:gd name="T97" fmla="*/ 24181 h 612"/>
                <a:gd name="T98" fmla="*/ 64143 w 940"/>
                <a:gd name="T99" fmla="*/ 26231 h 612"/>
                <a:gd name="T100" fmla="*/ 62361 w 940"/>
                <a:gd name="T101" fmla="*/ 27870 h 612"/>
                <a:gd name="T102" fmla="*/ 58352 w 940"/>
                <a:gd name="T103" fmla="*/ 26641 h 612"/>
                <a:gd name="T104" fmla="*/ 49444 w 940"/>
                <a:gd name="T105" fmla="*/ 21722 h 612"/>
                <a:gd name="T106" fmla="*/ 48553 w 940"/>
                <a:gd name="T107" fmla="*/ 16804 h 612"/>
                <a:gd name="T108" fmla="*/ 44544 w 940"/>
                <a:gd name="T109" fmla="*/ 12296 h 612"/>
                <a:gd name="T110" fmla="*/ 29399 w 940"/>
                <a:gd name="T111" fmla="*/ 13115 h 612"/>
                <a:gd name="T112" fmla="*/ 18708 w 940"/>
                <a:gd name="T113" fmla="*/ 3279 h 612"/>
                <a:gd name="T114" fmla="*/ 0 w 940"/>
                <a:gd name="T115" fmla="*/ 4099 h 61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940"/>
                <a:gd name="T175" fmla="*/ 0 h 612"/>
                <a:gd name="T176" fmla="*/ 940 w 940"/>
                <a:gd name="T177" fmla="*/ 612 h 61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940" h="612">
                  <a:moveTo>
                    <a:pt x="0" y="51"/>
                  </a:moveTo>
                  <a:lnTo>
                    <a:pt x="0" y="121"/>
                  </a:lnTo>
                  <a:lnTo>
                    <a:pt x="0" y="195"/>
                  </a:lnTo>
                  <a:lnTo>
                    <a:pt x="0" y="260"/>
                  </a:lnTo>
                  <a:lnTo>
                    <a:pt x="0" y="321"/>
                  </a:lnTo>
                  <a:lnTo>
                    <a:pt x="54" y="330"/>
                  </a:lnTo>
                  <a:lnTo>
                    <a:pt x="62" y="325"/>
                  </a:lnTo>
                  <a:lnTo>
                    <a:pt x="56" y="310"/>
                  </a:lnTo>
                  <a:lnTo>
                    <a:pt x="57" y="303"/>
                  </a:lnTo>
                  <a:lnTo>
                    <a:pt x="52" y="287"/>
                  </a:lnTo>
                  <a:lnTo>
                    <a:pt x="56" y="279"/>
                  </a:lnTo>
                  <a:lnTo>
                    <a:pt x="63" y="274"/>
                  </a:lnTo>
                  <a:lnTo>
                    <a:pt x="67" y="268"/>
                  </a:lnTo>
                  <a:lnTo>
                    <a:pt x="72" y="261"/>
                  </a:lnTo>
                  <a:lnTo>
                    <a:pt x="80" y="260"/>
                  </a:lnTo>
                  <a:lnTo>
                    <a:pt x="96" y="260"/>
                  </a:lnTo>
                  <a:lnTo>
                    <a:pt x="105" y="256"/>
                  </a:lnTo>
                  <a:lnTo>
                    <a:pt x="107" y="249"/>
                  </a:lnTo>
                  <a:lnTo>
                    <a:pt x="107" y="241"/>
                  </a:lnTo>
                  <a:lnTo>
                    <a:pt x="115" y="238"/>
                  </a:lnTo>
                  <a:lnTo>
                    <a:pt x="127" y="246"/>
                  </a:lnTo>
                  <a:lnTo>
                    <a:pt x="135" y="249"/>
                  </a:lnTo>
                  <a:lnTo>
                    <a:pt x="132" y="241"/>
                  </a:lnTo>
                  <a:lnTo>
                    <a:pt x="127" y="234"/>
                  </a:lnTo>
                  <a:lnTo>
                    <a:pt x="121" y="229"/>
                  </a:lnTo>
                  <a:lnTo>
                    <a:pt x="128" y="225"/>
                  </a:lnTo>
                  <a:lnTo>
                    <a:pt x="135" y="225"/>
                  </a:lnTo>
                  <a:lnTo>
                    <a:pt x="143" y="220"/>
                  </a:lnTo>
                  <a:lnTo>
                    <a:pt x="144" y="214"/>
                  </a:lnTo>
                  <a:lnTo>
                    <a:pt x="165" y="235"/>
                  </a:lnTo>
                  <a:lnTo>
                    <a:pt x="178" y="244"/>
                  </a:lnTo>
                  <a:lnTo>
                    <a:pt x="183" y="250"/>
                  </a:lnTo>
                  <a:lnTo>
                    <a:pt x="192" y="253"/>
                  </a:lnTo>
                  <a:lnTo>
                    <a:pt x="201" y="251"/>
                  </a:lnTo>
                  <a:lnTo>
                    <a:pt x="216" y="255"/>
                  </a:lnTo>
                  <a:lnTo>
                    <a:pt x="220" y="262"/>
                  </a:lnTo>
                  <a:lnTo>
                    <a:pt x="218" y="269"/>
                  </a:lnTo>
                  <a:lnTo>
                    <a:pt x="219" y="278"/>
                  </a:lnTo>
                  <a:lnTo>
                    <a:pt x="225" y="283"/>
                  </a:lnTo>
                  <a:lnTo>
                    <a:pt x="231" y="287"/>
                  </a:lnTo>
                  <a:lnTo>
                    <a:pt x="224" y="290"/>
                  </a:lnTo>
                  <a:lnTo>
                    <a:pt x="224" y="298"/>
                  </a:lnTo>
                  <a:lnTo>
                    <a:pt x="225" y="306"/>
                  </a:lnTo>
                  <a:lnTo>
                    <a:pt x="223" y="314"/>
                  </a:lnTo>
                  <a:lnTo>
                    <a:pt x="228" y="320"/>
                  </a:lnTo>
                  <a:lnTo>
                    <a:pt x="242" y="328"/>
                  </a:lnTo>
                  <a:lnTo>
                    <a:pt x="259" y="331"/>
                  </a:lnTo>
                  <a:lnTo>
                    <a:pt x="267" y="330"/>
                  </a:lnTo>
                  <a:lnTo>
                    <a:pt x="291" y="335"/>
                  </a:lnTo>
                  <a:lnTo>
                    <a:pt x="299" y="332"/>
                  </a:lnTo>
                  <a:lnTo>
                    <a:pt x="300" y="325"/>
                  </a:lnTo>
                  <a:lnTo>
                    <a:pt x="306" y="321"/>
                  </a:lnTo>
                  <a:lnTo>
                    <a:pt x="314" y="326"/>
                  </a:lnTo>
                  <a:lnTo>
                    <a:pt x="326" y="337"/>
                  </a:lnTo>
                  <a:lnTo>
                    <a:pt x="331" y="343"/>
                  </a:lnTo>
                  <a:lnTo>
                    <a:pt x="333" y="351"/>
                  </a:lnTo>
                  <a:lnTo>
                    <a:pt x="334" y="366"/>
                  </a:lnTo>
                  <a:lnTo>
                    <a:pt x="338" y="374"/>
                  </a:lnTo>
                  <a:lnTo>
                    <a:pt x="345" y="378"/>
                  </a:lnTo>
                  <a:lnTo>
                    <a:pt x="350" y="384"/>
                  </a:lnTo>
                  <a:lnTo>
                    <a:pt x="355" y="400"/>
                  </a:lnTo>
                  <a:lnTo>
                    <a:pt x="354" y="408"/>
                  </a:lnTo>
                  <a:lnTo>
                    <a:pt x="360" y="423"/>
                  </a:lnTo>
                  <a:lnTo>
                    <a:pt x="365" y="429"/>
                  </a:lnTo>
                  <a:lnTo>
                    <a:pt x="416" y="459"/>
                  </a:lnTo>
                  <a:lnTo>
                    <a:pt x="436" y="483"/>
                  </a:lnTo>
                  <a:lnTo>
                    <a:pt x="443" y="488"/>
                  </a:lnTo>
                  <a:lnTo>
                    <a:pt x="460" y="489"/>
                  </a:lnTo>
                  <a:lnTo>
                    <a:pt x="473" y="498"/>
                  </a:lnTo>
                  <a:lnTo>
                    <a:pt x="493" y="513"/>
                  </a:lnTo>
                  <a:lnTo>
                    <a:pt x="515" y="536"/>
                  </a:lnTo>
                  <a:lnTo>
                    <a:pt x="521" y="542"/>
                  </a:lnTo>
                  <a:lnTo>
                    <a:pt x="530" y="543"/>
                  </a:lnTo>
                  <a:lnTo>
                    <a:pt x="536" y="538"/>
                  </a:lnTo>
                  <a:lnTo>
                    <a:pt x="544" y="537"/>
                  </a:lnTo>
                  <a:lnTo>
                    <a:pt x="567" y="547"/>
                  </a:lnTo>
                  <a:lnTo>
                    <a:pt x="572" y="553"/>
                  </a:lnTo>
                  <a:lnTo>
                    <a:pt x="579" y="557"/>
                  </a:lnTo>
                  <a:lnTo>
                    <a:pt x="585" y="562"/>
                  </a:lnTo>
                  <a:lnTo>
                    <a:pt x="581" y="569"/>
                  </a:lnTo>
                  <a:lnTo>
                    <a:pt x="578" y="577"/>
                  </a:lnTo>
                  <a:lnTo>
                    <a:pt x="578" y="592"/>
                  </a:lnTo>
                  <a:lnTo>
                    <a:pt x="579" y="601"/>
                  </a:lnTo>
                  <a:lnTo>
                    <a:pt x="578" y="606"/>
                  </a:lnTo>
                  <a:lnTo>
                    <a:pt x="607" y="605"/>
                  </a:lnTo>
                  <a:lnTo>
                    <a:pt x="615" y="607"/>
                  </a:lnTo>
                  <a:lnTo>
                    <a:pt x="621" y="612"/>
                  </a:lnTo>
                  <a:lnTo>
                    <a:pt x="630" y="610"/>
                  </a:lnTo>
                  <a:lnTo>
                    <a:pt x="643" y="611"/>
                  </a:lnTo>
                  <a:lnTo>
                    <a:pt x="648" y="608"/>
                  </a:lnTo>
                  <a:lnTo>
                    <a:pt x="648" y="601"/>
                  </a:lnTo>
                  <a:lnTo>
                    <a:pt x="646" y="595"/>
                  </a:lnTo>
                  <a:lnTo>
                    <a:pt x="653" y="581"/>
                  </a:lnTo>
                  <a:lnTo>
                    <a:pt x="661" y="570"/>
                  </a:lnTo>
                  <a:lnTo>
                    <a:pt x="664" y="564"/>
                  </a:lnTo>
                  <a:lnTo>
                    <a:pt x="671" y="559"/>
                  </a:lnTo>
                  <a:lnTo>
                    <a:pt x="676" y="554"/>
                  </a:lnTo>
                  <a:lnTo>
                    <a:pt x="678" y="547"/>
                  </a:lnTo>
                  <a:lnTo>
                    <a:pt x="677" y="541"/>
                  </a:lnTo>
                  <a:lnTo>
                    <a:pt x="670" y="536"/>
                  </a:lnTo>
                  <a:lnTo>
                    <a:pt x="665" y="529"/>
                  </a:lnTo>
                  <a:lnTo>
                    <a:pt x="661" y="513"/>
                  </a:lnTo>
                  <a:lnTo>
                    <a:pt x="665" y="507"/>
                  </a:lnTo>
                  <a:lnTo>
                    <a:pt x="666" y="498"/>
                  </a:lnTo>
                  <a:lnTo>
                    <a:pt x="664" y="491"/>
                  </a:lnTo>
                  <a:lnTo>
                    <a:pt x="658" y="486"/>
                  </a:lnTo>
                  <a:lnTo>
                    <a:pt x="649" y="487"/>
                  </a:lnTo>
                  <a:lnTo>
                    <a:pt x="640" y="486"/>
                  </a:lnTo>
                  <a:lnTo>
                    <a:pt x="638" y="478"/>
                  </a:lnTo>
                  <a:lnTo>
                    <a:pt x="630" y="473"/>
                  </a:lnTo>
                  <a:lnTo>
                    <a:pt x="624" y="467"/>
                  </a:lnTo>
                  <a:lnTo>
                    <a:pt x="632" y="462"/>
                  </a:lnTo>
                  <a:lnTo>
                    <a:pt x="630" y="454"/>
                  </a:lnTo>
                  <a:lnTo>
                    <a:pt x="634" y="448"/>
                  </a:lnTo>
                  <a:lnTo>
                    <a:pt x="642" y="444"/>
                  </a:lnTo>
                  <a:lnTo>
                    <a:pt x="650" y="443"/>
                  </a:lnTo>
                  <a:lnTo>
                    <a:pt x="656" y="449"/>
                  </a:lnTo>
                  <a:lnTo>
                    <a:pt x="664" y="450"/>
                  </a:lnTo>
                  <a:lnTo>
                    <a:pt x="680" y="449"/>
                  </a:lnTo>
                  <a:lnTo>
                    <a:pt x="687" y="446"/>
                  </a:lnTo>
                  <a:lnTo>
                    <a:pt x="699" y="424"/>
                  </a:lnTo>
                  <a:lnTo>
                    <a:pt x="699" y="417"/>
                  </a:lnTo>
                  <a:lnTo>
                    <a:pt x="707" y="412"/>
                  </a:lnTo>
                  <a:lnTo>
                    <a:pt x="723" y="409"/>
                  </a:lnTo>
                  <a:lnTo>
                    <a:pt x="729" y="405"/>
                  </a:lnTo>
                  <a:lnTo>
                    <a:pt x="731" y="397"/>
                  </a:lnTo>
                  <a:lnTo>
                    <a:pt x="731" y="389"/>
                  </a:lnTo>
                  <a:lnTo>
                    <a:pt x="726" y="382"/>
                  </a:lnTo>
                  <a:lnTo>
                    <a:pt x="732" y="378"/>
                  </a:lnTo>
                  <a:lnTo>
                    <a:pt x="734" y="369"/>
                  </a:lnTo>
                  <a:lnTo>
                    <a:pt x="741" y="365"/>
                  </a:lnTo>
                  <a:lnTo>
                    <a:pt x="747" y="370"/>
                  </a:lnTo>
                  <a:lnTo>
                    <a:pt x="756" y="369"/>
                  </a:lnTo>
                  <a:lnTo>
                    <a:pt x="769" y="362"/>
                  </a:lnTo>
                  <a:lnTo>
                    <a:pt x="784" y="354"/>
                  </a:lnTo>
                  <a:lnTo>
                    <a:pt x="788" y="347"/>
                  </a:lnTo>
                  <a:lnTo>
                    <a:pt x="794" y="342"/>
                  </a:lnTo>
                  <a:lnTo>
                    <a:pt x="801" y="342"/>
                  </a:lnTo>
                  <a:lnTo>
                    <a:pt x="802" y="351"/>
                  </a:lnTo>
                  <a:lnTo>
                    <a:pt x="807" y="357"/>
                  </a:lnTo>
                  <a:lnTo>
                    <a:pt x="809" y="364"/>
                  </a:lnTo>
                  <a:lnTo>
                    <a:pt x="805" y="371"/>
                  </a:lnTo>
                  <a:lnTo>
                    <a:pt x="798" y="375"/>
                  </a:lnTo>
                  <a:lnTo>
                    <a:pt x="791" y="380"/>
                  </a:lnTo>
                  <a:lnTo>
                    <a:pt x="796" y="396"/>
                  </a:lnTo>
                  <a:lnTo>
                    <a:pt x="800" y="403"/>
                  </a:lnTo>
                  <a:lnTo>
                    <a:pt x="809" y="402"/>
                  </a:lnTo>
                  <a:lnTo>
                    <a:pt x="816" y="398"/>
                  </a:lnTo>
                  <a:lnTo>
                    <a:pt x="820" y="398"/>
                  </a:lnTo>
                  <a:lnTo>
                    <a:pt x="832" y="397"/>
                  </a:lnTo>
                  <a:lnTo>
                    <a:pt x="839" y="398"/>
                  </a:lnTo>
                  <a:lnTo>
                    <a:pt x="855" y="403"/>
                  </a:lnTo>
                  <a:lnTo>
                    <a:pt x="871" y="401"/>
                  </a:lnTo>
                  <a:lnTo>
                    <a:pt x="877" y="396"/>
                  </a:lnTo>
                  <a:lnTo>
                    <a:pt x="881" y="389"/>
                  </a:lnTo>
                  <a:lnTo>
                    <a:pt x="888" y="385"/>
                  </a:lnTo>
                  <a:lnTo>
                    <a:pt x="896" y="385"/>
                  </a:lnTo>
                  <a:lnTo>
                    <a:pt x="901" y="379"/>
                  </a:lnTo>
                  <a:lnTo>
                    <a:pt x="909" y="381"/>
                  </a:lnTo>
                  <a:lnTo>
                    <a:pt x="915" y="378"/>
                  </a:lnTo>
                  <a:lnTo>
                    <a:pt x="919" y="369"/>
                  </a:lnTo>
                  <a:lnTo>
                    <a:pt x="935" y="365"/>
                  </a:lnTo>
                  <a:lnTo>
                    <a:pt x="940" y="358"/>
                  </a:lnTo>
                  <a:lnTo>
                    <a:pt x="933" y="354"/>
                  </a:lnTo>
                  <a:lnTo>
                    <a:pt x="925" y="357"/>
                  </a:lnTo>
                  <a:lnTo>
                    <a:pt x="909" y="352"/>
                  </a:lnTo>
                  <a:lnTo>
                    <a:pt x="898" y="342"/>
                  </a:lnTo>
                  <a:lnTo>
                    <a:pt x="890" y="342"/>
                  </a:lnTo>
                  <a:lnTo>
                    <a:pt x="884" y="337"/>
                  </a:lnTo>
                  <a:lnTo>
                    <a:pt x="870" y="328"/>
                  </a:lnTo>
                  <a:lnTo>
                    <a:pt x="870" y="320"/>
                  </a:lnTo>
                  <a:lnTo>
                    <a:pt x="865" y="314"/>
                  </a:lnTo>
                  <a:lnTo>
                    <a:pt x="858" y="310"/>
                  </a:lnTo>
                  <a:lnTo>
                    <a:pt x="853" y="325"/>
                  </a:lnTo>
                  <a:lnTo>
                    <a:pt x="845" y="330"/>
                  </a:lnTo>
                  <a:lnTo>
                    <a:pt x="843" y="337"/>
                  </a:lnTo>
                  <a:lnTo>
                    <a:pt x="836" y="337"/>
                  </a:lnTo>
                  <a:lnTo>
                    <a:pt x="812" y="327"/>
                  </a:lnTo>
                  <a:lnTo>
                    <a:pt x="804" y="314"/>
                  </a:lnTo>
                  <a:lnTo>
                    <a:pt x="796" y="317"/>
                  </a:lnTo>
                  <a:lnTo>
                    <a:pt x="790" y="312"/>
                  </a:lnTo>
                  <a:lnTo>
                    <a:pt x="782" y="310"/>
                  </a:lnTo>
                  <a:lnTo>
                    <a:pt x="783" y="301"/>
                  </a:lnTo>
                  <a:lnTo>
                    <a:pt x="798" y="292"/>
                  </a:lnTo>
                  <a:lnTo>
                    <a:pt x="810" y="280"/>
                  </a:lnTo>
                  <a:lnTo>
                    <a:pt x="820" y="268"/>
                  </a:lnTo>
                  <a:lnTo>
                    <a:pt x="834" y="262"/>
                  </a:lnTo>
                  <a:lnTo>
                    <a:pt x="833" y="253"/>
                  </a:lnTo>
                  <a:lnTo>
                    <a:pt x="816" y="249"/>
                  </a:lnTo>
                  <a:lnTo>
                    <a:pt x="814" y="256"/>
                  </a:lnTo>
                  <a:lnTo>
                    <a:pt x="802" y="268"/>
                  </a:lnTo>
                  <a:lnTo>
                    <a:pt x="795" y="271"/>
                  </a:lnTo>
                  <a:lnTo>
                    <a:pt x="788" y="268"/>
                  </a:lnTo>
                  <a:lnTo>
                    <a:pt x="782" y="283"/>
                  </a:lnTo>
                  <a:lnTo>
                    <a:pt x="775" y="288"/>
                  </a:lnTo>
                  <a:lnTo>
                    <a:pt x="753" y="298"/>
                  </a:lnTo>
                  <a:lnTo>
                    <a:pt x="739" y="306"/>
                  </a:lnTo>
                  <a:lnTo>
                    <a:pt x="734" y="312"/>
                  </a:lnTo>
                  <a:lnTo>
                    <a:pt x="726" y="315"/>
                  </a:lnTo>
                  <a:lnTo>
                    <a:pt x="719" y="320"/>
                  </a:lnTo>
                  <a:lnTo>
                    <a:pt x="715" y="327"/>
                  </a:lnTo>
                  <a:lnTo>
                    <a:pt x="713" y="335"/>
                  </a:lnTo>
                  <a:lnTo>
                    <a:pt x="707" y="339"/>
                  </a:lnTo>
                  <a:lnTo>
                    <a:pt x="699" y="343"/>
                  </a:lnTo>
                  <a:lnTo>
                    <a:pt x="691" y="342"/>
                  </a:lnTo>
                  <a:lnTo>
                    <a:pt x="676" y="335"/>
                  </a:lnTo>
                  <a:lnTo>
                    <a:pt x="667" y="333"/>
                  </a:lnTo>
                  <a:lnTo>
                    <a:pt x="654" y="325"/>
                  </a:lnTo>
                  <a:lnTo>
                    <a:pt x="597" y="331"/>
                  </a:lnTo>
                  <a:lnTo>
                    <a:pt x="587" y="285"/>
                  </a:lnTo>
                  <a:lnTo>
                    <a:pt x="554" y="279"/>
                  </a:lnTo>
                  <a:lnTo>
                    <a:pt x="553" y="266"/>
                  </a:lnTo>
                  <a:lnTo>
                    <a:pt x="554" y="250"/>
                  </a:lnTo>
                  <a:lnTo>
                    <a:pt x="562" y="249"/>
                  </a:lnTo>
                  <a:lnTo>
                    <a:pt x="560" y="206"/>
                  </a:lnTo>
                  <a:lnTo>
                    <a:pt x="547" y="207"/>
                  </a:lnTo>
                  <a:lnTo>
                    <a:pt x="530" y="174"/>
                  </a:lnTo>
                  <a:lnTo>
                    <a:pt x="517" y="164"/>
                  </a:lnTo>
                  <a:lnTo>
                    <a:pt x="510" y="160"/>
                  </a:lnTo>
                  <a:lnTo>
                    <a:pt x="498" y="150"/>
                  </a:lnTo>
                  <a:lnTo>
                    <a:pt x="492" y="144"/>
                  </a:lnTo>
                  <a:lnTo>
                    <a:pt x="478" y="150"/>
                  </a:lnTo>
                  <a:lnTo>
                    <a:pt x="402" y="149"/>
                  </a:lnTo>
                  <a:lnTo>
                    <a:pt x="331" y="161"/>
                  </a:lnTo>
                  <a:lnTo>
                    <a:pt x="304" y="133"/>
                  </a:lnTo>
                  <a:lnTo>
                    <a:pt x="259" y="85"/>
                  </a:lnTo>
                  <a:lnTo>
                    <a:pt x="224" y="52"/>
                  </a:lnTo>
                  <a:lnTo>
                    <a:pt x="210" y="42"/>
                  </a:lnTo>
                  <a:lnTo>
                    <a:pt x="191" y="26"/>
                  </a:lnTo>
                  <a:lnTo>
                    <a:pt x="171" y="13"/>
                  </a:lnTo>
                  <a:lnTo>
                    <a:pt x="142" y="0"/>
                  </a:lnTo>
                  <a:lnTo>
                    <a:pt x="0" y="51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4" name="Freeform 103">
              <a:extLst>
                <a:ext uri="{FF2B5EF4-FFF2-40B4-BE49-F238E27FC236}">
                  <a16:creationId xmlns:a16="http://schemas.microsoft.com/office/drawing/2014/main" id="{C22083EA-DE2B-02AC-21D7-1C497DD3C45B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1253" y="2113163"/>
              <a:ext cx="274998" cy="190254"/>
            </a:xfrm>
            <a:custGeom>
              <a:avLst/>
              <a:gdLst>
                <a:gd name="T0" fmla="*/ 22329 w 778"/>
                <a:gd name="T1" fmla="*/ 7871 h 536"/>
                <a:gd name="T2" fmla="*/ 22776 w 778"/>
                <a:gd name="T3" fmla="*/ 4971 h 536"/>
                <a:gd name="T4" fmla="*/ 25902 w 778"/>
                <a:gd name="T5" fmla="*/ 3728 h 536"/>
                <a:gd name="T6" fmla="*/ 27688 w 778"/>
                <a:gd name="T7" fmla="*/ 2071 h 536"/>
                <a:gd name="T8" fmla="*/ 28581 w 778"/>
                <a:gd name="T9" fmla="*/ 1657 h 536"/>
                <a:gd name="T10" fmla="*/ 29921 w 778"/>
                <a:gd name="T11" fmla="*/ 414 h 536"/>
                <a:gd name="T12" fmla="*/ 33494 w 778"/>
                <a:gd name="T13" fmla="*/ 2900 h 536"/>
                <a:gd name="T14" fmla="*/ 37066 w 778"/>
                <a:gd name="T15" fmla="*/ 4143 h 536"/>
                <a:gd name="T16" fmla="*/ 37959 w 778"/>
                <a:gd name="T17" fmla="*/ 6214 h 536"/>
                <a:gd name="T18" fmla="*/ 37066 w 778"/>
                <a:gd name="T19" fmla="*/ 8285 h 536"/>
                <a:gd name="T20" fmla="*/ 41086 w 778"/>
                <a:gd name="T21" fmla="*/ 9528 h 536"/>
                <a:gd name="T22" fmla="*/ 44658 w 778"/>
                <a:gd name="T23" fmla="*/ 9114 h 536"/>
                <a:gd name="T24" fmla="*/ 46891 w 778"/>
                <a:gd name="T25" fmla="*/ 11599 h 536"/>
                <a:gd name="T26" fmla="*/ 48677 w 778"/>
                <a:gd name="T27" fmla="*/ 14085 h 536"/>
                <a:gd name="T28" fmla="*/ 50017 w 778"/>
                <a:gd name="T29" fmla="*/ 17813 h 536"/>
                <a:gd name="T30" fmla="*/ 58502 w 778"/>
                <a:gd name="T31" fmla="*/ 22785 h 536"/>
                <a:gd name="T32" fmla="*/ 63861 w 778"/>
                <a:gd name="T33" fmla="*/ 27342 h 536"/>
                <a:gd name="T34" fmla="*/ 67881 w 778"/>
                <a:gd name="T35" fmla="*/ 27756 h 536"/>
                <a:gd name="T36" fmla="*/ 69220 w 778"/>
                <a:gd name="T37" fmla="*/ 29827 h 536"/>
                <a:gd name="T38" fmla="*/ 69220 w 778"/>
                <a:gd name="T39" fmla="*/ 32727 h 536"/>
                <a:gd name="T40" fmla="*/ 65201 w 778"/>
                <a:gd name="T41" fmla="*/ 31899 h 536"/>
                <a:gd name="T42" fmla="*/ 64308 w 778"/>
                <a:gd name="T43" fmla="*/ 33141 h 536"/>
                <a:gd name="T44" fmla="*/ 61182 w 778"/>
                <a:gd name="T45" fmla="*/ 33141 h 536"/>
                <a:gd name="T46" fmla="*/ 60289 w 778"/>
                <a:gd name="T47" fmla="*/ 34798 h 536"/>
                <a:gd name="T48" fmla="*/ 59395 w 778"/>
                <a:gd name="T49" fmla="*/ 38113 h 536"/>
                <a:gd name="T50" fmla="*/ 56716 w 778"/>
                <a:gd name="T51" fmla="*/ 40184 h 536"/>
                <a:gd name="T52" fmla="*/ 53143 w 778"/>
                <a:gd name="T53" fmla="*/ 41427 h 536"/>
                <a:gd name="T54" fmla="*/ 52697 w 778"/>
                <a:gd name="T55" fmla="*/ 42669 h 536"/>
                <a:gd name="T56" fmla="*/ 50910 w 778"/>
                <a:gd name="T57" fmla="*/ 43912 h 536"/>
                <a:gd name="T58" fmla="*/ 48231 w 778"/>
                <a:gd name="T59" fmla="*/ 44741 h 536"/>
                <a:gd name="T60" fmla="*/ 45551 w 778"/>
                <a:gd name="T61" fmla="*/ 43498 h 536"/>
                <a:gd name="T62" fmla="*/ 43318 w 778"/>
                <a:gd name="T63" fmla="*/ 42255 h 536"/>
                <a:gd name="T64" fmla="*/ 42425 w 778"/>
                <a:gd name="T65" fmla="*/ 36870 h 536"/>
                <a:gd name="T66" fmla="*/ 35280 w 778"/>
                <a:gd name="T67" fmla="*/ 33556 h 536"/>
                <a:gd name="T68" fmla="*/ 32601 w 778"/>
                <a:gd name="T69" fmla="*/ 30656 h 536"/>
                <a:gd name="T70" fmla="*/ 28135 w 778"/>
                <a:gd name="T71" fmla="*/ 29827 h 536"/>
                <a:gd name="T72" fmla="*/ 20543 w 778"/>
                <a:gd name="T73" fmla="*/ 26927 h 536"/>
                <a:gd name="T74" fmla="*/ 17863 w 778"/>
                <a:gd name="T75" fmla="*/ 28170 h 536"/>
                <a:gd name="T76" fmla="*/ 12951 w 778"/>
                <a:gd name="T77" fmla="*/ 29413 h 536"/>
                <a:gd name="T78" fmla="*/ 7145 w 778"/>
                <a:gd name="T79" fmla="*/ 31484 h 536"/>
                <a:gd name="T80" fmla="*/ 7592 w 778"/>
                <a:gd name="T81" fmla="*/ 22785 h 536"/>
                <a:gd name="T82" fmla="*/ 4466 w 778"/>
                <a:gd name="T83" fmla="*/ 20713 h 536"/>
                <a:gd name="T84" fmla="*/ 5806 w 778"/>
                <a:gd name="T85" fmla="*/ 19056 h 536"/>
                <a:gd name="T86" fmla="*/ 6252 w 778"/>
                <a:gd name="T87" fmla="*/ 17813 h 536"/>
                <a:gd name="T88" fmla="*/ 3126 w 778"/>
                <a:gd name="T89" fmla="*/ 16985 h 536"/>
                <a:gd name="T90" fmla="*/ 1340 w 778"/>
                <a:gd name="T91" fmla="*/ 13671 h 536"/>
                <a:gd name="T92" fmla="*/ 2233 w 778"/>
                <a:gd name="T93" fmla="*/ 12014 h 536"/>
                <a:gd name="T94" fmla="*/ 7592 w 778"/>
                <a:gd name="T95" fmla="*/ 12842 h 536"/>
                <a:gd name="T96" fmla="*/ 8485 w 778"/>
                <a:gd name="T97" fmla="*/ 12428 h 536"/>
                <a:gd name="T98" fmla="*/ 7592 w 778"/>
                <a:gd name="T99" fmla="*/ 7457 h 536"/>
                <a:gd name="T100" fmla="*/ 4912 w 778"/>
                <a:gd name="T101" fmla="*/ 4557 h 536"/>
                <a:gd name="T102" fmla="*/ 1340 w 778"/>
                <a:gd name="T103" fmla="*/ 7457 h 536"/>
                <a:gd name="T104" fmla="*/ 447 w 778"/>
                <a:gd name="T105" fmla="*/ 7871 h 536"/>
                <a:gd name="T106" fmla="*/ 6699 w 778"/>
                <a:gd name="T107" fmla="*/ 2486 h 536"/>
                <a:gd name="T108" fmla="*/ 9378 w 778"/>
                <a:gd name="T109" fmla="*/ 3314 h 536"/>
                <a:gd name="T110" fmla="*/ 12504 w 778"/>
                <a:gd name="T111" fmla="*/ 6214 h 536"/>
                <a:gd name="T112" fmla="*/ 16077 w 778"/>
                <a:gd name="T113" fmla="*/ 9528 h 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78"/>
                <a:gd name="T172" fmla="*/ 0 h 536"/>
                <a:gd name="T173" fmla="*/ 778 w 778"/>
                <a:gd name="T174" fmla="*/ 536 h 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78" h="536">
                  <a:moveTo>
                    <a:pt x="193" y="107"/>
                  </a:moveTo>
                  <a:lnTo>
                    <a:pt x="247" y="116"/>
                  </a:lnTo>
                  <a:lnTo>
                    <a:pt x="255" y="111"/>
                  </a:lnTo>
                  <a:lnTo>
                    <a:pt x="249" y="96"/>
                  </a:lnTo>
                  <a:lnTo>
                    <a:pt x="250" y="89"/>
                  </a:lnTo>
                  <a:lnTo>
                    <a:pt x="245" y="73"/>
                  </a:lnTo>
                  <a:lnTo>
                    <a:pt x="249" y="65"/>
                  </a:lnTo>
                  <a:lnTo>
                    <a:pt x="256" y="60"/>
                  </a:lnTo>
                  <a:lnTo>
                    <a:pt x="260" y="54"/>
                  </a:lnTo>
                  <a:lnTo>
                    <a:pt x="265" y="47"/>
                  </a:lnTo>
                  <a:lnTo>
                    <a:pt x="273" y="46"/>
                  </a:lnTo>
                  <a:lnTo>
                    <a:pt x="289" y="46"/>
                  </a:lnTo>
                  <a:lnTo>
                    <a:pt x="298" y="42"/>
                  </a:lnTo>
                  <a:lnTo>
                    <a:pt x="300" y="35"/>
                  </a:lnTo>
                  <a:lnTo>
                    <a:pt x="300" y="27"/>
                  </a:lnTo>
                  <a:lnTo>
                    <a:pt x="308" y="24"/>
                  </a:lnTo>
                  <a:lnTo>
                    <a:pt x="320" y="32"/>
                  </a:lnTo>
                  <a:lnTo>
                    <a:pt x="328" y="35"/>
                  </a:lnTo>
                  <a:lnTo>
                    <a:pt x="325" y="27"/>
                  </a:lnTo>
                  <a:lnTo>
                    <a:pt x="320" y="20"/>
                  </a:lnTo>
                  <a:lnTo>
                    <a:pt x="314" y="15"/>
                  </a:lnTo>
                  <a:lnTo>
                    <a:pt x="321" y="11"/>
                  </a:lnTo>
                  <a:lnTo>
                    <a:pt x="328" y="11"/>
                  </a:lnTo>
                  <a:lnTo>
                    <a:pt x="336" y="6"/>
                  </a:lnTo>
                  <a:lnTo>
                    <a:pt x="337" y="0"/>
                  </a:lnTo>
                  <a:lnTo>
                    <a:pt x="358" y="21"/>
                  </a:lnTo>
                  <a:lnTo>
                    <a:pt x="371" y="30"/>
                  </a:lnTo>
                  <a:lnTo>
                    <a:pt x="376" y="36"/>
                  </a:lnTo>
                  <a:lnTo>
                    <a:pt x="385" y="39"/>
                  </a:lnTo>
                  <a:lnTo>
                    <a:pt x="394" y="37"/>
                  </a:lnTo>
                  <a:lnTo>
                    <a:pt x="409" y="41"/>
                  </a:lnTo>
                  <a:lnTo>
                    <a:pt x="413" y="48"/>
                  </a:lnTo>
                  <a:lnTo>
                    <a:pt x="411" y="55"/>
                  </a:lnTo>
                  <a:lnTo>
                    <a:pt x="412" y="64"/>
                  </a:lnTo>
                  <a:lnTo>
                    <a:pt x="418" y="69"/>
                  </a:lnTo>
                  <a:lnTo>
                    <a:pt x="424" y="73"/>
                  </a:lnTo>
                  <a:lnTo>
                    <a:pt x="417" y="76"/>
                  </a:lnTo>
                  <a:lnTo>
                    <a:pt x="417" y="84"/>
                  </a:lnTo>
                  <a:lnTo>
                    <a:pt x="418" y="92"/>
                  </a:lnTo>
                  <a:lnTo>
                    <a:pt x="416" y="100"/>
                  </a:lnTo>
                  <a:lnTo>
                    <a:pt x="421" y="106"/>
                  </a:lnTo>
                  <a:lnTo>
                    <a:pt x="435" y="114"/>
                  </a:lnTo>
                  <a:lnTo>
                    <a:pt x="452" y="117"/>
                  </a:lnTo>
                  <a:lnTo>
                    <a:pt x="460" y="116"/>
                  </a:lnTo>
                  <a:lnTo>
                    <a:pt x="484" y="121"/>
                  </a:lnTo>
                  <a:lnTo>
                    <a:pt x="492" y="118"/>
                  </a:lnTo>
                  <a:lnTo>
                    <a:pt x="493" y="111"/>
                  </a:lnTo>
                  <a:lnTo>
                    <a:pt x="499" y="107"/>
                  </a:lnTo>
                  <a:lnTo>
                    <a:pt x="507" y="112"/>
                  </a:lnTo>
                  <a:lnTo>
                    <a:pt x="519" y="123"/>
                  </a:lnTo>
                  <a:lnTo>
                    <a:pt x="524" y="129"/>
                  </a:lnTo>
                  <a:lnTo>
                    <a:pt x="526" y="137"/>
                  </a:lnTo>
                  <a:lnTo>
                    <a:pt x="527" y="152"/>
                  </a:lnTo>
                  <a:lnTo>
                    <a:pt x="531" y="160"/>
                  </a:lnTo>
                  <a:lnTo>
                    <a:pt x="538" y="164"/>
                  </a:lnTo>
                  <a:lnTo>
                    <a:pt x="543" y="170"/>
                  </a:lnTo>
                  <a:lnTo>
                    <a:pt x="548" y="186"/>
                  </a:lnTo>
                  <a:lnTo>
                    <a:pt x="547" y="194"/>
                  </a:lnTo>
                  <a:lnTo>
                    <a:pt x="553" y="209"/>
                  </a:lnTo>
                  <a:lnTo>
                    <a:pt x="558" y="215"/>
                  </a:lnTo>
                  <a:lnTo>
                    <a:pt x="609" y="245"/>
                  </a:lnTo>
                  <a:lnTo>
                    <a:pt x="629" y="269"/>
                  </a:lnTo>
                  <a:lnTo>
                    <a:pt x="636" y="274"/>
                  </a:lnTo>
                  <a:lnTo>
                    <a:pt x="653" y="275"/>
                  </a:lnTo>
                  <a:lnTo>
                    <a:pt x="666" y="284"/>
                  </a:lnTo>
                  <a:lnTo>
                    <a:pt x="686" y="299"/>
                  </a:lnTo>
                  <a:lnTo>
                    <a:pt x="708" y="322"/>
                  </a:lnTo>
                  <a:lnTo>
                    <a:pt x="714" y="328"/>
                  </a:lnTo>
                  <a:lnTo>
                    <a:pt x="723" y="329"/>
                  </a:lnTo>
                  <a:lnTo>
                    <a:pt x="729" y="324"/>
                  </a:lnTo>
                  <a:lnTo>
                    <a:pt x="737" y="323"/>
                  </a:lnTo>
                  <a:lnTo>
                    <a:pt x="760" y="333"/>
                  </a:lnTo>
                  <a:lnTo>
                    <a:pt x="765" y="339"/>
                  </a:lnTo>
                  <a:lnTo>
                    <a:pt x="772" y="343"/>
                  </a:lnTo>
                  <a:lnTo>
                    <a:pt x="778" y="348"/>
                  </a:lnTo>
                  <a:lnTo>
                    <a:pt x="774" y="355"/>
                  </a:lnTo>
                  <a:lnTo>
                    <a:pt x="771" y="363"/>
                  </a:lnTo>
                  <a:lnTo>
                    <a:pt x="771" y="378"/>
                  </a:lnTo>
                  <a:lnTo>
                    <a:pt x="772" y="387"/>
                  </a:lnTo>
                  <a:lnTo>
                    <a:pt x="771" y="392"/>
                  </a:lnTo>
                  <a:lnTo>
                    <a:pt x="756" y="392"/>
                  </a:lnTo>
                  <a:lnTo>
                    <a:pt x="746" y="388"/>
                  </a:lnTo>
                  <a:lnTo>
                    <a:pt x="733" y="380"/>
                  </a:lnTo>
                  <a:lnTo>
                    <a:pt x="728" y="380"/>
                  </a:lnTo>
                  <a:lnTo>
                    <a:pt x="723" y="380"/>
                  </a:lnTo>
                  <a:lnTo>
                    <a:pt x="720" y="383"/>
                  </a:lnTo>
                  <a:lnTo>
                    <a:pt x="719" y="391"/>
                  </a:lnTo>
                  <a:lnTo>
                    <a:pt x="717" y="397"/>
                  </a:lnTo>
                  <a:lnTo>
                    <a:pt x="714" y="398"/>
                  </a:lnTo>
                  <a:lnTo>
                    <a:pt x="699" y="398"/>
                  </a:lnTo>
                  <a:lnTo>
                    <a:pt x="693" y="397"/>
                  </a:lnTo>
                  <a:lnTo>
                    <a:pt x="685" y="398"/>
                  </a:lnTo>
                  <a:lnTo>
                    <a:pt x="680" y="404"/>
                  </a:lnTo>
                  <a:lnTo>
                    <a:pt x="676" y="408"/>
                  </a:lnTo>
                  <a:lnTo>
                    <a:pt x="675" y="410"/>
                  </a:lnTo>
                  <a:lnTo>
                    <a:pt x="675" y="417"/>
                  </a:lnTo>
                  <a:lnTo>
                    <a:pt x="669" y="434"/>
                  </a:lnTo>
                  <a:lnTo>
                    <a:pt x="666" y="437"/>
                  </a:lnTo>
                  <a:lnTo>
                    <a:pt x="664" y="450"/>
                  </a:lnTo>
                  <a:lnTo>
                    <a:pt x="664" y="457"/>
                  </a:lnTo>
                  <a:lnTo>
                    <a:pt x="663" y="462"/>
                  </a:lnTo>
                  <a:lnTo>
                    <a:pt x="648" y="472"/>
                  </a:lnTo>
                  <a:lnTo>
                    <a:pt x="640" y="473"/>
                  </a:lnTo>
                  <a:lnTo>
                    <a:pt x="634" y="479"/>
                  </a:lnTo>
                  <a:lnTo>
                    <a:pt x="626" y="483"/>
                  </a:lnTo>
                  <a:lnTo>
                    <a:pt x="618" y="488"/>
                  </a:lnTo>
                  <a:lnTo>
                    <a:pt x="601" y="491"/>
                  </a:lnTo>
                  <a:lnTo>
                    <a:pt x="594" y="494"/>
                  </a:lnTo>
                  <a:lnTo>
                    <a:pt x="586" y="493"/>
                  </a:lnTo>
                  <a:lnTo>
                    <a:pt x="586" y="499"/>
                  </a:lnTo>
                  <a:lnTo>
                    <a:pt x="593" y="504"/>
                  </a:lnTo>
                  <a:lnTo>
                    <a:pt x="589" y="509"/>
                  </a:lnTo>
                  <a:lnTo>
                    <a:pt x="585" y="510"/>
                  </a:lnTo>
                  <a:lnTo>
                    <a:pt x="583" y="522"/>
                  </a:lnTo>
                  <a:lnTo>
                    <a:pt x="579" y="525"/>
                  </a:lnTo>
                  <a:lnTo>
                    <a:pt x="570" y="528"/>
                  </a:lnTo>
                  <a:lnTo>
                    <a:pt x="564" y="534"/>
                  </a:lnTo>
                  <a:lnTo>
                    <a:pt x="551" y="534"/>
                  </a:lnTo>
                  <a:lnTo>
                    <a:pt x="543" y="536"/>
                  </a:lnTo>
                  <a:lnTo>
                    <a:pt x="538" y="536"/>
                  </a:lnTo>
                  <a:lnTo>
                    <a:pt x="534" y="530"/>
                  </a:lnTo>
                  <a:lnTo>
                    <a:pt x="526" y="526"/>
                  </a:lnTo>
                  <a:lnTo>
                    <a:pt x="520" y="521"/>
                  </a:lnTo>
                  <a:lnTo>
                    <a:pt x="508" y="523"/>
                  </a:lnTo>
                  <a:lnTo>
                    <a:pt x="497" y="520"/>
                  </a:lnTo>
                  <a:lnTo>
                    <a:pt x="494" y="517"/>
                  </a:lnTo>
                  <a:lnTo>
                    <a:pt x="488" y="511"/>
                  </a:lnTo>
                  <a:lnTo>
                    <a:pt x="482" y="507"/>
                  </a:lnTo>
                  <a:lnTo>
                    <a:pt x="484" y="494"/>
                  </a:lnTo>
                  <a:lnTo>
                    <a:pt x="481" y="483"/>
                  </a:lnTo>
                  <a:lnTo>
                    <a:pt x="481" y="446"/>
                  </a:lnTo>
                  <a:lnTo>
                    <a:pt x="476" y="441"/>
                  </a:lnTo>
                  <a:lnTo>
                    <a:pt x="450" y="441"/>
                  </a:lnTo>
                  <a:lnTo>
                    <a:pt x="434" y="431"/>
                  </a:lnTo>
                  <a:lnTo>
                    <a:pt x="412" y="413"/>
                  </a:lnTo>
                  <a:lnTo>
                    <a:pt x="396" y="403"/>
                  </a:lnTo>
                  <a:lnTo>
                    <a:pt x="386" y="399"/>
                  </a:lnTo>
                  <a:lnTo>
                    <a:pt x="382" y="387"/>
                  </a:lnTo>
                  <a:lnTo>
                    <a:pt x="373" y="374"/>
                  </a:lnTo>
                  <a:lnTo>
                    <a:pt x="364" y="369"/>
                  </a:lnTo>
                  <a:lnTo>
                    <a:pt x="349" y="366"/>
                  </a:lnTo>
                  <a:lnTo>
                    <a:pt x="338" y="369"/>
                  </a:lnTo>
                  <a:lnTo>
                    <a:pt x="327" y="366"/>
                  </a:lnTo>
                  <a:lnTo>
                    <a:pt x="314" y="359"/>
                  </a:lnTo>
                  <a:lnTo>
                    <a:pt x="276" y="347"/>
                  </a:lnTo>
                  <a:lnTo>
                    <a:pt x="267" y="335"/>
                  </a:lnTo>
                  <a:lnTo>
                    <a:pt x="252" y="323"/>
                  </a:lnTo>
                  <a:lnTo>
                    <a:pt x="231" y="321"/>
                  </a:lnTo>
                  <a:lnTo>
                    <a:pt x="217" y="323"/>
                  </a:lnTo>
                  <a:lnTo>
                    <a:pt x="214" y="332"/>
                  </a:lnTo>
                  <a:lnTo>
                    <a:pt x="209" y="337"/>
                  </a:lnTo>
                  <a:lnTo>
                    <a:pt x="198" y="337"/>
                  </a:lnTo>
                  <a:lnTo>
                    <a:pt x="187" y="333"/>
                  </a:lnTo>
                  <a:lnTo>
                    <a:pt x="176" y="333"/>
                  </a:lnTo>
                  <a:lnTo>
                    <a:pt x="160" y="337"/>
                  </a:lnTo>
                  <a:lnTo>
                    <a:pt x="145" y="351"/>
                  </a:lnTo>
                  <a:lnTo>
                    <a:pt x="111" y="378"/>
                  </a:lnTo>
                  <a:lnTo>
                    <a:pt x="93" y="382"/>
                  </a:lnTo>
                  <a:lnTo>
                    <a:pt x="79" y="382"/>
                  </a:lnTo>
                  <a:lnTo>
                    <a:pt x="80" y="378"/>
                  </a:lnTo>
                  <a:lnTo>
                    <a:pt x="74" y="338"/>
                  </a:lnTo>
                  <a:lnTo>
                    <a:pt x="73" y="312"/>
                  </a:lnTo>
                  <a:lnTo>
                    <a:pt x="77" y="289"/>
                  </a:lnTo>
                  <a:lnTo>
                    <a:pt x="86" y="275"/>
                  </a:lnTo>
                  <a:lnTo>
                    <a:pt x="75" y="272"/>
                  </a:lnTo>
                  <a:lnTo>
                    <a:pt x="64" y="262"/>
                  </a:lnTo>
                  <a:lnTo>
                    <a:pt x="57" y="252"/>
                  </a:lnTo>
                  <a:lnTo>
                    <a:pt x="50" y="250"/>
                  </a:lnTo>
                  <a:lnTo>
                    <a:pt x="50" y="247"/>
                  </a:lnTo>
                  <a:lnTo>
                    <a:pt x="70" y="238"/>
                  </a:lnTo>
                  <a:lnTo>
                    <a:pt x="77" y="234"/>
                  </a:lnTo>
                  <a:lnTo>
                    <a:pt x="66" y="230"/>
                  </a:lnTo>
                  <a:lnTo>
                    <a:pt x="58" y="225"/>
                  </a:lnTo>
                  <a:lnTo>
                    <a:pt x="51" y="219"/>
                  </a:lnTo>
                  <a:lnTo>
                    <a:pt x="61" y="209"/>
                  </a:lnTo>
                  <a:lnTo>
                    <a:pt x="68" y="214"/>
                  </a:lnTo>
                  <a:lnTo>
                    <a:pt x="78" y="218"/>
                  </a:lnTo>
                  <a:lnTo>
                    <a:pt x="72" y="207"/>
                  </a:lnTo>
                  <a:lnTo>
                    <a:pt x="51" y="199"/>
                  </a:lnTo>
                  <a:lnTo>
                    <a:pt x="34" y="203"/>
                  </a:lnTo>
                  <a:lnTo>
                    <a:pt x="26" y="211"/>
                  </a:lnTo>
                  <a:lnTo>
                    <a:pt x="21" y="211"/>
                  </a:lnTo>
                  <a:lnTo>
                    <a:pt x="14" y="181"/>
                  </a:lnTo>
                  <a:lnTo>
                    <a:pt x="16" y="166"/>
                  </a:lnTo>
                  <a:lnTo>
                    <a:pt x="23" y="155"/>
                  </a:lnTo>
                  <a:lnTo>
                    <a:pt x="24" y="151"/>
                  </a:lnTo>
                  <a:lnTo>
                    <a:pt x="21" y="128"/>
                  </a:lnTo>
                  <a:lnTo>
                    <a:pt x="27" y="143"/>
                  </a:lnTo>
                  <a:lnTo>
                    <a:pt x="32" y="151"/>
                  </a:lnTo>
                  <a:lnTo>
                    <a:pt x="53" y="151"/>
                  </a:lnTo>
                  <a:lnTo>
                    <a:pt x="73" y="157"/>
                  </a:lnTo>
                  <a:lnTo>
                    <a:pt x="84" y="156"/>
                  </a:lnTo>
                  <a:lnTo>
                    <a:pt x="99" y="160"/>
                  </a:lnTo>
                  <a:lnTo>
                    <a:pt x="109" y="155"/>
                  </a:lnTo>
                  <a:lnTo>
                    <a:pt x="99" y="154"/>
                  </a:lnTo>
                  <a:lnTo>
                    <a:pt x="97" y="148"/>
                  </a:lnTo>
                  <a:lnTo>
                    <a:pt x="112" y="144"/>
                  </a:lnTo>
                  <a:lnTo>
                    <a:pt x="126" y="127"/>
                  </a:lnTo>
                  <a:lnTo>
                    <a:pt x="102" y="109"/>
                  </a:lnTo>
                  <a:lnTo>
                    <a:pt x="86" y="91"/>
                  </a:lnTo>
                  <a:lnTo>
                    <a:pt x="80" y="74"/>
                  </a:lnTo>
                  <a:lnTo>
                    <a:pt x="70" y="60"/>
                  </a:lnTo>
                  <a:lnTo>
                    <a:pt x="68" y="58"/>
                  </a:lnTo>
                  <a:lnTo>
                    <a:pt x="57" y="57"/>
                  </a:lnTo>
                  <a:lnTo>
                    <a:pt x="39" y="62"/>
                  </a:lnTo>
                  <a:lnTo>
                    <a:pt x="23" y="70"/>
                  </a:lnTo>
                  <a:lnTo>
                    <a:pt x="14" y="82"/>
                  </a:lnTo>
                  <a:lnTo>
                    <a:pt x="14" y="91"/>
                  </a:lnTo>
                  <a:lnTo>
                    <a:pt x="19" y="94"/>
                  </a:lnTo>
                  <a:lnTo>
                    <a:pt x="20" y="119"/>
                  </a:lnTo>
                  <a:lnTo>
                    <a:pt x="18" y="117"/>
                  </a:lnTo>
                  <a:lnTo>
                    <a:pt x="4" y="92"/>
                  </a:lnTo>
                  <a:lnTo>
                    <a:pt x="0" y="74"/>
                  </a:lnTo>
                  <a:lnTo>
                    <a:pt x="30" y="48"/>
                  </a:lnTo>
                  <a:lnTo>
                    <a:pt x="53" y="39"/>
                  </a:lnTo>
                  <a:lnTo>
                    <a:pt x="77" y="32"/>
                  </a:lnTo>
                  <a:lnTo>
                    <a:pt x="85" y="31"/>
                  </a:lnTo>
                  <a:lnTo>
                    <a:pt x="93" y="31"/>
                  </a:lnTo>
                  <a:lnTo>
                    <a:pt x="100" y="35"/>
                  </a:lnTo>
                  <a:lnTo>
                    <a:pt x="107" y="41"/>
                  </a:lnTo>
                  <a:lnTo>
                    <a:pt x="122" y="47"/>
                  </a:lnTo>
                  <a:lnTo>
                    <a:pt x="127" y="54"/>
                  </a:lnTo>
                  <a:lnTo>
                    <a:pt x="133" y="69"/>
                  </a:lnTo>
                  <a:lnTo>
                    <a:pt x="139" y="75"/>
                  </a:lnTo>
                  <a:lnTo>
                    <a:pt x="143" y="82"/>
                  </a:lnTo>
                  <a:lnTo>
                    <a:pt x="153" y="105"/>
                  </a:lnTo>
                  <a:lnTo>
                    <a:pt x="163" y="112"/>
                  </a:lnTo>
                  <a:lnTo>
                    <a:pt x="181" y="113"/>
                  </a:lnTo>
                  <a:lnTo>
                    <a:pt x="193" y="107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5" name="Freeform 104">
              <a:extLst>
                <a:ext uri="{FF2B5EF4-FFF2-40B4-BE49-F238E27FC236}">
                  <a16:creationId xmlns:a16="http://schemas.microsoft.com/office/drawing/2014/main" id="{6651FE58-87E0-0C31-21D6-4F4D7E50E556}"/>
                </a:ext>
              </a:extLst>
            </p:cNvPr>
            <p:cNvSpPr>
              <a:spLocks/>
            </p:cNvSpPr>
            <p:nvPr/>
          </p:nvSpPr>
          <p:spPr bwMode="gray">
            <a:xfrm>
              <a:off x="5695223" y="2103651"/>
              <a:ext cx="213469" cy="101921"/>
            </a:xfrm>
            <a:custGeom>
              <a:avLst/>
              <a:gdLst>
                <a:gd name="T0" fmla="*/ 23201 w 604"/>
                <a:gd name="T1" fmla="*/ 19875 h 288"/>
                <a:gd name="T2" fmla="*/ 27217 w 604"/>
                <a:gd name="T3" fmla="*/ 18218 h 288"/>
                <a:gd name="T4" fmla="*/ 29894 w 604"/>
                <a:gd name="T5" fmla="*/ 16562 h 288"/>
                <a:gd name="T6" fmla="*/ 32571 w 604"/>
                <a:gd name="T7" fmla="*/ 18218 h 288"/>
                <a:gd name="T8" fmla="*/ 35694 w 604"/>
                <a:gd name="T9" fmla="*/ 16976 h 288"/>
                <a:gd name="T10" fmla="*/ 38817 w 604"/>
                <a:gd name="T11" fmla="*/ 14078 h 288"/>
                <a:gd name="T12" fmla="*/ 43725 w 604"/>
                <a:gd name="T13" fmla="*/ 13250 h 288"/>
                <a:gd name="T14" fmla="*/ 49079 w 604"/>
                <a:gd name="T15" fmla="*/ 9523 h 288"/>
                <a:gd name="T16" fmla="*/ 53987 w 604"/>
                <a:gd name="T17" fmla="*/ 6625 h 288"/>
                <a:gd name="T18" fmla="*/ 51756 w 604"/>
                <a:gd name="T19" fmla="*/ 4555 h 288"/>
                <a:gd name="T20" fmla="*/ 47294 w 604"/>
                <a:gd name="T21" fmla="*/ 2898 h 288"/>
                <a:gd name="T22" fmla="*/ 45510 w 604"/>
                <a:gd name="T23" fmla="*/ 2070 h 288"/>
                <a:gd name="T24" fmla="*/ 40602 w 604"/>
                <a:gd name="T25" fmla="*/ 2070 h 288"/>
                <a:gd name="T26" fmla="*/ 37479 w 604"/>
                <a:gd name="T27" fmla="*/ 1656 h 288"/>
                <a:gd name="T28" fmla="*/ 32571 w 604"/>
                <a:gd name="T29" fmla="*/ 1656 h 288"/>
                <a:gd name="T30" fmla="*/ 29001 w 604"/>
                <a:gd name="T31" fmla="*/ 2070 h 288"/>
                <a:gd name="T32" fmla="*/ 26324 w 604"/>
                <a:gd name="T33" fmla="*/ 1656 h 288"/>
                <a:gd name="T34" fmla="*/ 23201 w 604"/>
                <a:gd name="T35" fmla="*/ 414 h 288"/>
                <a:gd name="T36" fmla="*/ 20970 w 604"/>
                <a:gd name="T37" fmla="*/ 1656 h 288"/>
                <a:gd name="T38" fmla="*/ 20078 w 604"/>
                <a:gd name="T39" fmla="*/ 4141 h 288"/>
                <a:gd name="T40" fmla="*/ 16955 w 604"/>
                <a:gd name="T41" fmla="*/ 3726 h 288"/>
                <a:gd name="T42" fmla="*/ 14278 w 604"/>
                <a:gd name="T43" fmla="*/ 2898 h 288"/>
                <a:gd name="T44" fmla="*/ 11601 w 604"/>
                <a:gd name="T45" fmla="*/ 2484 h 288"/>
                <a:gd name="T46" fmla="*/ 8923 w 604"/>
                <a:gd name="T47" fmla="*/ 2898 h 288"/>
                <a:gd name="T48" fmla="*/ 8031 w 604"/>
                <a:gd name="T49" fmla="*/ 4969 h 288"/>
                <a:gd name="T50" fmla="*/ 9370 w 604"/>
                <a:gd name="T51" fmla="*/ 6625 h 288"/>
                <a:gd name="T52" fmla="*/ 6246 w 604"/>
                <a:gd name="T53" fmla="*/ 9109 h 288"/>
                <a:gd name="T54" fmla="*/ 5354 w 604"/>
                <a:gd name="T55" fmla="*/ 10765 h 288"/>
                <a:gd name="T56" fmla="*/ 7585 w 604"/>
                <a:gd name="T57" fmla="*/ 12008 h 288"/>
                <a:gd name="T58" fmla="*/ 10262 w 604"/>
                <a:gd name="T59" fmla="*/ 12422 h 288"/>
                <a:gd name="T60" fmla="*/ 12047 w 604"/>
                <a:gd name="T61" fmla="*/ 10765 h 288"/>
                <a:gd name="T62" fmla="*/ 13831 w 604"/>
                <a:gd name="T63" fmla="*/ 12836 h 288"/>
                <a:gd name="T64" fmla="*/ 16062 w 604"/>
                <a:gd name="T65" fmla="*/ 14078 h 288"/>
                <a:gd name="T66" fmla="*/ 18739 w 604"/>
                <a:gd name="T67" fmla="*/ 14492 h 288"/>
                <a:gd name="T68" fmla="*/ 16508 w 604"/>
                <a:gd name="T69" fmla="*/ 16148 h 288"/>
                <a:gd name="T70" fmla="*/ 15170 w 604"/>
                <a:gd name="T71" fmla="*/ 16976 h 288"/>
                <a:gd name="T72" fmla="*/ 13385 w 604"/>
                <a:gd name="T73" fmla="*/ 17804 h 288"/>
                <a:gd name="T74" fmla="*/ 9816 w 604"/>
                <a:gd name="T75" fmla="*/ 17804 h 288"/>
                <a:gd name="T76" fmla="*/ 8031 w 604"/>
                <a:gd name="T77" fmla="*/ 18632 h 288"/>
                <a:gd name="T78" fmla="*/ 6246 w 604"/>
                <a:gd name="T79" fmla="*/ 19875 h 288"/>
                <a:gd name="T80" fmla="*/ 2677 w 604"/>
                <a:gd name="T81" fmla="*/ 19046 h 288"/>
                <a:gd name="T82" fmla="*/ 0 w 604"/>
                <a:gd name="T83" fmla="*/ 19875 h 288"/>
                <a:gd name="T84" fmla="*/ 446 w 604"/>
                <a:gd name="T85" fmla="*/ 22359 h 288"/>
                <a:gd name="T86" fmla="*/ 3123 w 604"/>
                <a:gd name="T87" fmla="*/ 22359 h 288"/>
                <a:gd name="T88" fmla="*/ 6693 w 604"/>
                <a:gd name="T89" fmla="*/ 22359 h 288"/>
                <a:gd name="T90" fmla="*/ 10708 w 604"/>
                <a:gd name="T91" fmla="*/ 21945 h 288"/>
                <a:gd name="T92" fmla="*/ 12493 w 604"/>
                <a:gd name="T93" fmla="*/ 24015 h 288"/>
                <a:gd name="T94" fmla="*/ 16062 w 604"/>
                <a:gd name="T95" fmla="*/ 23601 h 288"/>
                <a:gd name="T96" fmla="*/ 19632 w 604"/>
                <a:gd name="T97" fmla="*/ 23187 h 288"/>
                <a:gd name="T98" fmla="*/ 22309 w 604"/>
                <a:gd name="T99" fmla="*/ 22359 h 28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604"/>
                <a:gd name="T151" fmla="*/ 0 h 288"/>
                <a:gd name="T152" fmla="*/ 604 w 604"/>
                <a:gd name="T153" fmla="*/ 288 h 28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604" h="288">
                  <a:moveTo>
                    <a:pt x="251" y="267"/>
                  </a:moveTo>
                  <a:lnTo>
                    <a:pt x="250" y="256"/>
                  </a:lnTo>
                  <a:lnTo>
                    <a:pt x="259" y="238"/>
                  </a:lnTo>
                  <a:lnTo>
                    <a:pt x="291" y="223"/>
                  </a:lnTo>
                  <a:lnTo>
                    <a:pt x="296" y="218"/>
                  </a:lnTo>
                  <a:lnTo>
                    <a:pt x="303" y="218"/>
                  </a:lnTo>
                  <a:lnTo>
                    <a:pt x="309" y="203"/>
                  </a:lnTo>
                  <a:lnTo>
                    <a:pt x="319" y="207"/>
                  </a:lnTo>
                  <a:lnTo>
                    <a:pt x="334" y="201"/>
                  </a:lnTo>
                  <a:lnTo>
                    <a:pt x="345" y="202"/>
                  </a:lnTo>
                  <a:lnTo>
                    <a:pt x="351" y="215"/>
                  </a:lnTo>
                  <a:lnTo>
                    <a:pt x="362" y="217"/>
                  </a:lnTo>
                  <a:lnTo>
                    <a:pt x="378" y="213"/>
                  </a:lnTo>
                  <a:lnTo>
                    <a:pt x="388" y="214"/>
                  </a:lnTo>
                  <a:lnTo>
                    <a:pt x="401" y="204"/>
                  </a:lnTo>
                  <a:lnTo>
                    <a:pt x="407" y="186"/>
                  </a:lnTo>
                  <a:lnTo>
                    <a:pt x="416" y="175"/>
                  </a:lnTo>
                  <a:lnTo>
                    <a:pt x="433" y="170"/>
                  </a:lnTo>
                  <a:lnTo>
                    <a:pt x="452" y="169"/>
                  </a:lnTo>
                  <a:lnTo>
                    <a:pt x="479" y="164"/>
                  </a:lnTo>
                  <a:lnTo>
                    <a:pt x="491" y="159"/>
                  </a:lnTo>
                  <a:lnTo>
                    <a:pt x="499" y="145"/>
                  </a:lnTo>
                  <a:lnTo>
                    <a:pt x="514" y="132"/>
                  </a:lnTo>
                  <a:lnTo>
                    <a:pt x="550" y="112"/>
                  </a:lnTo>
                  <a:lnTo>
                    <a:pt x="588" y="100"/>
                  </a:lnTo>
                  <a:lnTo>
                    <a:pt x="598" y="93"/>
                  </a:lnTo>
                  <a:lnTo>
                    <a:pt x="604" y="79"/>
                  </a:lnTo>
                  <a:lnTo>
                    <a:pt x="604" y="69"/>
                  </a:lnTo>
                  <a:lnTo>
                    <a:pt x="597" y="69"/>
                  </a:lnTo>
                  <a:lnTo>
                    <a:pt x="577" y="56"/>
                  </a:lnTo>
                  <a:lnTo>
                    <a:pt x="561" y="53"/>
                  </a:lnTo>
                  <a:lnTo>
                    <a:pt x="546" y="35"/>
                  </a:lnTo>
                  <a:lnTo>
                    <a:pt x="530" y="34"/>
                  </a:lnTo>
                  <a:lnTo>
                    <a:pt x="523" y="31"/>
                  </a:lnTo>
                  <a:lnTo>
                    <a:pt x="514" y="31"/>
                  </a:lnTo>
                  <a:lnTo>
                    <a:pt x="508" y="27"/>
                  </a:lnTo>
                  <a:lnTo>
                    <a:pt x="499" y="26"/>
                  </a:lnTo>
                  <a:lnTo>
                    <a:pt x="475" y="27"/>
                  </a:lnTo>
                  <a:lnTo>
                    <a:pt x="452" y="24"/>
                  </a:lnTo>
                  <a:lnTo>
                    <a:pt x="443" y="24"/>
                  </a:lnTo>
                  <a:lnTo>
                    <a:pt x="428" y="18"/>
                  </a:lnTo>
                  <a:lnTo>
                    <a:pt x="421" y="18"/>
                  </a:lnTo>
                  <a:lnTo>
                    <a:pt x="406" y="24"/>
                  </a:lnTo>
                  <a:lnTo>
                    <a:pt x="374" y="20"/>
                  </a:lnTo>
                  <a:lnTo>
                    <a:pt x="366" y="20"/>
                  </a:lnTo>
                  <a:lnTo>
                    <a:pt x="350" y="24"/>
                  </a:lnTo>
                  <a:lnTo>
                    <a:pt x="334" y="24"/>
                  </a:lnTo>
                  <a:lnTo>
                    <a:pt x="325" y="23"/>
                  </a:lnTo>
                  <a:lnTo>
                    <a:pt x="319" y="18"/>
                  </a:lnTo>
                  <a:lnTo>
                    <a:pt x="310" y="16"/>
                  </a:lnTo>
                  <a:lnTo>
                    <a:pt x="294" y="18"/>
                  </a:lnTo>
                  <a:lnTo>
                    <a:pt x="288" y="12"/>
                  </a:lnTo>
                  <a:lnTo>
                    <a:pt x="267" y="0"/>
                  </a:lnTo>
                  <a:lnTo>
                    <a:pt x="260" y="4"/>
                  </a:lnTo>
                  <a:lnTo>
                    <a:pt x="253" y="5"/>
                  </a:lnTo>
                  <a:lnTo>
                    <a:pt x="245" y="8"/>
                  </a:lnTo>
                  <a:lnTo>
                    <a:pt x="233" y="18"/>
                  </a:lnTo>
                  <a:lnTo>
                    <a:pt x="232" y="26"/>
                  </a:lnTo>
                  <a:lnTo>
                    <a:pt x="227" y="32"/>
                  </a:lnTo>
                  <a:lnTo>
                    <a:pt x="224" y="48"/>
                  </a:lnTo>
                  <a:lnTo>
                    <a:pt x="221" y="56"/>
                  </a:lnTo>
                  <a:lnTo>
                    <a:pt x="205" y="52"/>
                  </a:lnTo>
                  <a:lnTo>
                    <a:pt x="191" y="45"/>
                  </a:lnTo>
                  <a:lnTo>
                    <a:pt x="175" y="40"/>
                  </a:lnTo>
                  <a:lnTo>
                    <a:pt x="169" y="36"/>
                  </a:lnTo>
                  <a:lnTo>
                    <a:pt x="160" y="34"/>
                  </a:lnTo>
                  <a:lnTo>
                    <a:pt x="152" y="34"/>
                  </a:lnTo>
                  <a:lnTo>
                    <a:pt x="137" y="31"/>
                  </a:lnTo>
                  <a:lnTo>
                    <a:pt x="129" y="32"/>
                  </a:lnTo>
                  <a:lnTo>
                    <a:pt x="121" y="30"/>
                  </a:lnTo>
                  <a:lnTo>
                    <a:pt x="105" y="32"/>
                  </a:lnTo>
                  <a:lnTo>
                    <a:pt x="98" y="36"/>
                  </a:lnTo>
                  <a:lnTo>
                    <a:pt x="95" y="43"/>
                  </a:lnTo>
                  <a:lnTo>
                    <a:pt x="97" y="51"/>
                  </a:lnTo>
                  <a:lnTo>
                    <a:pt x="92" y="58"/>
                  </a:lnTo>
                  <a:lnTo>
                    <a:pt x="88" y="66"/>
                  </a:lnTo>
                  <a:lnTo>
                    <a:pt x="105" y="70"/>
                  </a:lnTo>
                  <a:lnTo>
                    <a:pt x="106" y="79"/>
                  </a:lnTo>
                  <a:lnTo>
                    <a:pt x="92" y="85"/>
                  </a:lnTo>
                  <a:lnTo>
                    <a:pt x="82" y="97"/>
                  </a:lnTo>
                  <a:lnTo>
                    <a:pt x="70" y="109"/>
                  </a:lnTo>
                  <a:lnTo>
                    <a:pt x="55" y="118"/>
                  </a:lnTo>
                  <a:lnTo>
                    <a:pt x="54" y="127"/>
                  </a:lnTo>
                  <a:lnTo>
                    <a:pt x="62" y="129"/>
                  </a:lnTo>
                  <a:lnTo>
                    <a:pt x="68" y="134"/>
                  </a:lnTo>
                  <a:lnTo>
                    <a:pt x="76" y="131"/>
                  </a:lnTo>
                  <a:lnTo>
                    <a:pt x="84" y="144"/>
                  </a:lnTo>
                  <a:lnTo>
                    <a:pt x="108" y="154"/>
                  </a:lnTo>
                  <a:lnTo>
                    <a:pt x="115" y="154"/>
                  </a:lnTo>
                  <a:lnTo>
                    <a:pt x="117" y="147"/>
                  </a:lnTo>
                  <a:lnTo>
                    <a:pt x="125" y="142"/>
                  </a:lnTo>
                  <a:lnTo>
                    <a:pt x="130" y="127"/>
                  </a:lnTo>
                  <a:lnTo>
                    <a:pt x="137" y="131"/>
                  </a:lnTo>
                  <a:lnTo>
                    <a:pt x="142" y="137"/>
                  </a:lnTo>
                  <a:lnTo>
                    <a:pt x="142" y="145"/>
                  </a:lnTo>
                  <a:lnTo>
                    <a:pt x="156" y="154"/>
                  </a:lnTo>
                  <a:lnTo>
                    <a:pt x="162" y="159"/>
                  </a:lnTo>
                  <a:lnTo>
                    <a:pt x="170" y="159"/>
                  </a:lnTo>
                  <a:lnTo>
                    <a:pt x="181" y="169"/>
                  </a:lnTo>
                  <a:lnTo>
                    <a:pt x="197" y="174"/>
                  </a:lnTo>
                  <a:lnTo>
                    <a:pt x="205" y="171"/>
                  </a:lnTo>
                  <a:lnTo>
                    <a:pt x="212" y="175"/>
                  </a:lnTo>
                  <a:lnTo>
                    <a:pt x="207" y="182"/>
                  </a:lnTo>
                  <a:lnTo>
                    <a:pt x="191" y="186"/>
                  </a:lnTo>
                  <a:lnTo>
                    <a:pt x="187" y="195"/>
                  </a:lnTo>
                  <a:lnTo>
                    <a:pt x="181" y="198"/>
                  </a:lnTo>
                  <a:lnTo>
                    <a:pt x="173" y="196"/>
                  </a:lnTo>
                  <a:lnTo>
                    <a:pt x="168" y="202"/>
                  </a:lnTo>
                  <a:lnTo>
                    <a:pt x="160" y="202"/>
                  </a:lnTo>
                  <a:lnTo>
                    <a:pt x="153" y="206"/>
                  </a:lnTo>
                  <a:lnTo>
                    <a:pt x="149" y="213"/>
                  </a:lnTo>
                  <a:lnTo>
                    <a:pt x="143" y="218"/>
                  </a:lnTo>
                  <a:lnTo>
                    <a:pt x="127" y="220"/>
                  </a:lnTo>
                  <a:lnTo>
                    <a:pt x="111" y="215"/>
                  </a:lnTo>
                  <a:lnTo>
                    <a:pt x="104" y="214"/>
                  </a:lnTo>
                  <a:lnTo>
                    <a:pt x="92" y="215"/>
                  </a:lnTo>
                  <a:lnTo>
                    <a:pt x="88" y="224"/>
                  </a:lnTo>
                  <a:lnTo>
                    <a:pt x="81" y="226"/>
                  </a:lnTo>
                  <a:lnTo>
                    <a:pt x="76" y="234"/>
                  </a:lnTo>
                  <a:lnTo>
                    <a:pt x="68" y="236"/>
                  </a:lnTo>
                  <a:lnTo>
                    <a:pt x="55" y="228"/>
                  </a:lnTo>
                  <a:lnTo>
                    <a:pt x="46" y="226"/>
                  </a:lnTo>
                  <a:lnTo>
                    <a:pt x="30" y="229"/>
                  </a:lnTo>
                  <a:lnTo>
                    <a:pt x="22" y="226"/>
                  </a:lnTo>
                  <a:lnTo>
                    <a:pt x="15" y="231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0" y="261"/>
                  </a:lnTo>
                  <a:lnTo>
                    <a:pt x="4" y="267"/>
                  </a:lnTo>
                  <a:lnTo>
                    <a:pt x="13" y="267"/>
                  </a:lnTo>
                  <a:lnTo>
                    <a:pt x="20" y="265"/>
                  </a:lnTo>
                  <a:lnTo>
                    <a:pt x="36" y="268"/>
                  </a:lnTo>
                  <a:lnTo>
                    <a:pt x="60" y="265"/>
                  </a:lnTo>
                  <a:lnTo>
                    <a:pt x="68" y="265"/>
                  </a:lnTo>
                  <a:lnTo>
                    <a:pt x="76" y="267"/>
                  </a:lnTo>
                  <a:lnTo>
                    <a:pt x="81" y="273"/>
                  </a:lnTo>
                  <a:lnTo>
                    <a:pt x="89" y="274"/>
                  </a:lnTo>
                  <a:lnTo>
                    <a:pt x="120" y="265"/>
                  </a:lnTo>
                  <a:lnTo>
                    <a:pt x="127" y="269"/>
                  </a:lnTo>
                  <a:lnTo>
                    <a:pt x="135" y="271"/>
                  </a:lnTo>
                  <a:lnTo>
                    <a:pt x="140" y="287"/>
                  </a:lnTo>
                  <a:lnTo>
                    <a:pt x="156" y="285"/>
                  </a:lnTo>
                  <a:lnTo>
                    <a:pt x="163" y="288"/>
                  </a:lnTo>
                  <a:lnTo>
                    <a:pt x="178" y="281"/>
                  </a:lnTo>
                  <a:lnTo>
                    <a:pt x="194" y="278"/>
                  </a:lnTo>
                  <a:lnTo>
                    <a:pt x="210" y="281"/>
                  </a:lnTo>
                  <a:lnTo>
                    <a:pt x="219" y="278"/>
                  </a:lnTo>
                  <a:lnTo>
                    <a:pt x="229" y="279"/>
                  </a:lnTo>
                  <a:lnTo>
                    <a:pt x="232" y="265"/>
                  </a:lnTo>
                  <a:lnTo>
                    <a:pt x="251" y="267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6" name="Freeform 105">
              <a:extLst>
                <a:ext uri="{FF2B5EF4-FFF2-40B4-BE49-F238E27FC236}">
                  <a16:creationId xmlns:a16="http://schemas.microsoft.com/office/drawing/2014/main" id="{61D84120-0EE3-4EF8-E1EA-6C12EE0EA5BA}"/>
                </a:ext>
              </a:extLst>
            </p:cNvPr>
            <p:cNvSpPr>
              <a:spLocks/>
            </p:cNvSpPr>
            <p:nvPr/>
          </p:nvSpPr>
          <p:spPr bwMode="gray">
            <a:xfrm>
              <a:off x="5660064" y="2159367"/>
              <a:ext cx="145661" cy="108716"/>
            </a:xfrm>
            <a:custGeom>
              <a:avLst/>
              <a:gdLst>
                <a:gd name="T0" fmla="*/ 3990 w 417"/>
                <a:gd name="T1" fmla="*/ 23288 h 312"/>
                <a:gd name="T2" fmla="*/ 6206 w 417"/>
                <a:gd name="T3" fmla="*/ 22062 h 312"/>
                <a:gd name="T4" fmla="*/ 7979 w 417"/>
                <a:gd name="T5" fmla="*/ 21654 h 312"/>
                <a:gd name="T6" fmla="*/ 9753 w 417"/>
                <a:gd name="T7" fmla="*/ 22062 h 312"/>
                <a:gd name="T8" fmla="*/ 10196 w 417"/>
                <a:gd name="T9" fmla="*/ 20019 h 312"/>
                <a:gd name="T10" fmla="*/ 12856 w 417"/>
                <a:gd name="T11" fmla="*/ 20428 h 312"/>
                <a:gd name="T12" fmla="*/ 14186 w 417"/>
                <a:gd name="T13" fmla="*/ 19202 h 312"/>
                <a:gd name="T14" fmla="*/ 15515 w 417"/>
                <a:gd name="T15" fmla="*/ 15934 h 312"/>
                <a:gd name="T16" fmla="*/ 16845 w 417"/>
                <a:gd name="T17" fmla="*/ 15525 h 312"/>
                <a:gd name="T18" fmla="*/ 19062 w 417"/>
                <a:gd name="T19" fmla="*/ 16751 h 312"/>
                <a:gd name="T20" fmla="*/ 19505 w 417"/>
                <a:gd name="T21" fmla="*/ 18385 h 312"/>
                <a:gd name="T22" fmla="*/ 20392 w 417"/>
                <a:gd name="T23" fmla="*/ 18794 h 312"/>
                <a:gd name="T24" fmla="*/ 19948 w 417"/>
                <a:gd name="T25" fmla="*/ 20428 h 312"/>
                <a:gd name="T26" fmla="*/ 19948 w 417"/>
                <a:gd name="T27" fmla="*/ 23288 h 312"/>
                <a:gd name="T28" fmla="*/ 21278 w 417"/>
                <a:gd name="T29" fmla="*/ 25331 h 312"/>
                <a:gd name="T30" fmla="*/ 25711 w 417"/>
                <a:gd name="T31" fmla="*/ 23288 h 312"/>
                <a:gd name="T32" fmla="*/ 27041 w 417"/>
                <a:gd name="T33" fmla="*/ 22062 h 312"/>
                <a:gd name="T34" fmla="*/ 29258 w 417"/>
                <a:gd name="T35" fmla="*/ 20837 h 312"/>
                <a:gd name="T36" fmla="*/ 31031 w 417"/>
                <a:gd name="T37" fmla="*/ 21245 h 312"/>
                <a:gd name="T38" fmla="*/ 31918 w 417"/>
                <a:gd name="T39" fmla="*/ 21654 h 312"/>
                <a:gd name="T40" fmla="*/ 34577 w 417"/>
                <a:gd name="T41" fmla="*/ 21245 h 312"/>
                <a:gd name="T42" fmla="*/ 36351 w 417"/>
                <a:gd name="T43" fmla="*/ 21654 h 312"/>
                <a:gd name="T44" fmla="*/ 36794 w 417"/>
                <a:gd name="T45" fmla="*/ 22062 h 312"/>
                <a:gd name="T46" fmla="*/ 35464 w 417"/>
                <a:gd name="T47" fmla="*/ 14708 h 312"/>
                <a:gd name="T48" fmla="*/ 30588 w 417"/>
                <a:gd name="T49" fmla="*/ 13074 h 312"/>
                <a:gd name="T50" fmla="*/ 29258 w 417"/>
                <a:gd name="T51" fmla="*/ 9805 h 312"/>
                <a:gd name="T52" fmla="*/ 24825 w 417"/>
                <a:gd name="T53" fmla="*/ 9805 h 312"/>
                <a:gd name="T54" fmla="*/ 21278 w 417"/>
                <a:gd name="T55" fmla="*/ 8988 h 312"/>
                <a:gd name="T56" fmla="*/ 16402 w 417"/>
                <a:gd name="T57" fmla="*/ 9397 h 312"/>
                <a:gd name="T58" fmla="*/ 12412 w 417"/>
                <a:gd name="T59" fmla="*/ 8988 h 312"/>
                <a:gd name="T60" fmla="*/ 9309 w 417"/>
                <a:gd name="T61" fmla="*/ 8171 h 312"/>
                <a:gd name="T62" fmla="*/ 11082 w 417"/>
                <a:gd name="T63" fmla="*/ 5311 h 312"/>
                <a:gd name="T64" fmla="*/ 15072 w 417"/>
                <a:gd name="T65" fmla="*/ 6128 h 312"/>
                <a:gd name="T66" fmla="*/ 17289 w 417"/>
                <a:gd name="T67" fmla="*/ 4494 h 312"/>
                <a:gd name="T68" fmla="*/ 15072 w 417"/>
                <a:gd name="T69" fmla="*/ 4494 h 312"/>
                <a:gd name="T70" fmla="*/ 16402 w 417"/>
                <a:gd name="T71" fmla="*/ 1634 h 312"/>
                <a:gd name="T72" fmla="*/ 15072 w 417"/>
                <a:gd name="T73" fmla="*/ 0 h 312"/>
                <a:gd name="T74" fmla="*/ 11526 w 417"/>
                <a:gd name="T75" fmla="*/ 2043 h 312"/>
                <a:gd name="T76" fmla="*/ 9309 w 417"/>
                <a:gd name="T77" fmla="*/ 2860 h 312"/>
                <a:gd name="T78" fmla="*/ 9309 w 417"/>
                <a:gd name="T79" fmla="*/ 5311 h 312"/>
                <a:gd name="T80" fmla="*/ 6649 w 417"/>
                <a:gd name="T81" fmla="*/ 6537 h 312"/>
                <a:gd name="T82" fmla="*/ 2660 w 417"/>
                <a:gd name="T83" fmla="*/ 8580 h 312"/>
                <a:gd name="T84" fmla="*/ 443 w 417"/>
                <a:gd name="T85" fmla="*/ 8988 h 312"/>
                <a:gd name="T86" fmla="*/ 1330 w 417"/>
                <a:gd name="T87" fmla="*/ 11031 h 312"/>
                <a:gd name="T88" fmla="*/ 3546 w 417"/>
                <a:gd name="T89" fmla="*/ 12257 h 312"/>
                <a:gd name="T90" fmla="*/ 3546 w 417"/>
                <a:gd name="T91" fmla="*/ 15117 h 312"/>
                <a:gd name="T92" fmla="*/ 4433 w 417"/>
                <a:gd name="T93" fmla="*/ 17160 h 312"/>
                <a:gd name="T94" fmla="*/ 2660 w 417"/>
                <a:gd name="T95" fmla="*/ 19202 h 312"/>
                <a:gd name="T96" fmla="*/ 1773 w 417"/>
                <a:gd name="T97" fmla="*/ 21654 h 31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17"/>
                <a:gd name="T148" fmla="*/ 0 h 312"/>
                <a:gd name="T149" fmla="*/ 417 w 417"/>
                <a:gd name="T150" fmla="*/ 312 h 31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17" h="312">
                  <a:moveTo>
                    <a:pt x="19" y="269"/>
                  </a:moveTo>
                  <a:lnTo>
                    <a:pt x="24" y="274"/>
                  </a:lnTo>
                  <a:lnTo>
                    <a:pt x="37" y="289"/>
                  </a:lnTo>
                  <a:lnTo>
                    <a:pt x="45" y="286"/>
                  </a:lnTo>
                  <a:lnTo>
                    <a:pt x="52" y="286"/>
                  </a:lnTo>
                  <a:lnTo>
                    <a:pt x="53" y="281"/>
                  </a:lnTo>
                  <a:lnTo>
                    <a:pt x="67" y="274"/>
                  </a:lnTo>
                  <a:lnTo>
                    <a:pt x="72" y="273"/>
                  </a:lnTo>
                  <a:lnTo>
                    <a:pt x="76" y="274"/>
                  </a:lnTo>
                  <a:lnTo>
                    <a:pt x="79" y="270"/>
                  </a:lnTo>
                  <a:lnTo>
                    <a:pt x="85" y="268"/>
                  </a:lnTo>
                  <a:lnTo>
                    <a:pt x="89" y="269"/>
                  </a:lnTo>
                  <a:lnTo>
                    <a:pt x="94" y="274"/>
                  </a:lnTo>
                  <a:lnTo>
                    <a:pt x="107" y="279"/>
                  </a:lnTo>
                  <a:lnTo>
                    <a:pt x="111" y="276"/>
                  </a:lnTo>
                  <a:lnTo>
                    <a:pt x="112" y="274"/>
                  </a:lnTo>
                  <a:lnTo>
                    <a:pt x="112" y="269"/>
                  </a:lnTo>
                  <a:lnTo>
                    <a:pt x="110" y="265"/>
                  </a:lnTo>
                  <a:lnTo>
                    <a:pt x="110" y="258"/>
                  </a:lnTo>
                  <a:lnTo>
                    <a:pt x="118" y="246"/>
                  </a:lnTo>
                  <a:lnTo>
                    <a:pt x="123" y="246"/>
                  </a:lnTo>
                  <a:lnTo>
                    <a:pt x="129" y="248"/>
                  </a:lnTo>
                  <a:lnTo>
                    <a:pt x="138" y="246"/>
                  </a:lnTo>
                  <a:lnTo>
                    <a:pt x="145" y="252"/>
                  </a:lnTo>
                  <a:lnTo>
                    <a:pt x="149" y="252"/>
                  </a:lnTo>
                  <a:lnTo>
                    <a:pt x="153" y="250"/>
                  </a:lnTo>
                  <a:lnTo>
                    <a:pt x="159" y="243"/>
                  </a:lnTo>
                  <a:lnTo>
                    <a:pt x="160" y="238"/>
                  </a:lnTo>
                  <a:lnTo>
                    <a:pt x="155" y="232"/>
                  </a:lnTo>
                  <a:lnTo>
                    <a:pt x="155" y="227"/>
                  </a:lnTo>
                  <a:lnTo>
                    <a:pt x="165" y="214"/>
                  </a:lnTo>
                  <a:lnTo>
                    <a:pt x="176" y="198"/>
                  </a:lnTo>
                  <a:lnTo>
                    <a:pt x="178" y="195"/>
                  </a:lnTo>
                  <a:lnTo>
                    <a:pt x="182" y="190"/>
                  </a:lnTo>
                  <a:lnTo>
                    <a:pt x="183" y="189"/>
                  </a:lnTo>
                  <a:lnTo>
                    <a:pt x="190" y="190"/>
                  </a:lnTo>
                  <a:lnTo>
                    <a:pt x="194" y="187"/>
                  </a:lnTo>
                  <a:lnTo>
                    <a:pt x="204" y="189"/>
                  </a:lnTo>
                  <a:lnTo>
                    <a:pt x="217" y="201"/>
                  </a:lnTo>
                  <a:lnTo>
                    <a:pt x="217" y="207"/>
                  </a:lnTo>
                  <a:lnTo>
                    <a:pt x="213" y="215"/>
                  </a:lnTo>
                  <a:lnTo>
                    <a:pt x="213" y="220"/>
                  </a:lnTo>
                  <a:lnTo>
                    <a:pt x="214" y="222"/>
                  </a:lnTo>
                  <a:lnTo>
                    <a:pt x="219" y="225"/>
                  </a:lnTo>
                  <a:lnTo>
                    <a:pt x="225" y="223"/>
                  </a:lnTo>
                  <a:lnTo>
                    <a:pt x="229" y="225"/>
                  </a:lnTo>
                  <a:lnTo>
                    <a:pt x="229" y="227"/>
                  </a:lnTo>
                  <a:lnTo>
                    <a:pt x="230" y="231"/>
                  </a:lnTo>
                  <a:lnTo>
                    <a:pt x="228" y="233"/>
                  </a:lnTo>
                  <a:lnTo>
                    <a:pt x="226" y="238"/>
                  </a:lnTo>
                  <a:lnTo>
                    <a:pt x="228" y="249"/>
                  </a:lnTo>
                  <a:lnTo>
                    <a:pt x="226" y="254"/>
                  </a:lnTo>
                  <a:lnTo>
                    <a:pt x="224" y="259"/>
                  </a:lnTo>
                  <a:lnTo>
                    <a:pt x="224" y="269"/>
                  </a:lnTo>
                  <a:lnTo>
                    <a:pt x="221" y="278"/>
                  </a:lnTo>
                  <a:lnTo>
                    <a:pt x="224" y="287"/>
                  </a:lnTo>
                  <a:lnTo>
                    <a:pt x="230" y="298"/>
                  </a:lnTo>
                  <a:lnTo>
                    <a:pt x="235" y="309"/>
                  </a:lnTo>
                  <a:lnTo>
                    <a:pt x="236" y="311"/>
                  </a:lnTo>
                  <a:lnTo>
                    <a:pt x="241" y="312"/>
                  </a:lnTo>
                  <a:lnTo>
                    <a:pt x="246" y="309"/>
                  </a:lnTo>
                  <a:lnTo>
                    <a:pt x="258" y="302"/>
                  </a:lnTo>
                  <a:lnTo>
                    <a:pt x="272" y="292"/>
                  </a:lnTo>
                  <a:lnTo>
                    <a:pt x="293" y="286"/>
                  </a:lnTo>
                  <a:lnTo>
                    <a:pt x="295" y="285"/>
                  </a:lnTo>
                  <a:lnTo>
                    <a:pt x="299" y="278"/>
                  </a:lnTo>
                  <a:lnTo>
                    <a:pt x="306" y="274"/>
                  </a:lnTo>
                  <a:lnTo>
                    <a:pt x="307" y="271"/>
                  </a:lnTo>
                  <a:lnTo>
                    <a:pt x="312" y="270"/>
                  </a:lnTo>
                  <a:lnTo>
                    <a:pt x="322" y="263"/>
                  </a:lnTo>
                  <a:lnTo>
                    <a:pt x="327" y="262"/>
                  </a:lnTo>
                  <a:lnTo>
                    <a:pt x="334" y="257"/>
                  </a:lnTo>
                  <a:lnTo>
                    <a:pt x="339" y="257"/>
                  </a:lnTo>
                  <a:lnTo>
                    <a:pt x="343" y="259"/>
                  </a:lnTo>
                  <a:lnTo>
                    <a:pt x="346" y="260"/>
                  </a:lnTo>
                  <a:lnTo>
                    <a:pt x="350" y="260"/>
                  </a:lnTo>
                  <a:lnTo>
                    <a:pt x="352" y="270"/>
                  </a:lnTo>
                  <a:lnTo>
                    <a:pt x="354" y="274"/>
                  </a:lnTo>
                  <a:lnTo>
                    <a:pt x="357" y="273"/>
                  </a:lnTo>
                  <a:lnTo>
                    <a:pt x="364" y="266"/>
                  </a:lnTo>
                  <a:lnTo>
                    <a:pt x="364" y="268"/>
                  </a:lnTo>
                  <a:lnTo>
                    <a:pt x="366" y="268"/>
                  </a:lnTo>
                  <a:lnTo>
                    <a:pt x="379" y="263"/>
                  </a:lnTo>
                  <a:lnTo>
                    <a:pt x="390" y="260"/>
                  </a:lnTo>
                  <a:lnTo>
                    <a:pt x="396" y="260"/>
                  </a:lnTo>
                  <a:lnTo>
                    <a:pt x="401" y="264"/>
                  </a:lnTo>
                  <a:lnTo>
                    <a:pt x="409" y="264"/>
                  </a:lnTo>
                  <a:lnTo>
                    <a:pt x="411" y="268"/>
                  </a:lnTo>
                  <a:lnTo>
                    <a:pt x="411" y="270"/>
                  </a:lnTo>
                  <a:lnTo>
                    <a:pt x="406" y="271"/>
                  </a:lnTo>
                  <a:lnTo>
                    <a:pt x="414" y="274"/>
                  </a:lnTo>
                  <a:lnTo>
                    <a:pt x="417" y="273"/>
                  </a:lnTo>
                  <a:lnTo>
                    <a:pt x="417" y="237"/>
                  </a:lnTo>
                  <a:lnTo>
                    <a:pt x="407" y="212"/>
                  </a:lnTo>
                  <a:lnTo>
                    <a:pt x="407" y="193"/>
                  </a:lnTo>
                  <a:lnTo>
                    <a:pt x="400" y="182"/>
                  </a:lnTo>
                  <a:lnTo>
                    <a:pt x="381" y="180"/>
                  </a:lnTo>
                  <a:lnTo>
                    <a:pt x="361" y="187"/>
                  </a:lnTo>
                  <a:lnTo>
                    <a:pt x="350" y="179"/>
                  </a:lnTo>
                  <a:lnTo>
                    <a:pt x="346" y="162"/>
                  </a:lnTo>
                  <a:lnTo>
                    <a:pt x="344" y="142"/>
                  </a:lnTo>
                  <a:lnTo>
                    <a:pt x="355" y="108"/>
                  </a:lnTo>
                  <a:lnTo>
                    <a:pt x="336" y="106"/>
                  </a:lnTo>
                  <a:lnTo>
                    <a:pt x="333" y="120"/>
                  </a:lnTo>
                  <a:lnTo>
                    <a:pt x="323" y="119"/>
                  </a:lnTo>
                  <a:lnTo>
                    <a:pt x="314" y="122"/>
                  </a:lnTo>
                  <a:lnTo>
                    <a:pt x="298" y="119"/>
                  </a:lnTo>
                  <a:lnTo>
                    <a:pt x="282" y="122"/>
                  </a:lnTo>
                  <a:lnTo>
                    <a:pt x="267" y="129"/>
                  </a:lnTo>
                  <a:lnTo>
                    <a:pt x="260" y="126"/>
                  </a:lnTo>
                  <a:lnTo>
                    <a:pt x="244" y="128"/>
                  </a:lnTo>
                  <a:lnTo>
                    <a:pt x="239" y="112"/>
                  </a:lnTo>
                  <a:lnTo>
                    <a:pt x="231" y="110"/>
                  </a:lnTo>
                  <a:lnTo>
                    <a:pt x="224" y="106"/>
                  </a:lnTo>
                  <a:lnTo>
                    <a:pt x="193" y="115"/>
                  </a:lnTo>
                  <a:lnTo>
                    <a:pt x="185" y="114"/>
                  </a:lnTo>
                  <a:lnTo>
                    <a:pt x="180" y="108"/>
                  </a:lnTo>
                  <a:lnTo>
                    <a:pt x="172" y="106"/>
                  </a:lnTo>
                  <a:lnTo>
                    <a:pt x="164" y="106"/>
                  </a:lnTo>
                  <a:lnTo>
                    <a:pt x="140" y="109"/>
                  </a:lnTo>
                  <a:lnTo>
                    <a:pt x="124" y="106"/>
                  </a:lnTo>
                  <a:lnTo>
                    <a:pt x="117" y="108"/>
                  </a:lnTo>
                  <a:lnTo>
                    <a:pt x="108" y="108"/>
                  </a:lnTo>
                  <a:lnTo>
                    <a:pt x="104" y="102"/>
                  </a:lnTo>
                  <a:lnTo>
                    <a:pt x="104" y="86"/>
                  </a:lnTo>
                  <a:lnTo>
                    <a:pt x="104" y="77"/>
                  </a:lnTo>
                  <a:lnTo>
                    <a:pt x="119" y="72"/>
                  </a:lnTo>
                  <a:lnTo>
                    <a:pt x="126" y="67"/>
                  </a:lnTo>
                  <a:lnTo>
                    <a:pt x="134" y="70"/>
                  </a:lnTo>
                  <a:lnTo>
                    <a:pt x="150" y="67"/>
                  </a:lnTo>
                  <a:lnTo>
                    <a:pt x="159" y="69"/>
                  </a:lnTo>
                  <a:lnTo>
                    <a:pt x="172" y="77"/>
                  </a:lnTo>
                  <a:lnTo>
                    <a:pt x="180" y="75"/>
                  </a:lnTo>
                  <a:lnTo>
                    <a:pt x="185" y="67"/>
                  </a:lnTo>
                  <a:lnTo>
                    <a:pt x="192" y="65"/>
                  </a:lnTo>
                  <a:lnTo>
                    <a:pt x="196" y="56"/>
                  </a:lnTo>
                  <a:lnTo>
                    <a:pt x="192" y="56"/>
                  </a:lnTo>
                  <a:lnTo>
                    <a:pt x="185" y="60"/>
                  </a:lnTo>
                  <a:lnTo>
                    <a:pt x="176" y="61"/>
                  </a:lnTo>
                  <a:lnTo>
                    <a:pt x="172" y="54"/>
                  </a:lnTo>
                  <a:lnTo>
                    <a:pt x="167" y="38"/>
                  </a:lnTo>
                  <a:lnTo>
                    <a:pt x="174" y="33"/>
                  </a:lnTo>
                  <a:lnTo>
                    <a:pt x="181" y="29"/>
                  </a:lnTo>
                  <a:lnTo>
                    <a:pt x="185" y="22"/>
                  </a:lnTo>
                  <a:lnTo>
                    <a:pt x="183" y="15"/>
                  </a:lnTo>
                  <a:lnTo>
                    <a:pt x="178" y="9"/>
                  </a:lnTo>
                  <a:lnTo>
                    <a:pt x="177" y="0"/>
                  </a:lnTo>
                  <a:lnTo>
                    <a:pt x="170" y="0"/>
                  </a:lnTo>
                  <a:lnTo>
                    <a:pt x="164" y="5"/>
                  </a:lnTo>
                  <a:lnTo>
                    <a:pt x="160" y="12"/>
                  </a:lnTo>
                  <a:lnTo>
                    <a:pt x="145" y="20"/>
                  </a:lnTo>
                  <a:lnTo>
                    <a:pt x="132" y="27"/>
                  </a:lnTo>
                  <a:lnTo>
                    <a:pt x="123" y="28"/>
                  </a:lnTo>
                  <a:lnTo>
                    <a:pt x="117" y="23"/>
                  </a:lnTo>
                  <a:lnTo>
                    <a:pt x="110" y="27"/>
                  </a:lnTo>
                  <a:lnTo>
                    <a:pt x="108" y="36"/>
                  </a:lnTo>
                  <a:lnTo>
                    <a:pt x="102" y="40"/>
                  </a:lnTo>
                  <a:lnTo>
                    <a:pt x="107" y="47"/>
                  </a:lnTo>
                  <a:lnTo>
                    <a:pt x="107" y="55"/>
                  </a:lnTo>
                  <a:lnTo>
                    <a:pt x="105" y="63"/>
                  </a:lnTo>
                  <a:lnTo>
                    <a:pt x="99" y="67"/>
                  </a:lnTo>
                  <a:lnTo>
                    <a:pt x="83" y="70"/>
                  </a:lnTo>
                  <a:lnTo>
                    <a:pt x="75" y="75"/>
                  </a:lnTo>
                  <a:lnTo>
                    <a:pt x="75" y="82"/>
                  </a:lnTo>
                  <a:lnTo>
                    <a:pt x="63" y="104"/>
                  </a:lnTo>
                  <a:lnTo>
                    <a:pt x="56" y="107"/>
                  </a:lnTo>
                  <a:lnTo>
                    <a:pt x="40" y="108"/>
                  </a:lnTo>
                  <a:lnTo>
                    <a:pt x="32" y="107"/>
                  </a:lnTo>
                  <a:lnTo>
                    <a:pt x="26" y="101"/>
                  </a:lnTo>
                  <a:lnTo>
                    <a:pt x="18" y="102"/>
                  </a:lnTo>
                  <a:lnTo>
                    <a:pt x="10" y="106"/>
                  </a:lnTo>
                  <a:lnTo>
                    <a:pt x="6" y="112"/>
                  </a:lnTo>
                  <a:lnTo>
                    <a:pt x="8" y="120"/>
                  </a:lnTo>
                  <a:lnTo>
                    <a:pt x="0" y="125"/>
                  </a:lnTo>
                  <a:lnTo>
                    <a:pt x="6" y="131"/>
                  </a:lnTo>
                  <a:lnTo>
                    <a:pt x="14" y="136"/>
                  </a:lnTo>
                  <a:lnTo>
                    <a:pt x="16" y="144"/>
                  </a:lnTo>
                  <a:lnTo>
                    <a:pt x="25" y="145"/>
                  </a:lnTo>
                  <a:lnTo>
                    <a:pt x="34" y="144"/>
                  </a:lnTo>
                  <a:lnTo>
                    <a:pt x="40" y="149"/>
                  </a:lnTo>
                  <a:lnTo>
                    <a:pt x="42" y="156"/>
                  </a:lnTo>
                  <a:lnTo>
                    <a:pt x="41" y="165"/>
                  </a:lnTo>
                  <a:lnTo>
                    <a:pt x="37" y="171"/>
                  </a:lnTo>
                  <a:lnTo>
                    <a:pt x="41" y="187"/>
                  </a:lnTo>
                  <a:lnTo>
                    <a:pt x="46" y="194"/>
                  </a:lnTo>
                  <a:lnTo>
                    <a:pt x="53" y="199"/>
                  </a:lnTo>
                  <a:lnTo>
                    <a:pt x="54" y="205"/>
                  </a:lnTo>
                  <a:lnTo>
                    <a:pt x="52" y="212"/>
                  </a:lnTo>
                  <a:lnTo>
                    <a:pt x="47" y="217"/>
                  </a:lnTo>
                  <a:lnTo>
                    <a:pt x="40" y="222"/>
                  </a:lnTo>
                  <a:lnTo>
                    <a:pt x="37" y="228"/>
                  </a:lnTo>
                  <a:lnTo>
                    <a:pt x="29" y="239"/>
                  </a:lnTo>
                  <a:lnTo>
                    <a:pt x="22" y="253"/>
                  </a:lnTo>
                  <a:lnTo>
                    <a:pt x="24" y="259"/>
                  </a:lnTo>
                  <a:lnTo>
                    <a:pt x="24" y="266"/>
                  </a:lnTo>
                  <a:lnTo>
                    <a:pt x="19" y="269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grpSp>
          <p:nvGrpSpPr>
            <p:cNvPr id="17" name="Group 106">
              <a:extLst>
                <a:ext uri="{FF2B5EF4-FFF2-40B4-BE49-F238E27FC236}">
                  <a16:creationId xmlns:a16="http://schemas.microsoft.com/office/drawing/2014/main" id="{5B845900-DA69-CCAF-9DE6-424A24B389D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223080" y="2138984"/>
              <a:ext cx="106734" cy="85614"/>
              <a:chOff x="3007" y="1982"/>
              <a:chExt cx="61" cy="49"/>
            </a:xfrm>
            <a:grpFill/>
          </p:grpSpPr>
          <p:sp>
            <p:nvSpPr>
              <p:cNvPr id="112" name="Freeform 107">
                <a:extLst>
                  <a:ext uri="{FF2B5EF4-FFF2-40B4-BE49-F238E27FC236}">
                    <a16:creationId xmlns:a16="http://schemas.microsoft.com/office/drawing/2014/main" id="{0E3BE6E2-BC04-404B-26A2-BB4B56CDC03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07" y="2013"/>
                <a:ext cx="13" cy="12"/>
              </a:xfrm>
              <a:custGeom>
                <a:avLst/>
                <a:gdLst>
                  <a:gd name="T0" fmla="*/ 3 w 65"/>
                  <a:gd name="T1" fmla="*/ 2 h 59"/>
                  <a:gd name="T2" fmla="*/ 2 w 65"/>
                  <a:gd name="T3" fmla="*/ 2 h 59"/>
                  <a:gd name="T4" fmla="*/ 1 w 65"/>
                  <a:gd name="T5" fmla="*/ 2 h 59"/>
                  <a:gd name="T6" fmla="*/ 0 w 65"/>
                  <a:gd name="T7" fmla="*/ 0 h 59"/>
                  <a:gd name="T8" fmla="*/ 0 w 65"/>
                  <a:gd name="T9" fmla="*/ 0 h 59"/>
                  <a:gd name="T10" fmla="*/ 0 w 65"/>
                  <a:gd name="T11" fmla="*/ 0 h 59"/>
                  <a:gd name="T12" fmla="*/ 1 w 65"/>
                  <a:gd name="T13" fmla="*/ 0 h 59"/>
                  <a:gd name="T14" fmla="*/ 1 w 65"/>
                  <a:gd name="T15" fmla="*/ 0 h 59"/>
                  <a:gd name="T16" fmla="*/ 1 w 65"/>
                  <a:gd name="T17" fmla="*/ 0 h 59"/>
                  <a:gd name="T18" fmla="*/ 1 w 65"/>
                  <a:gd name="T19" fmla="*/ 1 h 59"/>
                  <a:gd name="T20" fmla="*/ 2 w 65"/>
                  <a:gd name="T21" fmla="*/ 0 h 59"/>
                  <a:gd name="T22" fmla="*/ 2 w 65"/>
                  <a:gd name="T23" fmla="*/ 0 h 59"/>
                  <a:gd name="T24" fmla="*/ 2 w 65"/>
                  <a:gd name="T25" fmla="*/ 1 h 59"/>
                  <a:gd name="T26" fmla="*/ 2 w 65"/>
                  <a:gd name="T27" fmla="*/ 1 h 59"/>
                  <a:gd name="T28" fmla="*/ 3 w 65"/>
                  <a:gd name="T29" fmla="*/ 1 h 59"/>
                  <a:gd name="T30" fmla="*/ 3 w 65"/>
                  <a:gd name="T31" fmla="*/ 2 h 59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65"/>
                  <a:gd name="T49" fmla="*/ 0 h 59"/>
                  <a:gd name="T50" fmla="*/ 65 w 65"/>
                  <a:gd name="T51" fmla="*/ 59 h 59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65" h="59">
                    <a:moveTo>
                      <a:pt x="65" y="59"/>
                    </a:moveTo>
                    <a:lnTo>
                      <a:pt x="52" y="56"/>
                    </a:lnTo>
                    <a:lnTo>
                      <a:pt x="36" y="53"/>
                    </a:lnTo>
                    <a:lnTo>
                      <a:pt x="4" y="7"/>
                    </a:lnTo>
                    <a:lnTo>
                      <a:pt x="0" y="2"/>
                    </a:lnTo>
                    <a:lnTo>
                      <a:pt x="10" y="0"/>
                    </a:lnTo>
                    <a:lnTo>
                      <a:pt x="17" y="1"/>
                    </a:lnTo>
                    <a:lnTo>
                      <a:pt x="22" y="9"/>
                    </a:lnTo>
                    <a:lnTo>
                      <a:pt x="30" y="12"/>
                    </a:lnTo>
                    <a:lnTo>
                      <a:pt x="37" y="13"/>
                    </a:lnTo>
                    <a:lnTo>
                      <a:pt x="44" y="10"/>
                    </a:lnTo>
                    <a:lnTo>
                      <a:pt x="52" y="12"/>
                    </a:lnTo>
                    <a:lnTo>
                      <a:pt x="55" y="20"/>
                    </a:lnTo>
                    <a:lnTo>
                      <a:pt x="60" y="27"/>
                    </a:lnTo>
                    <a:lnTo>
                      <a:pt x="64" y="34"/>
                    </a:lnTo>
                    <a:lnTo>
                      <a:pt x="65" y="5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13" name="Freeform 108">
                <a:extLst>
                  <a:ext uri="{FF2B5EF4-FFF2-40B4-BE49-F238E27FC236}">
                    <a16:creationId xmlns:a16="http://schemas.microsoft.com/office/drawing/2014/main" id="{BB890CF7-A9BE-6A81-6DC5-BC689294FBB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09" y="1982"/>
                <a:ext cx="59" cy="49"/>
              </a:xfrm>
              <a:custGeom>
                <a:avLst/>
                <a:gdLst>
                  <a:gd name="T0" fmla="*/ 4 w 294"/>
                  <a:gd name="T1" fmla="*/ 0 h 245"/>
                  <a:gd name="T2" fmla="*/ 4 w 294"/>
                  <a:gd name="T3" fmla="*/ 1 h 245"/>
                  <a:gd name="T4" fmla="*/ 5 w 294"/>
                  <a:gd name="T5" fmla="*/ 1 h 245"/>
                  <a:gd name="T6" fmla="*/ 5 w 294"/>
                  <a:gd name="T7" fmla="*/ 2 h 245"/>
                  <a:gd name="T8" fmla="*/ 6 w 294"/>
                  <a:gd name="T9" fmla="*/ 2 h 245"/>
                  <a:gd name="T10" fmla="*/ 7 w 294"/>
                  <a:gd name="T11" fmla="*/ 2 h 245"/>
                  <a:gd name="T12" fmla="*/ 7 w 294"/>
                  <a:gd name="T13" fmla="*/ 1 h 245"/>
                  <a:gd name="T14" fmla="*/ 8 w 294"/>
                  <a:gd name="T15" fmla="*/ 1 h 245"/>
                  <a:gd name="T16" fmla="*/ 9 w 294"/>
                  <a:gd name="T17" fmla="*/ 1 h 245"/>
                  <a:gd name="T18" fmla="*/ 10 w 294"/>
                  <a:gd name="T19" fmla="*/ 3 h 245"/>
                  <a:gd name="T20" fmla="*/ 10 w 294"/>
                  <a:gd name="T21" fmla="*/ 4 h 245"/>
                  <a:gd name="T22" fmla="*/ 11 w 294"/>
                  <a:gd name="T23" fmla="*/ 4 h 245"/>
                  <a:gd name="T24" fmla="*/ 12 w 294"/>
                  <a:gd name="T25" fmla="*/ 4 h 245"/>
                  <a:gd name="T26" fmla="*/ 11 w 294"/>
                  <a:gd name="T27" fmla="*/ 4 h 245"/>
                  <a:gd name="T28" fmla="*/ 10 w 294"/>
                  <a:gd name="T29" fmla="*/ 5 h 245"/>
                  <a:gd name="T30" fmla="*/ 10 w 294"/>
                  <a:gd name="T31" fmla="*/ 6 h 245"/>
                  <a:gd name="T32" fmla="*/ 10 w 294"/>
                  <a:gd name="T33" fmla="*/ 7 h 245"/>
                  <a:gd name="T34" fmla="*/ 9 w 294"/>
                  <a:gd name="T35" fmla="*/ 8 h 245"/>
                  <a:gd name="T36" fmla="*/ 9 w 294"/>
                  <a:gd name="T37" fmla="*/ 8 h 245"/>
                  <a:gd name="T38" fmla="*/ 9 w 294"/>
                  <a:gd name="T39" fmla="*/ 10 h 245"/>
                  <a:gd name="T40" fmla="*/ 8 w 294"/>
                  <a:gd name="T41" fmla="*/ 10 h 245"/>
                  <a:gd name="T42" fmla="*/ 8 w 294"/>
                  <a:gd name="T43" fmla="*/ 9 h 245"/>
                  <a:gd name="T44" fmla="*/ 7 w 294"/>
                  <a:gd name="T45" fmla="*/ 9 h 245"/>
                  <a:gd name="T46" fmla="*/ 7 w 294"/>
                  <a:gd name="T47" fmla="*/ 9 h 245"/>
                  <a:gd name="T48" fmla="*/ 7 w 294"/>
                  <a:gd name="T49" fmla="*/ 7 h 245"/>
                  <a:gd name="T50" fmla="*/ 6 w 294"/>
                  <a:gd name="T51" fmla="*/ 7 h 245"/>
                  <a:gd name="T52" fmla="*/ 5 w 294"/>
                  <a:gd name="T53" fmla="*/ 7 h 245"/>
                  <a:gd name="T54" fmla="*/ 4 w 294"/>
                  <a:gd name="T55" fmla="*/ 8 h 245"/>
                  <a:gd name="T56" fmla="*/ 3 w 294"/>
                  <a:gd name="T57" fmla="*/ 9 h 245"/>
                  <a:gd name="T58" fmla="*/ 3 w 294"/>
                  <a:gd name="T59" fmla="*/ 8 h 245"/>
                  <a:gd name="T60" fmla="*/ 3 w 294"/>
                  <a:gd name="T61" fmla="*/ 8 h 245"/>
                  <a:gd name="T62" fmla="*/ 3 w 294"/>
                  <a:gd name="T63" fmla="*/ 7 h 245"/>
                  <a:gd name="T64" fmla="*/ 3 w 294"/>
                  <a:gd name="T65" fmla="*/ 7 h 245"/>
                  <a:gd name="T66" fmla="*/ 3 w 294"/>
                  <a:gd name="T67" fmla="*/ 7 h 245"/>
                  <a:gd name="T68" fmla="*/ 2 w 294"/>
                  <a:gd name="T69" fmla="*/ 6 h 245"/>
                  <a:gd name="T70" fmla="*/ 2 w 294"/>
                  <a:gd name="T71" fmla="*/ 5 h 245"/>
                  <a:gd name="T72" fmla="*/ 2 w 294"/>
                  <a:gd name="T73" fmla="*/ 5 h 245"/>
                  <a:gd name="T74" fmla="*/ 1 w 294"/>
                  <a:gd name="T75" fmla="*/ 4 h 245"/>
                  <a:gd name="T76" fmla="*/ 1 w 294"/>
                  <a:gd name="T77" fmla="*/ 4 h 245"/>
                  <a:gd name="T78" fmla="*/ 1 w 294"/>
                  <a:gd name="T79" fmla="*/ 3 h 245"/>
                  <a:gd name="T80" fmla="*/ 1 w 294"/>
                  <a:gd name="T81" fmla="*/ 3 h 245"/>
                  <a:gd name="T82" fmla="*/ 0 w 294"/>
                  <a:gd name="T83" fmla="*/ 2 h 245"/>
                  <a:gd name="T84" fmla="*/ 0 w 294"/>
                  <a:gd name="T85" fmla="*/ 2 h 245"/>
                  <a:gd name="T86" fmla="*/ 1 w 294"/>
                  <a:gd name="T87" fmla="*/ 1 h 245"/>
                  <a:gd name="T88" fmla="*/ 1 w 294"/>
                  <a:gd name="T89" fmla="*/ 1 h 245"/>
                  <a:gd name="T90" fmla="*/ 2 w 294"/>
                  <a:gd name="T91" fmla="*/ 2 h 245"/>
                  <a:gd name="T92" fmla="*/ 3 w 294"/>
                  <a:gd name="T93" fmla="*/ 2 h 245"/>
                  <a:gd name="T94" fmla="*/ 4 w 294"/>
                  <a:gd name="T95" fmla="*/ 2 h 245"/>
                  <a:gd name="T96" fmla="*/ 3 w 294"/>
                  <a:gd name="T97" fmla="*/ 1 h 245"/>
                  <a:gd name="T98" fmla="*/ 3 w 294"/>
                  <a:gd name="T99" fmla="*/ 1 h 245"/>
                  <a:gd name="T100" fmla="*/ 3 w 294"/>
                  <a:gd name="T101" fmla="*/ 0 h 245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294"/>
                  <a:gd name="T154" fmla="*/ 0 h 245"/>
                  <a:gd name="T155" fmla="*/ 294 w 294"/>
                  <a:gd name="T156" fmla="*/ 245 h 245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294" h="245">
                    <a:moveTo>
                      <a:pt x="80" y="0"/>
                    </a:moveTo>
                    <a:lnTo>
                      <a:pt x="88" y="5"/>
                    </a:lnTo>
                    <a:lnTo>
                      <a:pt x="95" y="5"/>
                    </a:lnTo>
                    <a:lnTo>
                      <a:pt x="107" y="16"/>
                    </a:lnTo>
                    <a:lnTo>
                      <a:pt x="111" y="24"/>
                    </a:lnTo>
                    <a:lnTo>
                      <a:pt x="119" y="24"/>
                    </a:lnTo>
                    <a:lnTo>
                      <a:pt x="124" y="40"/>
                    </a:lnTo>
                    <a:lnTo>
                      <a:pt x="126" y="47"/>
                    </a:lnTo>
                    <a:lnTo>
                      <a:pt x="135" y="47"/>
                    </a:lnTo>
                    <a:lnTo>
                      <a:pt x="151" y="51"/>
                    </a:lnTo>
                    <a:lnTo>
                      <a:pt x="159" y="48"/>
                    </a:lnTo>
                    <a:lnTo>
                      <a:pt x="164" y="43"/>
                    </a:lnTo>
                    <a:lnTo>
                      <a:pt x="170" y="28"/>
                    </a:lnTo>
                    <a:lnTo>
                      <a:pt x="178" y="24"/>
                    </a:lnTo>
                    <a:lnTo>
                      <a:pt x="185" y="20"/>
                    </a:lnTo>
                    <a:lnTo>
                      <a:pt x="188" y="13"/>
                    </a:lnTo>
                    <a:lnTo>
                      <a:pt x="194" y="3"/>
                    </a:lnTo>
                    <a:lnTo>
                      <a:pt x="220" y="34"/>
                    </a:lnTo>
                    <a:lnTo>
                      <a:pt x="236" y="68"/>
                    </a:lnTo>
                    <a:lnTo>
                      <a:pt x="245" y="83"/>
                    </a:lnTo>
                    <a:lnTo>
                      <a:pt x="253" y="93"/>
                    </a:lnTo>
                    <a:lnTo>
                      <a:pt x="261" y="98"/>
                    </a:lnTo>
                    <a:lnTo>
                      <a:pt x="274" y="93"/>
                    </a:lnTo>
                    <a:lnTo>
                      <a:pt x="281" y="98"/>
                    </a:lnTo>
                    <a:lnTo>
                      <a:pt x="287" y="100"/>
                    </a:lnTo>
                    <a:lnTo>
                      <a:pt x="292" y="109"/>
                    </a:lnTo>
                    <a:lnTo>
                      <a:pt x="294" y="118"/>
                    </a:lnTo>
                    <a:lnTo>
                      <a:pt x="283" y="109"/>
                    </a:lnTo>
                    <a:lnTo>
                      <a:pt x="269" y="110"/>
                    </a:lnTo>
                    <a:lnTo>
                      <a:pt x="259" y="117"/>
                    </a:lnTo>
                    <a:lnTo>
                      <a:pt x="251" y="127"/>
                    </a:lnTo>
                    <a:lnTo>
                      <a:pt x="248" y="147"/>
                    </a:lnTo>
                    <a:lnTo>
                      <a:pt x="247" y="164"/>
                    </a:lnTo>
                    <a:lnTo>
                      <a:pt x="240" y="180"/>
                    </a:lnTo>
                    <a:lnTo>
                      <a:pt x="236" y="206"/>
                    </a:lnTo>
                    <a:lnTo>
                      <a:pt x="223" y="192"/>
                    </a:lnTo>
                    <a:lnTo>
                      <a:pt x="216" y="197"/>
                    </a:lnTo>
                    <a:lnTo>
                      <a:pt x="213" y="206"/>
                    </a:lnTo>
                    <a:lnTo>
                      <a:pt x="213" y="227"/>
                    </a:lnTo>
                    <a:lnTo>
                      <a:pt x="215" y="244"/>
                    </a:lnTo>
                    <a:lnTo>
                      <a:pt x="211" y="245"/>
                    </a:lnTo>
                    <a:lnTo>
                      <a:pt x="204" y="245"/>
                    </a:lnTo>
                    <a:lnTo>
                      <a:pt x="197" y="242"/>
                    </a:lnTo>
                    <a:lnTo>
                      <a:pt x="189" y="235"/>
                    </a:lnTo>
                    <a:lnTo>
                      <a:pt x="181" y="231"/>
                    </a:lnTo>
                    <a:lnTo>
                      <a:pt x="177" y="227"/>
                    </a:lnTo>
                    <a:lnTo>
                      <a:pt x="166" y="220"/>
                    </a:lnTo>
                    <a:lnTo>
                      <a:pt x="169" y="215"/>
                    </a:lnTo>
                    <a:lnTo>
                      <a:pt x="184" y="207"/>
                    </a:lnTo>
                    <a:lnTo>
                      <a:pt x="177" y="186"/>
                    </a:lnTo>
                    <a:lnTo>
                      <a:pt x="178" y="172"/>
                    </a:lnTo>
                    <a:lnTo>
                      <a:pt x="161" y="163"/>
                    </a:lnTo>
                    <a:lnTo>
                      <a:pt x="135" y="169"/>
                    </a:lnTo>
                    <a:lnTo>
                      <a:pt x="123" y="177"/>
                    </a:lnTo>
                    <a:lnTo>
                      <a:pt x="113" y="187"/>
                    </a:lnTo>
                    <a:lnTo>
                      <a:pt x="107" y="203"/>
                    </a:lnTo>
                    <a:lnTo>
                      <a:pt x="95" y="217"/>
                    </a:lnTo>
                    <a:lnTo>
                      <a:pt x="84" y="218"/>
                    </a:lnTo>
                    <a:lnTo>
                      <a:pt x="83" y="211"/>
                    </a:lnTo>
                    <a:lnTo>
                      <a:pt x="80" y="203"/>
                    </a:lnTo>
                    <a:lnTo>
                      <a:pt x="75" y="197"/>
                    </a:lnTo>
                    <a:lnTo>
                      <a:pt x="82" y="196"/>
                    </a:lnTo>
                    <a:lnTo>
                      <a:pt x="83" y="187"/>
                    </a:lnTo>
                    <a:lnTo>
                      <a:pt x="77" y="182"/>
                    </a:lnTo>
                    <a:lnTo>
                      <a:pt x="78" y="175"/>
                    </a:lnTo>
                    <a:lnTo>
                      <a:pt x="82" y="166"/>
                    </a:lnTo>
                    <a:lnTo>
                      <a:pt x="75" y="165"/>
                    </a:lnTo>
                    <a:lnTo>
                      <a:pt x="67" y="165"/>
                    </a:lnTo>
                    <a:lnTo>
                      <a:pt x="52" y="156"/>
                    </a:lnTo>
                    <a:lnTo>
                      <a:pt x="43" y="144"/>
                    </a:lnTo>
                    <a:lnTo>
                      <a:pt x="40" y="137"/>
                    </a:lnTo>
                    <a:lnTo>
                      <a:pt x="49" y="136"/>
                    </a:lnTo>
                    <a:lnTo>
                      <a:pt x="52" y="127"/>
                    </a:lnTo>
                    <a:lnTo>
                      <a:pt x="51" y="120"/>
                    </a:lnTo>
                    <a:lnTo>
                      <a:pt x="37" y="111"/>
                    </a:lnTo>
                    <a:lnTo>
                      <a:pt x="32" y="106"/>
                    </a:lnTo>
                    <a:lnTo>
                      <a:pt x="27" y="99"/>
                    </a:lnTo>
                    <a:lnTo>
                      <a:pt x="24" y="91"/>
                    </a:lnTo>
                    <a:lnTo>
                      <a:pt x="24" y="83"/>
                    </a:lnTo>
                    <a:lnTo>
                      <a:pt x="29" y="77"/>
                    </a:lnTo>
                    <a:lnTo>
                      <a:pt x="28" y="69"/>
                    </a:lnTo>
                    <a:lnTo>
                      <a:pt x="21" y="64"/>
                    </a:lnTo>
                    <a:lnTo>
                      <a:pt x="13" y="64"/>
                    </a:lnTo>
                    <a:lnTo>
                      <a:pt x="3" y="51"/>
                    </a:lnTo>
                    <a:lnTo>
                      <a:pt x="1" y="43"/>
                    </a:lnTo>
                    <a:lnTo>
                      <a:pt x="0" y="43"/>
                    </a:lnTo>
                    <a:lnTo>
                      <a:pt x="5" y="42"/>
                    </a:lnTo>
                    <a:lnTo>
                      <a:pt x="19" y="32"/>
                    </a:lnTo>
                    <a:lnTo>
                      <a:pt x="27" y="34"/>
                    </a:lnTo>
                    <a:lnTo>
                      <a:pt x="34" y="36"/>
                    </a:lnTo>
                    <a:lnTo>
                      <a:pt x="40" y="42"/>
                    </a:lnTo>
                    <a:lnTo>
                      <a:pt x="55" y="50"/>
                    </a:lnTo>
                    <a:lnTo>
                      <a:pt x="64" y="48"/>
                    </a:lnTo>
                    <a:lnTo>
                      <a:pt x="78" y="55"/>
                    </a:lnTo>
                    <a:lnTo>
                      <a:pt x="87" y="56"/>
                    </a:lnTo>
                    <a:lnTo>
                      <a:pt x="91" y="50"/>
                    </a:lnTo>
                    <a:lnTo>
                      <a:pt x="88" y="42"/>
                    </a:lnTo>
                    <a:lnTo>
                      <a:pt x="75" y="32"/>
                    </a:lnTo>
                    <a:lnTo>
                      <a:pt x="72" y="25"/>
                    </a:lnTo>
                    <a:lnTo>
                      <a:pt x="66" y="19"/>
                    </a:lnTo>
                    <a:lnTo>
                      <a:pt x="67" y="10"/>
                    </a:lnTo>
                    <a:lnTo>
                      <a:pt x="78" y="0"/>
                    </a:lnTo>
                    <a:lnTo>
                      <a:pt x="80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sp>
          <p:nvSpPr>
            <p:cNvPr id="18" name="Freeform 109">
              <a:extLst>
                <a:ext uri="{FF2B5EF4-FFF2-40B4-BE49-F238E27FC236}">
                  <a16:creationId xmlns:a16="http://schemas.microsoft.com/office/drawing/2014/main" id="{774A4197-2797-B52C-06DE-5E970EC85F17}"/>
                </a:ext>
              </a:extLst>
            </p:cNvPr>
            <p:cNvSpPr>
              <a:spLocks/>
            </p:cNvSpPr>
            <p:nvPr/>
          </p:nvSpPr>
          <p:spPr bwMode="gray">
            <a:xfrm>
              <a:off x="5729127" y="2182470"/>
              <a:ext cx="5023" cy="6794"/>
            </a:xfrm>
            <a:custGeom>
              <a:avLst/>
              <a:gdLst>
                <a:gd name="T0" fmla="*/ 1253 w 16"/>
                <a:gd name="T1" fmla="*/ 1121 h 22"/>
                <a:gd name="T2" fmla="*/ 1253 w 16"/>
                <a:gd name="T3" fmla="*/ 748 h 22"/>
                <a:gd name="T4" fmla="*/ 418 w 16"/>
                <a:gd name="T5" fmla="*/ 0 h 22"/>
                <a:gd name="T6" fmla="*/ 0 w 16"/>
                <a:gd name="T7" fmla="*/ 374 h 22"/>
                <a:gd name="T8" fmla="*/ 0 w 16"/>
                <a:gd name="T9" fmla="*/ 748 h 22"/>
                <a:gd name="T10" fmla="*/ 418 w 16"/>
                <a:gd name="T11" fmla="*/ 1495 h 22"/>
                <a:gd name="T12" fmla="*/ 835 w 16"/>
                <a:gd name="T13" fmla="*/ 1495 h 22"/>
                <a:gd name="T14" fmla="*/ 1253 w 16"/>
                <a:gd name="T15" fmla="*/ 1121 h 2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6"/>
                <a:gd name="T25" fmla="*/ 0 h 22"/>
                <a:gd name="T26" fmla="*/ 16 w 16"/>
                <a:gd name="T27" fmla="*/ 22 h 2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6" h="22">
                  <a:moveTo>
                    <a:pt x="16" y="19"/>
                  </a:moveTo>
                  <a:lnTo>
                    <a:pt x="14" y="12"/>
                  </a:lnTo>
                  <a:lnTo>
                    <a:pt x="5" y="0"/>
                  </a:lnTo>
                  <a:lnTo>
                    <a:pt x="0" y="6"/>
                  </a:lnTo>
                  <a:lnTo>
                    <a:pt x="1" y="13"/>
                  </a:lnTo>
                  <a:lnTo>
                    <a:pt x="3" y="21"/>
                  </a:lnTo>
                  <a:lnTo>
                    <a:pt x="12" y="22"/>
                  </a:lnTo>
                  <a:lnTo>
                    <a:pt x="16" y="19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9" name="Freeform 110">
              <a:extLst>
                <a:ext uri="{FF2B5EF4-FFF2-40B4-BE49-F238E27FC236}">
                  <a16:creationId xmlns:a16="http://schemas.microsoft.com/office/drawing/2014/main" id="{AD2FADAF-531F-4EE2-2CA0-024961023446}"/>
                </a:ext>
              </a:extLst>
            </p:cNvPr>
            <p:cNvSpPr>
              <a:spLocks/>
            </p:cNvSpPr>
            <p:nvPr/>
          </p:nvSpPr>
          <p:spPr bwMode="gray">
            <a:xfrm>
              <a:off x="5740429" y="2186547"/>
              <a:ext cx="6278" cy="2718"/>
            </a:xfrm>
            <a:custGeom>
              <a:avLst/>
              <a:gdLst>
                <a:gd name="T0" fmla="*/ 1336 w 15"/>
                <a:gd name="T1" fmla="*/ 457 h 9"/>
                <a:gd name="T2" fmla="*/ 445 w 15"/>
                <a:gd name="T3" fmla="*/ 0 h 9"/>
                <a:gd name="T4" fmla="*/ 0 w 15"/>
                <a:gd name="T5" fmla="*/ 457 h 9"/>
                <a:gd name="T6" fmla="*/ 445 w 15"/>
                <a:gd name="T7" fmla="*/ 914 h 9"/>
                <a:gd name="T8" fmla="*/ 1336 w 15"/>
                <a:gd name="T9" fmla="*/ 457 h 9"/>
                <a:gd name="T10" fmla="*/ 1336 w 15"/>
                <a:gd name="T11" fmla="*/ 45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9"/>
                <a:gd name="T20" fmla="*/ 15 w 15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9">
                  <a:moveTo>
                    <a:pt x="15" y="4"/>
                  </a:moveTo>
                  <a:lnTo>
                    <a:pt x="7" y="0"/>
                  </a:lnTo>
                  <a:lnTo>
                    <a:pt x="0" y="3"/>
                  </a:lnTo>
                  <a:lnTo>
                    <a:pt x="6" y="9"/>
                  </a:lnTo>
                  <a:lnTo>
                    <a:pt x="14" y="6"/>
                  </a:lnTo>
                  <a:lnTo>
                    <a:pt x="15" y="4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0" name="Freeform 111">
              <a:extLst>
                <a:ext uri="{FF2B5EF4-FFF2-40B4-BE49-F238E27FC236}">
                  <a16:creationId xmlns:a16="http://schemas.microsoft.com/office/drawing/2014/main" id="{21BE164D-A6C2-A210-90FE-912A869B08D7}"/>
                </a:ext>
              </a:extLst>
            </p:cNvPr>
            <p:cNvSpPr>
              <a:spLocks/>
            </p:cNvSpPr>
            <p:nvPr/>
          </p:nvSpPr>
          <p:spPr bwMode="gray">
            <a:xfrm>
              <a:off x="5720337" y="2189265"/>
              <a:ext cx="2511" cy="4077"/>
            </a:xfrm>
            <a:custGeom>
              <a:avLst/>
              <a:gdLst>
                <a:gd name="T0" fmla="*/ 742 w 12"/>
                <a:gd name="T1" fmla="*/ 1028 h 8"/>
                <a:gd name="T2" fmla="*/ 371 w 12"/>
                <a:gd name="T3" fmla="*/ 0 h 8"/>
                <a:gd name="T4" fmla="*/ 0 w 12"/>
                <a:gd name="T5" fmla="*/ 0 h 8"/>
                <a:gd name="T6" fmla="*/ 0 w 12"/>
                <a:gd name="T7" fmla="*/ 1028 h 8"/>
                <a:gd name="T8" fmla="*/ 742 w 12"/>
                <a:gd name="T9" fmla="*/ 1028 h 8"/>
                <a:gd name="T10" fmla="*/ 742 w 12"/>
                <a:gd name="T11" fmla="*/ 1028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"/>
                <a:gd name="T19" fmla="*/ 0 h 8"/>
                <a:gd name="T20" fmla="*/ 12 w 12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" h="8">
                  <a:moveTo>
                    <a:pt x="12" y="6"/>
                  </a:moveTo>
                  <a:lnTo>
                    <a:pt x="8" y="0"/>
                  </a:lnTo>
                  <a:lnTo>
                    <a:pt x="0" y="1"/>
                  </a:lnTo>
                  <a:lnTo>
                    <a:pt x="2" y="8"/>
                  </a:lnTo>
                  <a:lnTo>
                    <a:pt x="11" y="8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1" name="Freeform 112">
              <a:extLst>
                <a:ext uri="{FF2B5EF4-FFF2-40B4-BE49-F238E27FC236}">
                  <a16:creationId xmlns:a16="http://schemas.microsoft.com/office/drawing/2014/main" id="{BFFBF45F-576A-97CF-B0AD-4E3DA225A57B}"/>
                </a:ext>
              </a:extLst>
            </p:cNvPr>
            <p:cNvSpPr>
              <a:spLocks/>
            </p:cNvSpPr>
            <p:nvPr/>
          </p:nvSpPr>
          <p:spPr bwMode="gray">
            <a:xfrm>
              <a:off x="5525704" y="2224598"/>
              <a:ext cx="278766" cy="210639"/>
            </a:xfrm>
            <a:custGeom>
              <a:avLst/>
              <a:gdLst>
                <a:gd name="T0" fmla="*/ 5805 w 788"/>
                <a:gd name="T1" fmla="*/ 40365 h 599"/>
                <a:gd name="T2" fmla="*/ 1340 w 788"/>
                <a:gd name="T3" fmla="*/ 37070 h 599"/>
                <a:gd name="T4" fmla="*/ 447 w 788"/>
                <a:gd name="T5" fmla="*/ 30479 h 599"/>
                <a:gd name="T6" fmla="*/ 0 w 788"/>
                <a:gd name="T7" fmla="*/ 24713 h 599"/>
                <a:gd name="T8" fmla="*/ 3573 w 788"/>
                <a:gd name="T9" fmla="*/ 18535 h 599"/>
                <a:gd name="T10" fmla="*/ 4912 w 788"/>
                <a:gd name="T11" fmla="*/ 16887 h 599"/>
                <a:gd name="T12" fmla="*/ 8931 w 788"/>
                <a:gd name="T13" fmla="*/ 18123 h 599"/>
                <a:gd name="T14" fmla="*/ 12504 w 788"/>
                <a:gd name="T15" fmla="*/ 17299 h 599"/>
                <a:gd name="T16" fmla="*/ 12950 w 788"/>
                <a:gd name="T17" fmla="*/ 15240 h 599"/>
                <a:gd name="T18" fmla="*/ 16523 w 788"/>
                <a:gd name="T19" fmla="*/ 14004 h 599"/>
                <a:gd name="T20" fmla="*/ 20096 w 788"/>
                <a:gd name="T21" fmla="*/ 11533 h 599"/>
                <a:gd name="T22" fmla="*/ 20989 w 788"/>
                <a:gd name="T23" fmla="*/ 7826 h 599"/>
                <a:gd name="T24" fmla="*/ 23221 w 788"/>
                <a:gd name="T25" fmla="*/ 7002 h 599"/>
                <a:gd name="T26" fmla="*/ 25454 w 788"/>
                <a:gd name="T27" fmla="*/ 5355 h 599"/>
                <a:gd name="T28" fmla="*/ 29473 w 788"/>
                <a:gd name="T29" fmla="*/ 6178 h 599"/>
                <a:gd name="T30" fmla="*/ 35279 w 788"/>
                <a:gd name="T31" fmla="*/ 6590 h 599"/>
                <a:gd name="T32" fmla="*/ 38405 w 788"/>
                <a:gd name="T33" fmla="*/ 7826 h 599"/>
                <a:gd name="T34" fmla="*/ 41531 w 788"/>
                <a:gd name="T35" fmla="*/ 6590 h 599"/>
                <a:gd name="T36" fmla="*/ 43764 w 788"/>
                <a:gd name="T37" fmla="*/ 7002 h 599"/>
                <a:gd name="T38" fmla="*/ 44657 w 788"/>
                <a:gd name="T39" fmla="*/ 4943 h 599"/>
                <a:gd name="T40" fmla="*/ 47336 w 788"/>
                <a:gd name="T41" fmla="*/ 5355 h 599"/>
                <a:gd name="T42" fmla="*/ 48676 w 788"/>
                <a:gd name="T43" fmla="*/ 2059 h 599"/>
                <a:gd name="T44" fmla="*/ 50909 w 788"/>
                <a:gd name="T45" fmla="*/ 412 h 599"/>
                <a:gd name="T46" fmla="*/ 52695 w 788"/>
                <a:gd name="T47" fmla="*/ 2471 h 599"/>
                <a:gd name="T48" fmla="*/ 54481 w 788"/>
                <a:gd name="T49" fmla="*/ 3295 h 599"/>
                <a:gd name="T50" fmla="*/ 54035 w 788"/>
                <a:gd name="T51" fmla="*/ 4943 h 599"/>
                <a:gd name="T52" fmla="*/ 54035 w 788"/>
                <a:gd name="T53" fmla="*/ 8238 h 599"/>
                <a:gd name="T54" fmla="*/ 55821 w 788"/>
                <a:gd name="T55" fmla="*/ 9885 h 599"/>
                <a:gd name="T56" fmla="*/ 60733 w 788"/>
                <a:gd name="T57" fmla="*/ 7414 h 599"/>
                <a:gd name="T58" fmla="*/ 62966 w 788"/>
                <a:gd name="T59" fmla="*/ 6178 h 599"/>
                <a:gd name="T60" fmla="*/ 65199 w 788"/>
                <a:gd name="T61" fmla="*/ 6178 h 599"/>
                <a:gd name="T62" fmla="*/ 66539 w 788"/>
                <a:gd name="T63" fmla="*/ 6590 h 599"/>
                <a:gd name="T64" fmla="*/ 69664 w 788"/>
                <a:gd name="T65" fmla="*/ 6178 h 599"/>
                <a:gd name="T66" fmla="*/ 70111 w 788"/>
                <a:gd name="T67" fmla="*/ 7002 h 599"/>
                <a:gd name="T68" fmla="*/ 68771 w 788"/>
                <a:gd name="T69" fmla="*/ 7826 h 599"/>
                <a:gd name="T70" fmla="*/ 67878 w 788"/>
                <a:gd name="T71" fmla="*/ 9061 h 599"/>
                <a:gd name="T72" fmla="*/ 64752 w 788"/>
                <a:gd name="T73" fmla="*/ 9061 h 599"/>
                <a:gd name="T74" fmla="*/ 59393 w 788"/>
                <a:gd name="T75" fmla="*/ 9473 h 599"/>
                <a:gd name="T76" fmla="*/ 57161 w 788"/>
                <a:gd name="T77" fmla="*/ 10709 h 599"/>
                <a:gd name="T78" fmla="*/ 55821 w 788"/>
                <a:gd name="T79" fmla="*/ 11533 h 599"/>
                <a:gd name="T80" fmla="*/ 53142 w 788"/>
                <a:gd name="T81" fmla="*/ 13180 h 599"/>
                <a:gd name="T82" fmla="*/ 54035 w 788"/>
                <a:gd name="T83" fmla="*/ 15240 h 599"/>
                <a:gd name="T84" fmla="*/ 54481 w 788"/>
                <a:gd name="T85" fmla="*/ 18123 h 599"/>
                <a:gd name="T86" fmla="*/ 53142 w 788"/>
                <a:gd name="T87" fmla="*/ 20594 h 599"/>
                <a:gd name="T88" fmla="*/ 52248 w 788"/>
                <a:gd name="T89" fmla="*/ 22654 h 599"/>
                <a:gd name="T90" fmla="*/ 50909 w 788"/>
                <a:gd name="T91" fmla="*/ 25125 h 599"/>
                <a:gd name="T92" fmla="*/ 46443 w 788"/>
                <a:gd name="T93" fmla="*/ 25125 h 599"/>
                <a:gd name="T94" fmla="*/ 47783 w 788"/>
                <a:gd name="T95" fmla="*/ 27596 h 599"/>
                <a:gd name="T96" fmla="*/ 46443 w 788"/>
                <a:gd name="T97" fmla="*/ 29656 h 599"/>
                <a:gd name="T98" fmla="*/ 43764 w 788"/>
                <a:gd name="T99" fmla="*/ 31715 h 599"/>
                <a:gd name="T100" fmla="*/ 42870 w 788"/>
                <a:gd name="T101" fmla="*/ 33363 h 599"/>
                <a:gd name="T102" fmla="*/ 41531 w 788"/>
                <a:gd name="T103" fmla="*/ 37893 h 599"/>
                <a:gd name="T104" fmla="*/ 39744 w 788"/>
                <a:gd name="T105" fmla="*/ 36658 h 599"/>
                <a:gd name="T106" fmla="*/ 37958 w 788"/>
                <a:gd name="T107" fmla="*/ 37070 h 599"/>
                <a:gd name="T108" fmla="*/ 34832 w 788"/>
                <a:gd name="T109" fmla="*/ 38717 h 599"/>
                <a:gd name="T110" fmla="*/ 34832 w 788"/>
                <a:gd name="T111" fmla="*/ 39541 h 599"/>
                <a:gd name="T112" fmla="*/ 31706 w 788"/>
                <a:gd name="T113" fmla="*/ 39129 h 599"/>
                <a:gd name="T114" fmla="*/ 28580 w 788"/>
                <a:gd name="T115" fmla="*/ 42836 h 599"/>
                <a:gd name="T116" fmla="*/ 28580 w 788"/>
                <a:gd name="T117" fmla="*/ 46543 h 599"/>
                <a:gd name="T118" fmla="*/ 20096 w 788"/>
                <a:gd name="T119" fmla="*/ 48602 h 599"/>
                <a:gd name="T120" fmla="*/ 17863 w 788"/>
                <a:gd name="T121" fmla="*/ 49426 h 599"/>
                <a:gd name="T122" fmla="*/ 11611 w 788"/>
                <a:gd name="T123" fmla="*/ 49014 h 599"/>
                <a:gd name="T124" fmla="*/ 8931 w 788"/>
                <a:gd name="T125" fmla="*/ 49426 h 59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788"/>
                <a:gd name="T190" fmla="*/ 0 h 599"/>
                <a:gd name="T191" fmla="*/ 788 w 788"/>
                <a:gd name="T192" fmla="*/ 599 h 599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788" h="599">
                  <a:moveTo>
                    <a:pt x="24" y="572"/>
                  </a:moveTo>
                  <a:lnTo>
                    <a:pt x="36" y="547"/>
                  </a:lnTo>
                  <a:lnTo>
                    <a:pt x="59" y="519"/>
                  </a:lnTo>
                  <a:lnTo>
                    <a:pt x="65" y="502"/>
                  </a:lnTo>
                  <a:lnTo>
                    <a:pt x="65" y="487"/>
                  </a:lnTo>
                  <a:lnTo>
                    <a:pt x="59" y="471"/>
                  </a:lnTo>
                  <a:lnTo>
                    <a:pt x="48" y="461"/>
                  </a:lnTo>
                  <a:lnTo>
                    <a:pt x="36" y="461"/>
                  </a:lnTo>
                  <a:lnTo>
                    <a:pt x="24" y="458"/>
                  </a:lnTo>
                  <a:lnTo>
                    <a:pt x="14" y="447"/>
                  </a:lnTo>
                  <a:lnTo>
                    <a:pt x="12" y="434"/>
                  </a:lnTo>
                  <a:lnTo>
                    <a:pt x="15" y="417"/>
                  </a:lnTo>
                  <a:lnTo>
                    <a:pt x="12" y="399"/>
                  </a:lnTo>
                  <a:lnTo>
                    <a:pt x="6" y="383"/>
                  </a:lnTo>
                  <a:lnTo>
                    <a:pt x="3" y="371"/>
                  </a:lnTo>
                  <a:lnTo>
                    <a:pt x="6" y="353"/>
                  </a:lnTo>
                  <a:lnTo>
                    <a:pt x="15" y="335"/>
                  </a:lnTo>
                  <a:lnTo>
                    <a:pt x="14" y="324"/>
                  </a:lnTo>
                  <a:lnTo>
                    <a:pt x="0" y="319"/>
                  </a:lnTo>
                  <a:lnTo>
                    <a:pt x="0" y="299"/>
                  </a:lnTo>
                  <a:lnTo>
                    <a:pt x="0" y="289"/>
                  </a:lnTo>
                  <a:lnTo>
                    <a:pt x="21" y="281"/>
                  </a:lnTo>
                  <a:lnTo>
                    <a:pt x="21" y="266"/>
                  </a:lnTo>
                  <a:lnTo>
                    <a:pt x="35" y="244"/>
                  </a:lnTo>
                  <a:lnTo>
                    <a:pt x="40" y="223"/>
                  </a:lnTo>
                  <a:lnTo>
                    <a:pt x="40" y="206"/>
                  </a:lnTo>
                  <a:lnTo>
                    <a:pt x="42" y="192"/>
                  </a:lnTo>
                  <a:lnTo>
                    <a:pt x="48" y="196"/>
                  </a:lnTo>
                  <a:lnTo>
                    <a:pt x="54" y="202"/>
                  </a:lnTo>
                  <a:lnTo>
                    <a:pt x="57" y="206"/>
                  </a:lnTo>
                  <a:lnTo>
                    <a:pt x="68" y="208"/>
                  </a:lnTo>
                  <a:lnTo>
                    <a:pt x="80" y="206"/>
                  </a:lnTo>
                  <a:lnTo>
                    <a:pt x="86" y="211"/>
                  </a:lnTo>
                  <a:lnTo>
                    <a:pt x="94" y="215"/>
                  </a:lnTo>
                  <a:lnTo>
                    <a:pt x="98" y="221"/>
                  </a:lnTo>
                  <a:lnTo>
                    <a:pt x="103" y="221"/>
                  </a:lnTo>
                  <a:lnTo>
                    <a:pt x="111" y="219"/>
                  </a:lnTo>
                  <a:lnTo>
                    <a:pt x="124" y="219"/>
                  </a:lnTo>
                  <a:lnTo>
                    <a:pt x="130" y="213"/>
                  </a:lnTo>
                  <a:lnTo>
                    <a:pt x="139" y="210"/>
                  </a:lnTo>
                  <a:lnTo>
                    <a:pt x="143" y="207"/>
                  </a:lnTo>
                  <a:lnTo>
                    <a:pt x="145" y="195"/>
                  </a:lnTo>
                  <a:lnTo>
                    <a:pt x="149" y="194"/>
                  </a:lnTo>
                  <a:lnTo>
                    <a:pt x="153" y="189"/>
                  </a:lnTo>
                  <a:lnTo>
                    <a:pt x="146" y="184"/>
                  </a:lnTo>
                  <a:lnTo>
                    <a:pt x="146" y="178"/>
                  </a:lnTo>
                  <a:lnTo>
                    <a:pt x="154" y="179"/>
                  </a:lnTo>
                  <a:lnTo>
                    <a:pt x="160" y="176"/>
                  </a:lnTo>
                  <a:lnTo>
                    <a:pt x="178" y="173"/>
                  </a:lnTo>
                  <a:lnTo>
                    <a:pt x="186" y="168"/>
                  </a:lnTo>
                  <a:lnTo>
                    <a:pt x="194" y="164"/>
                  </a:lnTo>
                  <a:lnTo>
                    <a:pt x="200" y="158"/>
                  </a:lnTo>
                  <a:lnTo>
                    <a:pt x="208" y="157"/>
                  </a:lnTo>
                  <a:lnTo>
                    <a:pt x="223" y="147"/>
                  </a:lnTo>
                  <a:lnTo>
                    <a:pt x="224" y="142"/>
                  </a:lnTo>
                  <a:lnTo>
                    <a:pt x="224" y="135"/>
                  </a:lnTo>
                  <a:lnTo>
                    <a:pt x="226" y="122"/>
                  </a:lnTo>
                  <a:lnTo>
                    <a:pt x="229" y="119"/>
                  </a:lnTo>
                  <a:lnTo>
                    <a:pt x="235" y="102"/>
                  </a:lnTo>
                  <a:lnTo>
                    <a:pt x="235" y="95"/>
                  </a:lnTo>
                  <a:lnTo>
                    <a:pt x="236" y="93"/>
                  </a:lnTo>
                  <a:lnTo>
                    <a:pt x="240" y="89"/>
                  </a:lnTo>
                  <a:lnTo>
                    <a:pt x="245" y="83"/>
                  </a:lnTo>
                  <a:lnTo>
                    <a:pt x="253" y="82"/>
                  </a:lnTo>
                  <a:lnTo>
                    <a:pt x="259" y="83"/>
                  </a:lnTo>
                  <a:lnTo>
                    <a:pt x="274" y="83"/>
                  </a:lnTo>
                  <a:lnTo>
                    <a:pt x="277" y="82"/>
                  </a:lnTo>
                  <a:lnTo>
                    <a:pt x="279" y="77"/>
                  </a:lnTo>
                  <a:lnTo>
                    <a:pt x="280" y="68"/>
                  </a:lnTo>
                  <a:lnTo>
                    <a:pt x="283" y="65"/>
                  </a:lnTo>
                  <a:lnTo>
                    <a:pt x="288" y="65"/>
                  </a:lnTo>
                  <a:lnTo>
                    <a:pt x="293" y="65"/>
                  </a:lnTo>
                  <a:lnTo>
                    <a:pt x="306" y="73"/>
                  </a:lnTo>
                  <a:lnTo>
                    <a:pt x="316" y="77"/>
                  </a:lnTo>
                  <a:lnTo>
                    <a:pt x="331" y="77"/>
                  </a:lnTo>
                  <a:lnTo>
                    <a:pt x="360" y="76"/>
                  </a:lnTo>
                  <a:lnTo>
                    <a:pt x="366" y="78"/>
                  </a:lnTo>
                  <a:lnTo>
                    <a:pt x="374" y="83"/>
                  </a:lnTo>
                  <a:lnTo>
                    <a:pt x="383" y="81"/>
                  </a:lnTo>
                  <a:lnTo>
                    <a:pt x="396" y="82"/>
                  </a:lnTo>
                  <a:lnTo>
                    <a:pt x="401" y="87"/>
                  </a:lnTo>
                  <a:lnTo>
                    <a:pt x="414" y="102"/>
                  </a:lnTo>
                  <a:lnTo>
                    <a:pt x="422" y="99"/>
                  </a:lnTo>
                  <a:lnTo>
                    <a:pt x="429" y="99"/>
                  </a:lnTo>
                  <a:lnTo>
                    <a:pt x="430" y="94"/>
                  </a:lnTo>
                  <a:lnTo>
                    <a:pt x="444" y="87"/>
                  </a:lnTo>
                  <a:lnTo>
                    <a:pt x="449" y="86"/>
                  </a:lnTo>
                  <a:lnTo>
                    <a:pt x="453" y="87"/>
                  </a:lnTo>
                  <a:lnTo>
                    <a:pt x="456" y="83"/>
                  </a:lnTo>
                  <a:lnTo>
                    <a:pt x="462" y="81"/>
                  </a:lnTo>
                  <a:lnTo>
                    <a:pt x="466" y="82"/>
                  </a:lnTo>
                  <a:lnTo>
                    <a:pt x="471" y="87"/>
                  </a:lnTo>
                  <a:lnTo>
                    <a:pt x="484" y="92"/>
                  </a:lnTo>
                  <a:lnTo>
                    <a:pt x="488" y="89"/>
                  </a:lnTo>
                  <a:lnTo>
                    <a:pt x="489" y="87"/>
                  </a:lnTo>
                  <a:lnTo>
                    <a:pt x="489" y="82"/>
                  </a:lnTo>
                  <a:lnTo>
                    <a:pt x="487" y="78"/>
                  </a:lnTo>
                  <a:lnTo>
                    <a:pt x="485" y="71"/>
                  </a:lnTo>
                  <a:lnTo>
                    <a:pt x="495" y="59"/>
                  </a:lnTo>
                  <a:lnTo>
                    <a:pt x="500" y="59"/>
                  </a:lnTo>
                  <a:lnTo>
                    <a:pt x="506" y="61"/>
                  </a:lnTo>
                  <a:lnTo>
                    <a:pt x="514" y="59"/>
                  </a:lnTo>
                  <a:lnTo>
                    <a:pt x="522" y="65"/>
                  </a:lnTo>
                  <a:lnTo>
                    <a:pt x="526" y="65"/>
                  </a:lnTo>
                  <a:lnTo>
                    <a:pt x="528" y="63"/>
                  </a:lnTo>
                  <a:lnTo>
                    <a:pt x="536" y="56"/>
                  </a:lnTo>
                  <a:lnTo>
                    <a:pt x="537" y="51"/>
                  </a:lnTo>
                  <a:lnTo>
                    <a:pt x="532" y="45"/>
                  </a:lnTo>
                  <a:lnTo>
                    <a:pt x="532" y="40"/>
                  </a:lnTo>
                  <a:lnTo>
                    <a:pt x="542" y="27"/>
                  </a:lnTo>
                  <a:lnTo>
                    <a:pt x="553" y="11"/>
                  </a:lnTo>
                  <a:lnTo>
                    <a:pt x="555" y="9"/>
                  </a:lnTo>
                  <a:lnTo>
                    <a:pt x="559" y="3"/>
                  </a:lnTo>
                  <a:lnTo>
                    <a:pt x="560" y="2"/>
                  </a:lnTo>
                  <a:lnTo>
                    <a:pt x="567" y="3"/>
                  </a:lnTo>
                  <a:lnTo>
                    <a:pt x="571" y="0"/>
                  </a:lnTo>
                  <a:lnTo>
                    <a:pt x="581" y="2"/>
                  </a:lnTo>
                  <a:lnTo>
                    <a:pt x="594" y="14"/>
                  </a:lnTo>
                  <a:lnTo>
                    <a:pt x="594" y="20"/>
                  </a:lnTo>
                  <a:lnTo>
                    <a:pt x="590" y="28"/>
                  </a:lnTo>
                  <a:lnTo>
                    <a:pt x="590" y="33"/>
                  </a:lnTo>
                  <a:lnTo>
                    <a:pt x="591" y="35"/>
                  </a:lnTo>
                  <a:lnTo>
                    <a:pt x="596" y="38"/>
                  </a:lnTo>
                  <a:lnTo>
                    <a:pt x="602" y="36"/>
                  </a:lnTo>
                  <a:lnTo>
                    <a:pt x="606" y="38"/>
                  </a:lnTo>
                  <a:lnTo>
                    <a:pt x="606" y="40"/>
                  </a:lnTo>
                  <a:lnTo>
                    <a:pt x="607" y="44"/>
                  </a:lnTo>
                  <a:lnTo>
                    <a:pt x="605" y="46"/>
                  </a:lnTo>
                  <a:lnTo>
                    <a:pt x="603" y="51"/>
                  </a:lnTo>
                  <a:lnTo>
                    <a:pt x="605" y="62"/>
                  </a:lnTo>
                  <a:lnTo>
                    <a:pt x="603" y="67"/>
                  </a:lnTo>
                  <a:lnTo>
                    <a:pt x="601" y="72"/>
                  </a:lnTo>
                  <a:lnTo>
                    <a:pt x="601" y="82"/>
                  </a:lnTo>
                  <a:lnTo>
                    <a:pt x="598" y="92"/>
                  </a:lnTo>
                  <a:lnTo>
                    <a:pt x="601" y="100"/>
                  </a:lnTo>
                  <a:lnTo>
                    <a:pt x="607" y="111"/>
                  </a:lnTo>
                  <a:lnTo>
                    <a:pt x="612" y="122"/>
                  </a:lnTo>
                  <a:lnTo>
                    <a:pt x="613" y="124"/>
                  </a:lnTo>
                  <a:lnTo>
                    <a:pt x="618" y="125"/>
                  </a:lnTo>
                  <a:lnTo>
                    <a:pt x="623" y="122"/>
                  </a:lnTo>
                  <a:lnTo>
                    <a:pt x="635" y="115"/>
                  </a:lnTo>
                  <a:lnTo>
                    <a:pt x="648" y="105"/>
                  </a:lnTo>
                  <a:lnTo>
                    <a:pt x="670" y="99"/>
                  </a:lnTo>
                  <a:lnTo>
                    <a:pt x="671" y="98"/>
                  </a:lnTo>
                  <a:lnTo>
                    <a:pt x="676" y="92"/>
                  </a:lnTo>
                  <a:lnTo>
                    <a:pt x="683" y="87"/>
                  </a:lnTo>
                  <a:lnTo>
                    <a:pt x="684" y="84"/>
                  </a:lnTo>
                  <a:lnTo>
                    <a:pt x="689" y="83"/>
                  </a:lnTo>
                  <a:lnTo>
                    <a:pt x="699" y="77"/>
                  </a:lnTo>
                  <a:lnTo>
                    <a:pt x="704" y="75"/>
                  </a:lnTo>
                  <a:lnTo>
                    <a:pt x="711" y="70"/>
                  </a:lnTo>
                  <a:lnTo>
                    <a:pt x="716" y="70"/>
                  </a:lnTo>
                  <a:lnTo>
                    <a:pt x="720" y="72"/>
                  </a:lnTo>
                  <a:lnTo>
                    <a:pt x="723" y="73"/>
                  </a:lnTo>
                  <a:lnTo>
                    <a:pt x="727" y="73"/>
                  </a:lnTo>
                  <a:lnTo>
                    <a:pt x="729" y="83"/>
                  </a:lnTo>
                  <a:lnTo>
                    <a:pt x="731" y="87"/>
                  </a:lnTo>
                  <a:lnTo>
                    <a:pt x="734" y="86"/>
                  </a:lnTo>
                  <a:lnTo>
                    <a:pt x="741" y="79"/>
                  </a:lnTo>
                  <a:lnTo>
                    <a:pt x="741" y="81"/>
                  </a:lnTo>
                  <a:lnTo>
                    <a:pt x="743" y="81"/>
                  </a:lnTo>
                  <a:lnTo>
                    <a:pt x="756" y="76"/>
                  </a:lnTo>
                  <a:lnTo>
                    <a:pt x="767" y="75"/>
                  </a:lnTo>
                  <a:lnTo>
                    <a:pt x="773" y="75"/>
                  </a:lnTo>
                  <a:lnTo>
                    <a:pt x="778" y="77"/>
                  </a:lnTo>
                  <a:lnTo>
                    <a:pt x="785" y="77"/>
                  </a:lnTo>
                  <a:lnTo>
                    <a:pt x="788" y="81"/>
                  </a:lnTo>
                  <a:lnTo>
                    <a:pt x="788" y="83"/>
                  </a:lnTo>
                  <a:lnTo>
                    <a:pt x="783" y="84"/>
                  </a:lnTo>
                  <a:lnTo>
                    <a:pt x="785" y="84"/>
                  </a:lnTo>
                  <a:lnTo>
                    <a:pt x="783" y="84"/>
                  </a:lnTo>
                  <a:lnTo>
                    <a:pt x="778" y="83"/>
                  </a:lnTo>
                  <a:lnTo>
                    <a:pt x="774" y="83"/>
                  </a:lnTo>
                  <a:lnTo>
                    <a:pt x="766" y="92"/>
                  </a:lnTo>
                  <a:lnTo>
                    <a:pt x="768" y="94"/>
                  </a:lnTo>
                  <a:lnTo>
                    <a:pt x="774" y="97"/>
                  </a:lnTo>
                  <a:lnTo>
                    <a:pt x="775" y="102"/>
                  </a:lnTo>
                  <a:lnTo>
                    <a:pt x="775" y="106"/>
                  </a:lnTo>
                  <a:lnTo>
                    <a:pt x="764" y="104"/>
                  </a:lnTo>
                  <a:lnTo>
                    <a:pt x="759" y="108"/>
                  </a:lnTo>
                  <a:lnTo>
                    <a:pt x="757" y="108"/>
                  </a:lnTo>
                  <a:lnTo>
                    <a:pt x="751" y="113"/>
                  </a:lnTo>
                  <a:lnTo>
                    <a:pt x="746" y="113"/>
                  </a:lnTo>
                  <a:lnTo>
                    <a:pt x="732" y="108"/>
                  </a:lnTo>
                  <a:lnTo>
                    <a:pt x="725" y="109"/>
                  </a:lnTo>
                  <a:lnTo>
                    <a:pt x="721" y="108"/>
                  </a:lnTo>
                  <a:lnTo>
                    <a:pt x="686" y="110"/>
                  </a:lnTo>
                  <a:lnTo>
                    <a:pt x="682" y="110"/>
                  </a:lnTo>
                  <a:lnTo>
                    <a:pt x="672" y="114"/>
                  </a:lnTo>
                  <a:lnTo>
                    <a:pt x="665" y="114"/>
                  </a:lnTo>
                  <a:lnTo>
                    <a:pt x="656" y="120"/>
                  </a:lnTo>
                  <a:lnTo>
                    <a:pt x="648" y="121"/>
                  </a:lnTo>
                  <a:lnTo>
                    <a:pt x="643" y="124"/>
                  </a:lnTo>
                  <a:lnTo>
                    <a:pt x="639" y="125"/>
                  </a:lnTo>
                  <a:lnTo>
                    <a:pt x="638" y="129"/>
                  </a:lnTo>
                  <a:lnTo>
                    <a:pt x="635" y="131"/>
                  </a:lnTo>
                  <a:lnTo>
                    <a:pt x="625" y="134"/>
                  </a:lnTo>
                  <a:lnTo>
                    <a:pt x="624" y="136"/>
                  </a:lnTo>
                  <a:lnTo>
                    <a:pt x="625" y="140"/>
                  </a:lnTo>
                  <a:lnTo>
                    <a:pt x="622" y="141"/>
                  </a:lnTo>
                  <a:lnTo>
                    <a:pt x="617" y="138"/>
                  </a:lnTo>
                  <a:lnTo>
                    <a:pt x="612" y="138"/>
                  </a:lnTo>
                  <a:lnTo>
                    <a:pt x="611" y="140"/>
                  </a:lnTo>
                  <a:lnTo>
                    <a:pt x="610" y="145"/>
                  </a:lnTo>
                  <a:lnTo>
                    <a:pt x="594" y="158"/>
                  </a:lnTo>
                  <a:lnTo>
                    <a:pt x="590" y="162"/>
                  </a:lnTo>
                  <a:lnTo>
                    <a:pt x="589" y="168"/>
                  </a:lnTo>
                  <a:lnTo>
                    <a:pt x="590" y="170"/>
                  </a:lnTo>
                  <a:lnTo>
                    <a:pt x="598" y="175"/>
                  </a:lnTo>
                  <a:lnTo>
                    <a:pt x="605" y="183"/>
                  </a:lnTo>
                  <a:lnTo>
                    <a:pt x="608" y="196"/>
                  </a:lnTo>
                  <a:lnTo>
                    <a:pt x="612" y="206"/>
                  </a:lnTo>
                  <a:lnTo>
                    <a:pt x="612" y="207"/>
                  </a:lnTo>
                  <a:lnTo>
                    <a:pt x="608" y="216"/>
                  </a:lnTo>
                  <a:lnTo>
                    <a:pt x="608" y="218"/>
                  </a:lnTo>
                  <a:lnTo>
                    <a:pt x="611" y="222"/>
                  </a:lnTo>
                  <a:lnTo>
                    <a:pt x="610" y="228"/>
                  </a:lnTo>
                  <a:lnTo>
                    <a:pt x="606" y="235"/>
                  </a:lnTo>
                  <a:lnTo>
                    <a:pt x="601" y="243"/>
                  </a:lnTo>
                  <a:lnTo>
                    <a:pt x="592" y="249"/>
                  </a:lnTo>
                  <a:lnTo>
                    <a:pt x="585" y="258"/>
                  </a:lnTo>
                  <a:lnTo>
                    <a:pt x="581" y="265"/>
                  </a:lnTo>
                  <a:lnTo>
                    <a:pt x="578" y="269"/>
                  </a:lnTo>
                  <a:lnTo>
                    <a:pt x="578" y="275"/>
                  </a:lnTo>
                  <a:lnTo>
                    <a:pt x="582" y="277"/>
                  </a:lnTo>
                  <a:lnTo>
                    <a:pt x="586" y="280"/>
                  </a:lnTo>
                  <a:lnTo>
                    <a:pt x="582" y="283"/>
                  </a:lnTo>
                  <a:lnTo>
                    <a:pt x="582" y="291"/>
                  </a:lnTo>
                  <a:lnTo>
                    <a:pt x="575" y="301"/>
                  </a:lnTo>
                  <a:lnTo>
                    <a:pt x="569" y="304"/>
                  </a:lnTo>
                  <a:lnTo>
                    <a:pt x="558" y="307"/>
                  </a:lnTo>
                  <a:lnTo>
                    <a:pt x="547" y="305"/>
                  </a:lnTo>
                  <a:lnTo>
                    <a:pt x="528" y="301"/>
                  </a:lnTo>
                  <a:lnTo>
                    <a:pt x="524" y="299"/>
                  </a:lnTo>
                  <a:lnTo>
                    <a:pt x="520" y="302"/>
                  </a:lnTo>
                  <a:lnTo>
                    <a:pt x="517" y="307"/>
                  </a:lnTo>
                  <a:lnTo>
                    <a:pt x="520" y="310"/>
                  </a:lnTo>
                  <a:lnTo>
                    <a:pt x="525" y="320"/>
                  </a:lnTo>
                  <a:lnTo>
                    <a:pt x="530" y="320"/>
                  </a:lnTo>
                  <a:lnTo>
                    <a:pt x="535" y="336"/>
                  </a:lnTo>
                  <a:lnTo>
                    <a:pt x="539" y="341"/>
                  </a:lnTo>
                  <a:lnTo>
                    <a:pt x="539" y="345"/>
                  </a:lnTo>
                  <a:lnTo>
                    <a:pt x="533" y="351"/>
                  </a:lnTo>
                  <a:lnTo>
                    <a:pt x="527" y="353"/>
                  </a:lnTo>
                  <a:lnTo>
                    <a:pt x="517" y="361"/>
                  </a:lnTo>
                  <a:lnTo>
                    <a:pt x="509" y="360"/>
                  </a:lnTo>
                  <a:lnTo>
                    <a:pt x="498" y="363"/>
                  </a:lnTo>
                  <a:lnTo>
                    <a:pt x="496" y="377"/>
                  </a:lnTo>
                  <a:lnTo>
                    <a:pt x="490" y="379"/>
                  </a:lnTo>
                  <a:lnTo>
                    <a:pt x="489" y="384"/>
                  </a:lnTo>
                  <a:lnTo>
                    <a:pt x="490" y="390"/>
                  </a:lnTo>
                  <a:lnTo>
                    <a:pt x="489" y="394"/>
                  </a:lnTo>
                  <a:lnTo>
                    <a:pt x="487" y="394"/>
                  </a:lnTo>
                  <a:lnTo>
                    <a:pt x="483" y="399"/>
                  </a:lnTo>
                  <a:lnTo>
                    <a:pt x="481" y="404"/>
                  </a:lnTo>
                  <a:lnTo>
                    <a:pt x="479" y="407"/>
                  </a:lnTo>
                  <a:lnTo>
                    <a:pt x="481" y="425"/>
                  </a:lnTo>
                  <a:lnTo>
                    <a:pt x="483" y="437"/>
                  </a:lnTo>
                  <a:lnTo>
                    <a:pt x="483" y="439"/>
                  </a:lnTo>
                  <a:lnTo>
                    <a:pt x="463" y="460"/>
                  </a:lnTo>
                  <a:lnTo>
                    <a:pt x="460" y="460"/>
                  </a:lnTo>
                  <a:lnTo>
                    <a:pt x="455" y="458"/>
                  </a:lnTo>
                  <a:lnTo>
                    <a:pt x="452" y="454"/>
                  </a:lnTo>
                  <a:lnTo>
                    <a:pt x="451" y="450"/>
                  </a:lnTo>
                  <a:lnTo>
                    <a:pt x="444" y="445"/>
                  </a:lnTo>
                  <a:lnTo>
                    <a:pt x="440" y="445"/>
                  </a:lnTo>
                  <a:lnTo>
                    <a:pt x="438" y="449"/>
                  </a:lnTo>
                  <a:lnTo>
                    <a:pt x="441" y="450"/>
                  </a:lnTo>
                  <a:lnTo>
                    <a:pt x="441" y="453"/>
                  </a:lnTo>
                  <a:lnTo>
                    <a:pt x="425" y="448"/>
                  </a:lnTo>
                  <a:lnTo>
                    <a:pt x="419" y="448"/>
                  </a:lnTo>
                  <a:lnTo>
                    <a:pt x="414" y="450"/>
                  </a:lnTo>
                  <a:lnTo>
                    <a:pt x="412" y="455"/>
                  </a:lnTo>
                  <a:lnTo>
                    <a:pt x="395" y="464"/>
                  </a:lnTo>
                  <a:lnTo>
                    <a:pt x="391" y="468"/>
                  </a:lnTo>
                  <a:lnTo>
                    <a:pt x="392" y="470"/>
                  </a:lnTo>
                  <a:lnTo>
                    <a:pt x="399" y="473"/>
                  </a:lnTo>
                  <a:lnTo>
                    <a:pt x="399" y="475"/>
                  </a:lnTo>
                  <a:lnTo>
                    <a:pt x="397" y="477"/>
                  </a:lnTo>
                  <a:lnTo>
                    <a:pt x="390" y="479"/>
                  </a:lnTo>
                  <a:lnTo>
                    <a:pt x="377" y="481"/>
                  </a:lnTo>
                  <a:lnTo>
                    <a:pt x="368" y="484"/>
                  </a:lnTo>
                  <a:lnTo>
                    <a:pt x="356" y="482"/>
                  </a:lnTo>
                  <a:lnTo>
                    <a:pt x="356" y="479"/>
                  </a:lnTo>
                  <a:lnTo>
                    <a:pt x="352" y="476"/>
                  </a:lnTo>
                  <a:lnTo>
                    <a:pt x="345" y="480"/>
                  </a:lnTo>
                  <a:lnTo>
                    <a:pt x="339" y="491"/>
                  </a:lnTo>
                  <a:lnTo>
                    <a:pt x="327" y="500"/>
                  </a:lnTo>
                  <a:lnTo>
                    <a:pt x="325" y="506"/>
                  </a:lnTo>
                  <a:lnTo>
                    <a:pt x="321" y="520"/>
                  </a:lnTo>
                  <a:lnTo>
                    <a:pt x="322" y="533"/>
                  </a:lnTo>
                  <a:lnTo>
                    <a:pt x="318" y="552"/>
                  </a:lnTo>
                  <a:lnTo>
                    <a:pt x="318" y="556"/>
                  </a:lnTo>
                  <a:lnTo>
                    <a:pt x="322" y="560"/>
                  </a:lnTo>
                  <a:lnTo>
                    <a:pt x="321" y="566"/>
                  </a:lnTo>
                  <a:lnTo>
                    <a:pt x="313" y="572"/>
                  </a:lnTo>
                  <a:lnTo>
                    <a:pt x="288" y="577"/>
                  </a:lnTo>
                  <a:lnTo>
                    <a:pt x="268" y="584"/>
                  </a:lnTo>
                  <a:lnTo>
                    <a:pt x="252" y="588"/>
                  </a:lnTo>
                  <a:lnTo>
                    <a:pt x="226" y="587"/>
                  </a:lnTo>
                  <a:lnTo>
                    <a:pt x="213" y="587"/>
                  </a:lnTo>
                  <a:lnTo>
                    <a:pt x="207" y="589"/>
                  </a:lnTo>
                  <a:lnTo>
                    <a:pt x="203" y="592"/>
                  </a:lnTo>
                  <a:lnTo>
                    <a:pt x="200" y="597"/>
                  </a:lnTo>
                  <a:lnTo>
                    <a:pt x="197" y="599"/>
                  </a:lnTo>
                  <a:lnTo>
                    <a:pt x="181" y="592"/>
                  </a:lnTo>
                  <a:lnTo>
                    <a:pt x="164" y="592"/>
                  </a:lnTo>
                  <a:lnTo>
                    <a:pt x="149" y="594"/>
                  </a:lnTo>
                  <a:lnTo>
                    <a:pt x="138" y="593"/>
                  </a:lnTo>
                  <a:lnTo>
                    <a:pt x="129" y="594"/>
                  </a:lnTo>
                  <a:lnTo>
                    <a:pt x="119" y="594"/>
                  </a:lnTo>
                  <a:lnTo>
                    <a:pt x="116" y="595"/>
                  </a:lnTo>
                  <a:lnTo>
                    <a:pt x="112" y="598"/>
                  </a:lnTo>
                  <a:lnTo>
                    <a:pt x="108" y="599"/>
                  </a:lnTo>
                  <a:lnTo>
                    <a:pt x="101" y="598"/>
                  </a:lnTo>
                  <a:lnTo>
                    <a:pt x="83" y="588"/>
                  </a:lnTo>
                  <a:lnTo>
                    <a:pt x="24" y="572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2" name="Freeform 139">
              <a:extLst>
                <a:ext uri="{FF2B5EF4-FFF2-40B4-BE49-F238E27FC236}">
                  <a16:creationId xmlns:a16="http://schemas.microsoft.com/office/drawing/2014/main" id="{A1926321-BF34-5DEF-2EDE-00821619104C}"/>
                </a:ext>
              </a:extLst>
            </p:cNvPr>
            <p:cNvSpPr>
              <a:spLocks/>
            </p:cNvSpPr>
            <p:nvPr/>
          </p:nvSpPr>
          <p:spPr bwMode="gray">
            <a:xfrm>
              <a:off x="6330608" y="2569772"/>
              <a:ext cx="139382" cy="292176"/>
            </a:xfrm>
            <a:custGeom>
              <a:avLst/>
              <a:gdLst>
                <a:gd name="T0" fmla="*/ 20936 w 395"/>
                <a:gd name="T1" fmla="*/ 61942 h 832"/>
                <a:gd name="T2" fmla="*/ 22272 w 395"/>
                <a:gd name="T3" fmla="*/ 61121 h 832"/>
                <a:gd name="T4" fmla="*/ 24054 w 395"/>
                <a:gd name="T5" fmla="*/ 59480 h 832"/>
                <a:gd name="T6" fmla="*/ 28508 w 395"/>
                <a:gd name="T7" fmla="*/ 58250 h 832"/>
                <a:gd name="T8" fmla="*/ 33408 w 395"/>
                <a:gd name="T9" fmla="*/ 55378 h 832"/>
                <a:gd name="T10" fmla="*/ 34299 w 395"/>
                <a:gd name="T11" fmla="*/ 53327 h 832"/>
                <a:gd name="T12" fmla="*/ 34744 w 395"/>
                <a:gd name="T13" fmla="*/ 52507 h 832"/>
                <a:gd name="T14" fmla="*/ 34744 w 395"/>
                <a:gd name="T15" fmla="*/ 49635 h 832"/>
                <a:gd name="T16" fmla="*/ 35190 w 395"/>
                <a:gd name="T17" fmla="*/ 48815 h 832"/>
                <a:gd name="T18" fmla="*/ 34744 w 395"/>
                <a:gd name="T19" fmla="*/ 45533 h 832"/>
                <a:gd name="T20" fmla="*/ 33853 w 395"/>
                <a:gd name="T21" fmla="*/ 41431 h 832"/>
                <a:gd name="T22" fmla="*/ 29844 w 395"/>
                <a:gd name="T23" fmla="*/ 33637 h 832"/>
                <a:gd name="T24" fmla="*/ 28953 w 395"/>
                <a:gd name="T25" fmla="*/ 32817 h 832"/>
                <a:gd name="T26" fmla="*/ 24945 w 395"/>
                <a:gd name="T27" fmla="*/ 30355 h 832"/>
                <a:gd name="T28" fmla="*/ 22717 w 395"/>
                <a:gd name="T29" fmla="*/ 28304 h 832"/>
                <a:gd name="T30" fmla="*/ 20490 w 395"/>
                <a:gd name="T31" fmla="*/ 24202 h 832"/>
                <a:gd name="T32" fmla="*/ 17372 w 395"/>
                <a:gd name="T33" fmla="*/ 20100 h 832"/>
                <a:gd name="T34" fmla="*/ 21381 w 395"/>
                <a:gd name="T35" fmla="*/ 13947 h 832"/>
                <a:gd name="T36" fmla="*/ 23163 w 395"/>
                <a:gd name="T37" fmla="*/ 11486 h 832"/>
                <a:gd name="T38" fmla="*/ 27172 w 395"/>
                <a:gd name="T39" fmla="*/ 8614 h 832"/>
                <a:gd name="T40" fmla="*/ 27617 w 395"/>
                <a:gd name="T41" fmla="*/ 7794 h 832"/>
                <a:gd name="T42" fmla="*/ 22717 w 395"/>
                <a:gd name="T43" fmla="*/ 6153 h 832"/>
                <a:gd name="T44" fmla="*/ 21826 w 395"/>
                <a:gd name="T45" fmla="*/ 2051 h 832"/>
                <a:gd name="T46" fmla="*/ 16481 w 395"/>
                <a:gd name="T47" fmla="*/ 410 h 832"/>
                <a:gd name="T48" fmla="*/ 12472 w 395"/>
                <a:gd name="T49" fmla="*/ 1641 h 832"/>
                <a:gd name="T50" fmla="*/ 9354 w 395"/>
                <a:gd name="T51" fmla="*/ 2871 h 832"/>
                <a:gd name="T52" fmla="*/ 6236 w 395"/>
                <a:gd name="T53" fmla="*/ 2461 h 832"/>
                <a:gd name="T54" fmla="*/ 3118 w 395"/>
                <a:gd name="T55" fmla="*/ 2871 h 832"/>
                <a:gd name="T56" fmla="*/ 1336 w 395"/>
                <a:gd name="T57" fmla="*/ 2871 h 832"/>
                <a:gd name="T58" fmla="*/ 891 w 395"/>
                <a:gd name="T59" fmla="*/ 4923 h 832"/>
                <a:gd name="T60" fmla="*/ 3564 w 395"/>
                <a:gd name="T61" fmla="*/ 9025 h 832"/>
                <a:gd name="T62" fmla="*/ 8463 w 395"/>
                <a:gd name="T63" fmla="*/ 11076 h 832"/>
                <a:gd name="T64" fmla="*/ 11581 w 395"/>
                <a:gd name="T65" fmla="*/ 13127 h 832"/>
                <a:gd name="T66" fmla="*/ 12918 w 395"/>
                <a:gd name="T67" fmla="*/ 15588 h 832"/>
                <a:gd name="T68" fmla="*/ 9354 w 395"/>
                <a:gd name="T69" fmla="*/ 17229 h 832"/>
                <a:gd name="T70" fmla="*/ 9354 w 395"/>
                <a:gd name="T71" fmla="*/ 18870 h 832"/>
                <a:gd name="T72" fmla="*/ 14699 w 395"/>
                <a:gd name="T73" fmla="*/ 22972 h 832"/>
                <a:gd name="T74" fmla="*/ 19154 w 395"/>
                <a:gd name="T75" fmla="*/ 27074 h 832"/>
                <a:gd name="T76" fmla="*/ 21381 w 395"/>
                <a:gd name="T77" fmla="*/ 30355 h 832"/>
                <a:gd name="T78" fmla="*/ 23608 w 395"/>
                <a:gd name="T79" fmla="*/ 32407 h 832"/>
                <a:gd name="T80" fmla="*/ 25835 w 395"/>
                <a:gd name="T81" fmla="*/ 37329 h 832"/>
                <a:gd name="T82" fmla="*/ 26726 w 395"/>
                <a:gd name="T83" fmla="*/ 45533 h 832"/>
                <a:gd name="T84" fmla="*/ 24945 w 395"/>
                <a:gd name="T85" fmla="*/ 51276 h 832"/>
                <a:gd name="T86" fmla="*/ 21381 w 395"/>
                <a:gd name="T87" fmla="*/ 52917 h 832"/>
                <a:gd name="T88" fmla="*/ 18263 w 395"/>
                <a:gd name="T89" fmla="*/ 54968 h 832"/>
                <a:gd name="T90" fmla="*/ 17372 w 395"/>
                <a:gd name="T91" fmla="*/ 57019 h 832"/>
                <a:gd name="T92" fmla="*/ 14254 w 395"/>
                <a:gd name="T93" fmla="*/ 57839 h 832"/>
                <a:gd name="T94" fmla="*/ 12027 w 395"/>
                <a:gd name="T95" fmla="*/ 59480 h 832"/>
                <a:gd name="T96" fmla="*/ 14254 w 395"/>
                <a:gd name="T97" fmla="*/ 61531 h 832"/>
                <a:gd name="T98" fmla="*/ 13363 w 395"/>
                <a:gd name="T99" fmla="*/ 65223 h 832"/>
                <a:gd name="T100" fmla="*/ 13809 w 395"/>
                <a:gd name="T101" fmla="*/ 68095 h 832"/>
                <a:gd name="T102" fmla="*/ 17372 w 395"/>
                <a:gd name="T103" fmla="*/ 65223 h 832"/>
                <a:gd name="T104" fmla="*/ 20490 w 395"/>
                <a:gd name="T105" fmla="*/ 63172 h 83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395"/>
                <a:gd name="T160" fmla="*/ 0 h 832"/>
                <a:gd name="T161" fmla="*/ 395 w 395"/>
                <a:gd name="T162" fmla="*/ 832 h 83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395" h="832">
                  <a:moveTo>
                    <a:pt x="228" y="773"/>
                  </a:moveTo>
                  <a:lnTo>
                    <a:pt x="238" y="776"/>
                  </a:lnTo>
                  <a:lnTo>
                    <a:pt x="242" y="768"/>
                  </a:lnTo>
                  <a:lnTo>
                    <a:pt x="237" y="758"/>
                  </a:lnTo>
                  <a:lnTo>
                    <a:pt x="239" y="753"/>
                  </a:lnTo>
                  <a:lnTo>
                    <a:pt x="245" y="754"/>
                  </a:lnTo>
                  <a:lnTo>
                    <a:pt x="247" y="748"/>
                  </a:lnTo>
                  <a:lnTo>
                    <a:pt x="250" y="749"/>
                  </a:lnTo>
                  <a:lnTo>
                    <a:pt x="249" y="741"/>
                  </a:lnTo>
                  <a:lnTo>
                    <a:pt x="253" y="737"/>
                  </a:lnTo>
                  <a:lnTo>
                    <a:pt x="255" y="731"/>
                  </a:lnTo>
                  <a:lnTo>
                    <a:pt x="270" y="727"/>
                  </a:lnTo>
                  <a:lnTo>
                    <a:pt x="276" y="731"/>
                  </a:lnTo>
                  <a:lnTo>
                    <a:pt x="283" y="731"/>
                  </a:lnTo>
                  <a:lnTo>
                    <a:pt x="308" y="716"/>
                  </a:lnTo>
                  <a:lnTo>
                    <a:pt x="321" y="713"/>
                  </a:lnTo>
                  <a:lnTo>
                    <a:pt x="330" y="701"/>
                  </a:lnTo>
                  <a:lnTo>
                    <a:pt x="361" y="687"/>
                  </a:lnTo>
                  <a:lnTo>
                    <a:pt x="367" y="681"/>
                  </a:lnTo>
                  <a:lnTo>
                    <a:pt x="376" y="679"/>
                  </a:lnTo>
                  <a:lnTo>
                    <a:pt x="378" y="673"/>
                  </a:lnTo>
                  <a:lnTo>
                    <a:pt x="379" y="665"/>
                  </a:lnTo>
                  <a:lnTo>
                    <a:pt x="385" y="660"/>
                  </a:lnTo>
                  <a:lnTo>
                    <a:pt x="387" y="654"/>
                  </a:lnTo>
                  <a:lnTo>
                    <a:pt x="383" y="650"/>
                  </a:lnTo>
                  <a:lnTo>
                    <a:pt x="385" y="646"/>
                  </a:lnTo>
                  <a:lnTo>
                    <a:pt x="388" y="647"/>
                  </a:lnTo>
                  <a:lnTo>
                    <a:pt x="388" y="643"/>
                  </a:lnTo>
                  <a:lnTo>
                    <a:pt x="383" y="619"/>
                  </a:lnTo>
                  <a:lnTo>
                    <a:pt x="384" y="615"/>
                  </a:lnTo>
                  <a:lnTo>
                    <a:pt x="388" y="618"/>
                  </a:lnTo>
                  <a:lnTo>
                    <a:pt x="388" y="607"/>
                  </a:lnTo>
                  <a:lnTo>
                    <a:pt x="392" y="602"/>
                  </a:lnTo>
                  <a:lnTo>
                    <a:pt x="395" y="603"/>
                  </a:lnTo>
                  <a:lnTo>
                    <a:pt x="395" y="607"/>
                  </a:lnTo>
                  <a:lnTo>
                    <a:pt x="395" y="596"/>
                  </a:lnTo>
                  <a:lnTo>
                    <a:pt x="394" y="587"/>
                  </a:lnTo>
                  <a:lnTo>
                    <a:pt x="390" y="585"/>
                  </a:lnTo>
                  <a:lnTo>
                    <a:pt x="389" y="569"/>
                  </a:lnTo>
                  <a:lnTo>
                    <a:pt x="389" y="557"/>
                  </a:lnTo>
                  <a:lnTo>
                    <a:pt x="388" y="549"/>
                  </a:lnTo>
                  <a:lnTo>
                    <a:pt x="388" y="539"/>
                  </a:lnTo>
                  <a:lnTo>
                    <a:pt x="385" y="536"/>
                  </a:lnTo>
                  <a:lnTo>
                    <a:pt x="382" y="507"/>
                  </a:lnTo>
                  <a:lnTo>
                    <a:pt x="366" y="456"/>
                  </a:lnTo>
                  <a:lnTo>
                    <a:pt x="344" y="434"/>
                  </a:lnTo>
                  <a:lnTo>
                    <a:pt x="337" y="424"/>
                  </a:lnTo>
                  <a:lnTo>
                    <a:pt x="336" y="409"/>
                  </a:lnTo>
                  <a:lnTo>
                    <a:pt x="335" y="413"/>
                  </a:lnTo>
                  <a:lnTo>
                    <a:pt x="329" y="414"/>
                  </a:lnTo>
                  <a:lnTo>
                    <a:pt x="329" y="409"/>
                  </a:lnTo>
                  <a:lnTo>
                    <a:pt x="323" y="401"/>
                  </a:lnTo>
                  <a:lnTo>
                    <a:pt x="306" y="398"/>
                  </a:lnTo>
                  <a:lnTo>
                    <a:pt x="298" y="387"/>
                  </a:lnTo>
                  <a:lnTo>
                    <a:pt x="290" y="378"/>
                  </a:lnTo>
                  <a:lnTo>
                    <a:pt x="281" y="372"/>
                  </a:lnTo>
                  <a:lnTo>
                    <a:pt x="274" y="362"/>
                  </a:lnTo>
                  <a:lnTo>
                    <a:pt x="270" y="359"/>
                  </a:lnTo>
                  <a:lnTo>
                    <a:pt x="265" y="351"/>
                  </a:lnTo>
                  <a:lnTo>
                    <a:pt x="255" y="344"/>
                  </a:lnTo>
                  <a:lnTo>
                    <a:pt x="248" y="334"/>
                  </a:lnTo>
                  <a:lnTo>
                    <a:pt x="236" y="324"/>
                  </a:lnTo>
                  <a:lnTo>
                    <a:pt x="234" y="312"/>
                  </a:lnTo>
                  <a:lnTo>
                    <a:pt x="228" y="297"/>
                  </a:lnTo>
                  <a:lnTo>
                    <a:pt x="217" y="290"/>
                  </a:lnTo>
                  <a:lnTo>
                    <a:pt x="197" y="270"/>
                  </a:lnTo>
                  <a:lnTo>
                    <a:pt x="191" y="258"/>
                  </a:lnTo>
                  <a:lnTo>
                    <a:pt x="194" y="245"/>
                  </a:lnTo>
                  <a:lnTo>
                    <a:pt x="197" y="235"/>
                  </a:lnTo>
                  <a:lnTo>
                    <a:pt x="199" y="222"/>
                  </a:lnTo>
                  <a:lnTo>
                    <a:pt x="211" y="195"/>
                  </a:lnTo>
                  <a:lnTo>
                    <a:pt x="239" y="171"/>
                  </a:lnTo>
                  <a:lnTo>
                    <a:pt x="243" y="166"/>
                  </a:lnTo>
                  <a:lnTo>
                    <a:pt x="247" y="152"/>
                  </a:lnTo>
                  <a:lnTo>
                    <a:pt x="253" y="145"/>
                  </a:lnTo>
                  <a:lnTo>
                    <a:pt x="258" y="140"/>
                  </a:lnTo>
                  <a:lnTo>
                    <a:pt x="276" y="132"/>
                  </a:lnTo>
                  <a:lnTo>
                    <a:pt x="286" y="124"/>
                  </a:lnTo>
                  <a:lnTo>
                    <a:pt x="287" y="116"/>
                  </a:lnTo>
                  <a:lnTo>
                    <a:pt x="307" y="105"/>
                  </a:lnTo>
                  <a:lnTo>
                    <a:pt x="315" y="108"/>
                  </a:lnTo>
                  <a:lnTo>
                    <a:pt x="318" y="106"/>
                  </a:lnTo>
                  <a:lnTo>
                    <a:pt x="319" y="102"/>
                  </a:lnTo>
                  <a:lnTo>
                    <a:pt x="312" y="97"/>
                  </a:lnTo>
                  <a:lnTo>
                    <a:pt x="293" y="98"/>
                  </a:lnTo>
                  <a:lnTo>
                    <a:pt x="283" y="96"/>
                  </a:lnTo>
                  <a:lnTo>
                    <a:pt x="278" y="91"/>
                  </a:lnTo>
                  <a:lnTo>
                    <a:pt x="255" y="77"/>
                  </a:lnTo>
                  <a:lnTo>
                    <a:pt x="248" y="65"/>
                  </a:lnTo>
                  <a:lnTo>
                    <a:pt x="243" y="50"/>
                  </a:lnTo>
                  <a:lnTo>
                    <a:pt x="248" y="35"/>
                  </a:lnTo>
                  <a:lnTo>
                    <a:pt x="244" y="26"/>
                  </a:lnTo>
                  <a:lnTo>
                    <a:pt x="224" y="25"/>
                  </a:lnTo>
                  <a:lnTo>
                    <a:pt x="211" y="21"/>
                  </a:lnTo>
                  <a:lnTo>
                    <a:pt x="196" y="15"/>
                  </a:lnTo>
                  <a:lnTo>
                    <a:pt x="184" y="5"/>
                  </a:lnTo>
                  <a:lnTo>
                    <a:pt x="169" y="0"/>
                  </a:lnTo>
                  <a:lnTo>
                    <a:pt x="162" y="1"/>
                  </a:lnTo>
                  <a:lnTo>
                    <a:pt x="152" y="12"/>
                  </a:lnTo>
                  <a:lnTo>
                    <a:pt x="142" y="19"/>
                  </a:lnTo>
                  <a:lnTo>
                    <a:pt x="127" y="27"/>
                  </a:lnTo>
                  <a:lnTo>
                    <a:pt x="121" y="28"/>
                  </a:lnTo>
                  <a:lnTo>
                    <a:pt x="113" y="26"/>
                  </a:lnTo>
                  <a:lnTo>
                    <a:pt x="104" y="33"/>
                  </a:lnTo>
                  <a:lnTo>
                    <a:pt x="94" y="38"/>
                  </a:lnTo>
                  <a:lnTo>
                    <a:pt x="91" y="32"/>
                  </a:lnTo>
                  <a:lnTo>
                    <a:pt x="77" y="36"/>
                  </a:lnTo>
                  <a:lnTo>
                    <a:pt x="71" y="31"/>
                  </a:lnTo>
                  <a:lnTo>
                    <a:pt x="65" y="32"/>
                  </a:lnTo>
                  <a:lnTo>
                    <a:pt x="50" y="42"/>
                  </a:lnTo>
                  <a:lnTo>
                    <a:pt x="44" y="41"/>
                  </a:lnTo>
                  <a:lnTo>
                    <a:pt x="36" y="33"/>
                  </a:lnTo>
                  <a:lnTo>
                    <a:pt x="23" y="31"/>
                  </a:lnTo>
                  <a:lnTo>
                    <a:pt x="21" y="28"/>
                  </a:lnTo>
                  <a:lnTo>
                    <a:pt x="17" y="31"/>
                  </a:lnTo>
                  <a:lnTo>
                    <a:pt x="13" y="37"/>
                  </a:lnTo>
                  <a:lnTo>
                    <a:pt x="7" y="44"/>
                  </a:lnTo>
                  <a:lnTo>
                    <a:pt x="7" y="48"/>
                  </a:lnTo>
                  <a:lnTo>
                    <a:pt x="0" y="44"/>
                  </a:lnTo>
                  <a:lnTo>
                    <a:pt x="12" y="60"/>
                  </a:lnTo>
                  <a:lnTo>
                    <a:pt x="29" y="80"/>
                  </a:lnTo>
                  <a:lnTo>
                    <a:pt x="39" y="90"/>
                  </a:lnTo>
                  <a:lnTo>
                    <a:pt x="44" y="100"/>
                  </a:lnTo>
                  <a:lnTo>
                    <a:pt x="41" y="112"/>
                  </a:lnTo>
                  <a:lnTo>
                    <a:pt x="43" y="120"/>
                  </a:lnTo>
                  <a:lnTo>
                    <a:pt x="57" y="135"/>
                  </a:lnTo>
                  <a:lnTo>
                    <a:pt x="77" y="139"/>
                  </a:lnTo>
                  <a:lnTo>
                    <a:pt x="97" y="134"/>
                  </a:lnTo>
                  <a:lnTo>
                    <a:pt x="113" y="135"/>
                  </a:lnTo>
                  <a:lnTo>
                    <a:pt x="122" y="146"/>
                  </a:lnTo>
                  <a:lnTo>
                    <a:pt x="127" y="155"/>
                  </a:lnTo>
                  <a:lnTo>
                    <a:pt x="129" y="162"/>
                  </a:lnTo>
                  <a:lnTo>
                    <a:pt x="137" y="168"/>
                  </a:lnTo>
                  <a:lnTo>
                    <a:pt x="141" y="177"/>
                  </a:lnTo>
                  <a:lnTo>
                    <a:pt x="147" y="183"/>
                  </a:lnTo>
                  <a:lnTo>
                    <a:pt x="146" y="192"/>
                  </a:lnTo>
                  <a:lnTo>
                    <a:pt x="130" y="208"/>
                  </a:lnTo>
                  <a:lnTo>
                    <a:pt x="125" y="208"/>
                  </a:lnTo>
                  <a:lnTo>
                    <a:pt x="114" y="205"/>
                  </a:lnTo>
                  <a:lnTo>
                    <a:pt x="107" y="208"/>
                  </a:lnTo>
                  <a:lnTo>
                    <a:pt x="103" y="213"/>
                  </a:lnTo>
                  <a:lnTo>
                    <a:pt x="99" y="222"/>
                  </a:lnTo>
                  <a:lnTo>
                    <a:pt x="100" y="229"/>
                  </a:lnTo>
                  <a:lnTo>
                    <a:pt x="107" y="231"/>
                  </a:lnTo>
                  <a:lnTo>
                    <a:pt x="115" y="237"/>
                  </a:lnTo>
                  <a:lnTo>
                    <a:pt x="134" y="247"/>
                  </a:lnTo>
                  <a:lnTo>
                    <a:pt x="161" y="267"/>
                  </a:lnTo>
                  <a:lnTo>
                    <a:pt x="165" y="280"/>
                  </a:lnTo>
                  <a:lnTo>
                    <a:pt x="188" y="301"/>
                  </a:lnTo>
                  <a:lnTo>
                    <a:pt x="191" y="311"/>
                  </a:lnTo>
                  <a:lnTo>
                    <a:pt x="208" y="331"/>
                  </a:lnTo>
                  <a:lnTo>
                    <a:pt x="213" y="332"/>
                  </a:lnTo>
                  <a:lnTo>
                    <a:pt x="231" y="344"/>
                  </a:lnTo>
                  <a:lnTo>
                    <a:pt x="236" y="358"/>
                  </a:lnTo>
                  <a:lnTo>
                    <a:pt x="239" y="370"/>
                  </a:lnTo>
                  <a:lnTo>
                    <a:pt x="238" y="371"/>
                  </a:lnTo>
                  <a:lnTo>
                    <a:pt x="239" y="372"/>
                  </a:lnTo>
                  <a:lnTo>
                    <a:pt x="243" y="386"/>
                  </a:lnTo>
                  <a:lnTo>
                    <a:pt x="251" y="386"/>
                  </a:lnTo>
                  <a:lnTo>
                    <a:pt x="265" y="396"/>
                  </a:lnTo>
                  <a:lnTo>
                    <a:pt x="274" y="404"/>
                  </a:lnTo>
                  <a:lnTo>
                    <a:pt x="278" y="421"/>
                  </a:lnTo>
                  <a:lnTo>
                    <a:pt x="291" y="450"/>
                  </a:lnTo>
                  <a:lnTo>
                    <a:pt x="292" y="457"/>
                  </a:lnTo>
                  <a:lnTo>
                    <a:pt x="292" y="490"/>
                  </a:lnTo>
                  <a:lnTo>
                    <a:pt x="290" y="527"/>
                  </a:lnTo>
                  <a:lnTo>
                    <a:pt x="292" y="543"/>
                  </a:lnTo>
                  <a:lnTo>
                    <a:pt x="299" y="558"/>
                  </a:lnTo>
                  <a:lnTo>
                    <a:pt x="298" y="607"/>
                  </a:lnTo>
                  <a:lnTo>
                    <a:pt x="296" y="619"/>
                  </a:lnTo>
                  <a:lnTo>
                    <a:pt x="290" y="628"/>
                  </a:lnTo>
                  <a:lnTo>
                    <a:pt x="281" y="625"/>
                  </a:lnTo>
                  <a:lnTo>
                    <a:pt x="271" y="634"/>
                  </a:lnTo>
                  <a:lnTo>
                    <a:pt x="264" y="638"/>
                  </a:lnTo>
                  <a:lnTo>
                    <a:pt x="256" y="638"/>
                  </a:lnTo>
                  <a:lnTo>
                    <a:pt x="238" y="646"/>
                  </a:lnTo>
                  <a:lnTo>
                    <a:pt x="237" y="656"/>
                  </a:lnTo>
                  <a:lnTo>
                    <a:pt x="218" y="657"/>
                  </a:lnTo>
                  <a:lnTo>
                    <a:pt x="208" y="661"/>
                  </a:lnTo>
                  <a:lnTo>
                    <a:pt x="206" y="674"/>
                  </a:lnTo>
                  <a:lnTo>
                    <a:pt x="207" y="683"/>
                  </a:lnTo>
                  <a:lnTo>
                    <a:pt x="208" y="692"/>
                  </a:lnTo>
                  <a:lnTo>
                    <a:pt x="202" y="694"/>
                  </a:lnTo>
                  <a:lnTo>
                    <a:pt x="194" y="697"/>
                  </a:lnTo>
                  <a:lnTo>
                    <a:pt x="183" y="704"/>
                  </a:lnTo>
                  <a:lnTo>
                    <a:pt x="173" y="708"/>
                  </a:lnTo>
                  <a:lnTo>
                    <a:pt x="165" y="705"/>
                  </a:lnTo>
                  <a:lnTo>
                    <a:pt x="158" y="705"/>
                  </a:lnTo>
                  <a:lnTo>
                    <a:pt x="157" y="715"/>
                  </a:lnTo>
                  <a:lnTo>
                    <a:pt x="152" y="720"/>
                  </a:lnTo>
                  <a:lnTo>
                    <a:pt x="145" y="724"/>
                  </a:lnTo>
                  <a:lnTo>
                    <a:pt x="134" y="726"/>
                  </a:lnTo>
                  <a:lnTo>
                    <a:pt x="129" y="727"/>
                  </a:lnTo>
                  <a:lnTo>
                    <a:pt x="136" y="738"/>
                  </a:lnTo>
                  <a:lnTo>
                    <a:pt x="154" y="746"/>
                  </a:lnTo>
                  <a:lnTo>
                    <a:pt x="161" y="752"/>
                  </a:lnTo>
                  <a:lnTo>
                    <a:pt x="157" y="760"/>
                  </a:lnTo>
                  <a:lnTo>
                    <a:pt x="150" y="770"/>
                  </a:lnTo>
                  <a:lnTo>
                    <a:pt x="148" y="786"/>
                  </a:lnTo>
                  <a:lnTo>
                    <a:pt x="148" y="797"/>
                  </a:lnTo>
                  <a:lnTo>
                    <a:pt x="151" y="810"/>
                  </a:lnTo>
                  <a:lnTo>
                    <a:pt x="156" y="822"/>
                  </a:lnTo>
                  <a:lnTo>
                    <a:pt x="151" y="827"/>
                  </a:lnTo>
                  <a:lnTo>
                    <a:pt x="153" y="832"/>
                  </a:lnTo>
                  <a:lnTo>
                    <a:pt x="162" y="830"/>
                  </a:lnTo>
                  <a:lnTo>
                    <a:pt x="175" y="821"/>
                  </a:lnTo>
                  <a:lnTo>
                    <a:pt x="186" y="807"/>
                  </a:lnTo>
                  <a:lnTo>
                    <a:pt x="195" y="797"/>
                  </a:lnTo>
                  <a:lnTo>
                    <a:pt x="216" y="789"/>
                  </a:lnTo>
                  <a:lnTo>
                    <a:pt x="220" y="785"/>
                  </a:lnTo>
                  <a:lnTo>
                    <a:pt x="220" y="778"/>
                  </a:lnTo>
                  <a:lnTo>
                    <a:pt x="228" y="773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3" name="Freeform 142">
              <a:extLst>
                <a:ext uri="{FF2B5EF4-FFF2-40B4-BE49-F238E27FC236}">
                  <a16:creationId xmlns:a16="http://schemas.microsoft.com/office/drawing/2014/main" id="{531EB96E-FF34-72BB-DF7A-36233148203B}"/>
                </a:ext>
              </a:extLst>
            </p:cNvPr>
            <p:cNvSpPr>
              <a:spLocks/>
            </p:cNvSpPr>
            <p:nvPr/>
          </p:nvSpPr>
          <p:spPr bwMode="gray">
            <a:xfrm>
              <a:off x="6245221" y="2620054"/>
              <a:ext cx="150684" cy="297611"/>
            </a:xfrm>
            <a:custGeom>
              <a:avLst/>
              <a:gdLst>
                <a:gd name="T0" fmla="*/ 11110 w 431"/>
                <a:gd name="T1" fmla="*/ 2058 h 844"/>
                <a:gd name="T2" fmla="*/ 6666 w 431"/>
                <a:gd name="T3" fmla="*/ 4117 h 844"/>
                <a:gd name="T4" fmla="*/ 2222 w 431"/>
                <a:gd name="T5" fmla="*/ 5352 h 844"/>
                <a:gd name="T6" fmla="*/ 0 w 431"/>
                <a:gd name="T7" fmla="*/ 11115 h 844"/>
                <a:gd name="T8" fmla="*/ 3555 w 431"/>
                <a:gd name="T9" fmla="*/ 16467 h 844"/>
                <a:gd name="T10" fmla="*/ 4444 w 431"/>
                <a:gd name="T11" fmla="*/ 20584 h 844"/>
                <a:gd name="T12" fmla="*/ 4888 w 431"/>
                <a:gd name="T13" fmla="*/ 23466 h 844"/>
                <a:gd name="T14" fmla="*/ 3555 w 431"/>
                <a:gd name="T15" fmla="*/ 25936 h 844"/>
                <a:gd name="T16" fmla="*/ 5333 w 431"/>
                <a:gd name="T17" fmla="*/ 30053 h 844"/>
                <a:gd name="T18" fmla="*/ 7110 w 431"/>
                <a:gd name="T19" fmla="*/ 35817 h 844"/>
                <a:gd name="T20" fmla="*/ 9777 w 431"/>
                <a:gd name="T21" fmla="*/ 41580 h 844"/>
                <a:gd name="T22" fmla="*/ 6222 w 431"/>
                <a:gd name="T23" fmla="*/ 46109 h 844"/>
                <a:gd name="T24" fmla="*/ 5333 w 431"/>
                <a:gd name="T25" fmla="*/ 49402 h 844"/>
                <a:gd name="T26" fmla="*/ 3111 w 431"/>
                <a:gd name="T27" fmla="*/ 55989 h 844"/>
                <a:gd name="T28" fmla="*/ 7110 w 431"/>
                <a:gd name="T29" fmla="*/ 59694 h 844"/>
                <a:gd name="T30" fmla="*/ 10666 w 431"/>
                <a:gd name="T31" fmla="*/ 63811 h 844"/>
                <a:gd name="T32" fmla="*/ 14221 w 431"/>
                <a:gd name="T33" fmla="*/ 65870 h 844"/>
                <a:gd name="T34" fmla="*/ 17332 w 431"/>
                <a:gd name="T35" fmla="*/ 68751 h 844"/>
                <a:gd name="T36" fmla="*/ 21331 w 431"/>
                <a:gd name="T37" fmla="*/ 68340 h 844"/>
                <a:gd name="T38" fmla="*/ 19109 w 431"/>
                <a:gd name="T39" fmla="*/ 64223 h 844"/>
                <a:gd name="T40" fmla="*/ 13777 w 431"/>
                <a:gd name="T41" fmla="*/ 61341 h 844"/>
                <a:gd name="T42" fmla="*/ 11554 w 431"/>
                <a:gd name="T43" fmla="*/ 55577 h 844"/>
                <a:gd name="T44" fmla="*/ 8888 w 431"/>
                <a:gd name="T45" fmla="*/ 53519 h 844"/>
                <a:gd name="T46" fmla="*/ 7555 w 431"/>
                <a:gd name="T47" fmla="*/ 50226 h 844"/>
                <a:gd name="T48" fmla="*/ 8444 w 431"/>
                <a:gd name="T49" fmla="*/ 46932 h 844"/>
                <a:gd name="T50" fmla="*/ 9777 w 431"/>
                <a:gd name="T51" fmla="*/ 42404 h 844"/>
                <a:gd name="T52" fmla="*/ 11999 w 431"/>
                <a:gd name="T53" fmla="*/ 36228 h 844"/>
                <a:gd name="T54" fmla="*/ 14221 w 431"/>
                <a:gd name="T55" fmla="*/ 33758 h 844"/>
                <a:gd name="T56" fmla="*/ 15999 w 431"/>
                <a:gd name="T57" fmla="*/ 37463 h 844"/>
                <a:gd name="T58" fmla="*/ 16887 w 431"/>
                <a:gd name="T59" fmla="*/ 37875 h 844"/>
                <a:gd name="T60" fmla="*/ 22220 w 431"/>
                <a:gd name="T61" fmla="*/ 39110 h 844"/>
                <a:gd name="T62" fmla="*/ 23998 w 431"/>
                <a:gd name="T63" fmla="*/ 40345 h 844"/>
                <a:gd name="T64" fmla="*/ 25775 w 431"/>
                <a:gd name="T65" fmla="*/ 41992 h 844"/>
                <a:gd name="T66" fmla="*/ 23553 w 431"/>
                <a:gd name="T67" fmla="*/ 38287 h 844"/>
                <a:gd name="T68" fmla="*/ 23553 w 431"/>
                <a:gd name="T69" fmla="*/ 33346 h 844"/>
                <a:gd name="T70" fmla="*/ 26220 w 431"/>
                <a:gd name="T71" fmla="*/ 30053 h 844"/>
                <a:gd name="T72" fmla="*/ 32441 w 431"/>
                <a:gd name="T73" fmla="*/ 30053 h 844"/>
                <a:gd name="T74" fmla="*/ 36886 w 431"/>
                <a:gd name="T75" fmla="*/ 30053 h 844"/>
                <a:gd name="T76" fmla="*/ 38219 w 431"/>
                <a:gd name="T77" fmla="*/ 24701 h 844"/>
                <a:gd name="T78" fmla="*/ 36886 w 431"/>
                <a:gd name="T79" fmla="*/ 22643 h 844"/>
                <a:gd name="T80" fmla="*/ 34663 w 431"/>
                <a:gd name="T81" fmla="*/ 20584 h 844"/>
                <a:gd name="T82" fmla="*/ 33775 w 431"/>
                <a:gd name="T83" fmla="*/ 15644 h 844"/>
                <a:gd name="T84" fmla="*/ 31997 w 431"/>
                <a:gd name="T85" fmla="*/ 13586 h 844"/>
                <a:gd name="T86" fmla="*/ 28442 w 431"/>
                <a:gd name="T87" fmla="*/ 11115 h 844"/>
                <a:gd name="T88" fmla="*/ 25775 w 431"/>
                <a:gd name="T89" fmla="*/ 12762 h 844"/>
                <a:gd name="T90" fmla="*/ 22665 w 431"/>
                <a:gd name="T91" fmla="*/ 12762 h 844"/>
                <a:gd name="T92" fmla="*/ 19554 w 431"/>
                <a:gd name="T93" fmla="*/ 12351 h 844"/>
                <a:gd name="T94" fmla="*/ 16443 w 431"/>
                <a:gd name="T95" fmla="*/ 14821 h 844"/>
                <a:gd name="T96" fmla="*/ 16887 w 431"/>
                <a:gd name="T97" fmla="*/ 10292 h 844"/>
                <a:gd name="T98" fmla="*/ 16887 w 431"/>
                <a:gd name="T99" fmla="*/ 6587 h 844"/>
                <a:gd name="T100" fmla="*/ 14665 w 431"/>
                <a:gd name="T101" fmla="*/ 4940 h 844"/>
                <a:gd name="T102" fmla="*/ 13332 w 431"/>
                <a:gd name="T103" fmla="*/ 1235 h 844"/>
                <a:gd name="T104" fmla="*/ 12443 w 431"/>
                <a:gd name="T105" fmla="*/ 0 h 84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31"/>
                <a:gd name="T160" fmla="*/ 0 h 844"/>
                <a:gd name="T161" fmla="*/ 431 w 431"/>
                <a:gd name="T162" fmla="*/ 844 h 84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31" h="844">
                  <a:moveTo>
                    <a:pt x="144" y="0"/>
                  </a:moveTo>
                  <a:lnTo>
                    <a:pt x="138" y="3"/>
                  </a:lnTo>
                  <a:lnTo>
                    <a:pt x="131" y="11"/>
                  </a:lnTo>
                  <a:lnTo>
                    <a:pt x="125" y="24"/>
                  </a:lnTo>
                  <a:lnTo>
                    <a:pt x="112" y="27"/>
                  </a:lnTo>
                  <a:lnTo>
                    <a:pt x="103" y="32"/>
                  </a:lnTo>
                  <a:lnTo>
                    <a:pt x="88" y="43"/>
                  </a:lnTo>
                  <a:lnTo>
                    <a:pt x="77" y="49"/>
                  </a:lnTo>
                  <a:lnTo>
                    <a:pt x="66" y="60"/>
                  </a:lnTo>
                  <a:lnTo>
                    <a:pt x="55" y="64"/>
                  </a:lnTo>
                  <a:lnTo>
                    <a:pt x="37" y="65"/>
                  </a:lnTo>
                  <a:lnTo>
                    <a:pt x="23" y="67"/>
                  </a:lnTo>
                  <a:lnTo>
                    <a:pt x="9" y="106"/>
                  </a:lnTo>
                  <a:lnTo>
                    <a:pt x="7" y="118"/>
                  </a:lnTo>
                  <a:lnTo>
                    <a:pt x="9" y="128"/>
                  </a:lnTo>
                  <a:lnTo>
                    <a:pt x="0" y="135"/>
                  </a:lnTo>
                  <a:lnTo>
                    <a:pt x="1" y="142"/>
                  </a:lnTo>
                  <a:lnTo>
                    <a:pt x="7" y="159"/>
                  </a:lnTo>
                  <a:lnTo>
                    <a:pt x="17" y="182"/>
                  </a:lnTo>
                  <a:lnTo>
                    <a:pt x="40" y="199"/>
                  </a:lnTo>
                  <a:lnTo>
                    <a:pt x="48" y="209"/>
                  </a:lnTo>
                  <a:lnTo>
                    <a:pt x="50" y="225"/>
                  </a:lnTo>
                  <a:lnTo>
                    <a:pt x="49" y="240"/>
                  </a:lnTo>
                  <a:lnTo>
                    <a:pt x="52" y="252"/>
                  </a:lnTo>
                  <a:lnTo>
                    <a:pt x="61" y="253"/>
                  </a:lnTo>
                  <a:lnTo>
                    <a:pt x="65" y="263"/>
                  </a:lnTo>
                  <a:lnTo>
                    <a:pt x="59" y="269"/>
                  </a:lnTo>
                  <a:lnTo>
                    <a:pt x="53" y="283"/>
                  </a:lnTo>
                  <a:lnTo>
                    <a:pt x="50" y="291"/>
                  </a:lnTo>
                  <a:lnTo>
                    <a:pt x="50" y="304"/>
                  </a:lnTo>
                  <a:lnTo>
                    <a:pt x="47" y="307"/>
                  </a:lnTo>
                  <a:lnTo>
                    <a:pt x="38" y="315"/>
                  </a:lnTo>
                  <a:lnTo>
                    <a:pt x="34" y="323"/>
                  </a:lnTo>
                  <a:lnTo>
                    <a:pt x="33" y="337"/>
                  </a:lnTo>
                  <a:lnTo>
                    <a:pt x="39" y="354"/>
                  </a:lnTo>
                  <a:lnTo>
                    <a:pt x="58" y="366"/>
                  </a:lnTo>
                  <a:lnTo>
                    <a:pt x="76" y="386"/>
                  </a:lnTo>
                  <a:lnTo>
                    <a:pt x="79" y="392"/>
                  </a:lnTo>
                  <a:lnTo>
                    <a:pt x="81" y="401"/>
                  </a:lnTo>
                  <a:lnTo>
                    <a:pt x="82" y="434"/>
                  </a:lnTo>
                  <a:lnTo>
                    <a:pt x="88" y="452"/>
                  </a:lnTo>
                  <a:lnTo>
                    <a:pt x="91" y="454"/>
                  </a:lnTo>
                  <a:lnTo>
                    <a:pt x="96" y="469"/>
                  </a:lnTo>
                  <a:lnTo>
                    <a:pt x="111" y="503"/>
                  </a:lnTo>
                  <a:lnTo>
                    <a:pt x="109" y="510"/>
                  </a:lnTo>
                  <a:lnTo>
                    <a:pt x="91" y="540"/>
                  </a:lnTo>
                  <a:lnTo>
                    <a:pt x="80" y="547"/>
                  </a:lnTo>
                  <a:lnTo>
                    <a:pt x="72" y="559"/>
                  </a:lnTo>
                  <a:lnTo>
                    <a:pt x="70" y="574"/>
                  </a:lnTo>
                  <a:lnTo>
                    <a:pt x="65" y="586"/>
                  </a:lnTo>
                  <a:lnTo>
                    <a:pt x="60" y="594"/>
                  </a:lnTo>
                  <a:lnTo>
                    <a:pt x="59" y="597"/>
                  </a:lnTo>
                  <a:lnTo>
                    <a:pt x="54" y="610"/>
                  </a:lnTo>
                  <a:lnTo>
                    <a:pt x="53" y="618"/>
                  </a:lnTo>
                  <a:lnTo>
                    <a:pt x="39" y="664"/>
                  </a:lnTo>
                  <a:lnTo>
                    <a:pt x="37" y="681"/>
                  </a:lnTo>
                  <a:lnTo>
                    <a:pt x="37" y="696"/>
                  </a:lnTo>
                  <a:lnTo>
                    <a:pt x="40" y="705"/>
                  </a:lnTo>
                  <a:lnTo>
                    <a:pt x="60" y="703"/>
                  </a:lnTo>
                  <a:lnTo>
                    <a:pt x="80" y="725"/>
                  </a:lnTo>
                  <a:lnTo>
                    <a:pt x="86" y="729"/>
                  </a:lnTo>
                  <a:lnTo>
                    <a:pt x="101" y="750"/>
                  </a:lnTo>
                  <a:lnTo>
                    <a:pt x="112" y="759"/>
                  </a:lnTo>
                  <a:lnTo>
                    <a:pt x="118" y="774"/>
                  </a:lnTo>
                  <a:lnTo>
                    <a:pt x="145" y="804"/>
                  </a:lnTo>
                  <a:lnTo>
                    <a:pt x="140" y="788"/>
                  </a:lnTo>
                  <a:lnTo>
                    <a:pt x="152" y="788"/>
                  </a:lnTo>
                  <a:lnTo>
                    <a:pt x="160" y="797"/>
                  </a:lnTo>
                  <a:lnTo>
                    <a:pt x="177" y="800"/>
                  </a:lnTo>
                  <a:lnTo>
                    <a:pt x="187" y="802"/>
                  </a:lnTo>
                  <a:lnTo>
                    <a:pt x="197" y="817"/>
                  </a:lnTo>
                  <a:lnTo>
                    <a:pt x="194" y="833"/>
                  </a:lnTo>
                  <a:lnTo>
                    <a:pt x="198" y="844"/>
                  </a:lnTo>
                  <a:lnTo>
                    <a:pt x="221" y="829"/>
                  </a:lnTo>
                  <a:lnTo>
                    <a:pt x="232" y="831"/>
                  </a:lnTo>
                  <a:lnTo>
                    <a:pt x="243" y="829"/>
                  </a:lnTo>
                  <a:lnTo>
                    <a:pt x="251" y="817"/>
                  </a:lnTo>
                  <a:lnTo>
                    <a:pt x="242" y="804"/>
                  </a:lnTo>
                  <a:lnTo>
                    <a:pt x="230" y="790"/>
                  </a:lnTo>
                  <a:lnTo>
                    <a:pt x="215" y="778"/>
                  </a:lnTo>
                  <a:lnTo>
                    <a:pt x="181" y="773"/>
                  </a:lnTo>
                  <a:lnTo>
                    <a:pt x="168" y="758"/>
                  </a:lnTo>
                  <a:lnTo>
                    <a:pt x="162" y="754"/>
                  </a:lnTo>
                  <a:lnTo>
                    <a:pt x="157" y="745"/>
                  </a:lnTo>
                  <a:lnTo>
                    <a:pt x="151" y="709"/>
                  </a:lnTo>
                  <a:lnTo>
                    <a:pt x="145" y="699"/>
                  </a:lnTo>
                  <a:lnTo>
                    <a:pt x="136" y="691"/>
                  </a:lnTo>
                  <a:lnTo>
                    <a:pt x="131" y="676"/>
                  </a:lnTo>
                  <a:lnTo>
                    <a:pt x="129" y="660"/>
                  </a:lnTo>
                  <a:lnTo>
                    <a:pt x="124" y="649"/>
                  </a:lnTo>
                  <a:lnTo>
                    <a:pt x="114" y="646"/>
                  </a:lnTo>
                  <a:lnTo>
                    <a:pt x="102" y="651"/>
                  </a:lnTo>
                  <a:lnTo>
                    <a:pt x="92" y="649"/>
                  </a:lnTo>
                  <a:lnTo>
                    <a:pt x="88" y="640"/>
                  </a:lnTo>
                  <a:lnTo>
                    <a:pt x="86" y="623"/>
                  </a:lnTo>
                  <a:lnTo>
                    <a:pt x="85" y="607"/>
                  </a:lnTo>
                  <a:lnTo>
                    <a:pt x="85" y="592"/>
                  </a:lnTo>
                  <a:lnTo>
                    <a:pt x="86" y="586"/>
                  </a:lnTo>
                  <a:lnTo>
                    <a:pt x="92" y="578"/>
                  </a:lnTo>
                  <a:lnTo>
                    <a:pt x="93" y="568"/>
                  </a:lnTo>
                  <a:lnTo>
                    <a:pt x="98" y="563"/>
                  </a:lnTo>
                  <a:lnTo>
                    <a:pt x="103" y="553"/>
                  </a:lnTo>
                  <a:lnTo>
                    <a:pt x="103" y="542"/>
                  </a:lnTo>
                  <a:lnTo>
                    <a:pt x="112" y="515"/>
                  </a:lnTo>
                  <a:lnTo>
                    <a:pt x="119" y="501"/>
                  </a:lnTo>
                  <a:lnTo>
                    <a:pt x="126" y="487"/>
                  </a:lnTo>
                  <a:lnTo>
                    <a:pt x="128" y="471"/>
                  </a:lnTo>
                  <a:lnTo>
                    <a:pt x="133" y="439"/>
                  </a:lnTo>
                  <a:lnTo>
                    <a:pt x="129" y="415"/>
                  </a:lnTo>
                  <a:lnTo>
                    <a:pt x="142" y="411"/>
                  </a:lnTo>
                  <a:lnTo>
                    <a:pt x="157" y="409"/>
                  </a:lnTo>
                  <a:lnTo>
                    <a:pt x="161" y="409"/>
                  </a:lnTo>
                  <a:lnTo>
                    <a:pt x="168" y="411"/>
                  </a:lnTo>
                  <a:lnTo>
                    <a:pt x="179" y="414"/>
                  </a:lnTo>
                  <a:lnTo>
                    <a:pt x="182" y="419"/>
                  </a:lnTo>
                  <a:lnTo>
                    <a:pt x="179" y="455"/>
                  </a:lnTo>
                  <a:lnTo>
                    <a:pt x="183" y="462"/>
                  </a:lnTo>
                  <a:lnTo>
                    <a:pt x="187" y="462"/>
                  </a:lnTo>
                  <a:lnTo>
                    <a:pt x="184" y="458"/>
                  </a:lnTo>
                  <a:lnTo>
                    <a:pt x="189" y="458"/>
                  </a:lnTo>
                  <a:lnTo>
                    <a:pt x="212" y="460"/>
                  </a:lnTo>
                  <a:lnTo>
                    <a:pt x="222" y="458"/>
                  </a:lnTo>
                  <a:lnTo>
                    <a:pt x="233" y="461"/>
                  </a:lnTo>
                  <a:lnTo>
                    <a:pt x="251" y="476"/>
                  </a:lnTo>
                  <a:lnTo>
                    <a:pt x="257" y="484"/>
                  </a:lnTo>
                  <a:lnTo>
                    <a:pt x="264" y="488"/>
                  </a:lnTo>
                  <a:lnTo>
                    <a:pt x="270" y="492"/>
                  </a:lnTo>
                  <a:lnTo>
                    <a:pt x="271" y="489"/>
                  </a:lnTo>
                  <a:lnTo>
                    <a:pt x="276" y="493"/>
                  </a:lnTo>
                  <a:lnTo>
                    <a:pt x="285" y="511"/>
                  </a:lnTo>
                  <a:lnTo>
                    <a:pt x="291" y="516"/>
                  </a:lnTo>
                  <a:lnTo>
                    <a:pt x="292" y="510"/>
                  </a:lnTo>
                  <a:lnTo>
                    <a:pt x="292" y="501"/>
                  </a:lnTo>
                  <a:lnTo>
                    <a:pt x="286" y="487"/>
                  </a:lnTo>
                  <a:lnTo>
                    <a:pt x="280" y="473"/>
                  </a:lnTo>
                  <a:lnTo>
                    <a:pt x="265" y="462"/>
                  </a:lnTo>
                  <a:lnTo>
                    <a:pt x="258" y="440"/>
                  </a:lnTo>
                  <a:lnTo>
                    <a:pt x="255" y="429"/>
                  </a:lnTo>
                  <a:lnTo>
                    <a:pt x="258" y="411"/>
                  </a:lnTo>
                  <a:lnTo>
                    <a:pt x="265" y="407"/>
                  </a:lnTo>
                  <a:lnTo>
                    <a:pt x="270" y="396"/>
                  </a:lnTo>
                  <a:lnTo>
                    <a:pt x="278" y="392"/>
                  </a:lnTo>
                  <a:lnTo>
                    <a:pt x="292" y="372"/>
                  </a:lnTo>
                  <a:lnTo>
                    <a:pt x="298" y="366"/>
                  </a:lnTo>
                  <a:lnTo>
                    <a:pt x="307" y="363"/>
                  </a:lnTo>
                  <a:lnTo>
                    <a:pt x="334" y="365"/>
                  </a:lnTo>
                  <a:lnTo>
                    <a:pt x="350" y="368"/>
                  </a:lnTo>
                  <a:lnTo>
                    <a:pt x="368" y="365"/>
                  </a:lnTo>
                  <a:lnTo>
                    <a:pt x="396" y="364"/>
                  </a:lnTo>
                  <a:lnTo>
                    <a:pt x="405" y="374"/>
                  </a:lnTo>
                  <a:lnTo>
                    <a:pt x="416" y="369"/>
                  </a:lnTo>
                  <a:lnTo>
                    <a:pt x="416" y="365"/>
                  </a:lnTo>
                  <a:lnTo>
                    <a:pt x="420" y="365"/>
                  </a:lnTo>
                  <a:lnTo>
                    <a:pt x="427" y="354"/>
                  </a:lnTo>
                  <a:lnTo>
                    <a:pt x="427" y="312"/>
                  </a:lnTo>
                  <a:lnTo>
                    <a:pt x="431" y="302"/>
                  </a:lnTo>
                  <a:lnTo>
                    <a:pt x="430" y="293"/>
                  </a:lnTo>
                  <a:lnTo>
                    <a:pt x="429" y="286"/>
                  </a:lnTo>
                  <a:lnTo>
                    <a:pt x="424" y="280"/>
                  </a:lnTo>
                  <a:lnTo>
                    <a:pt x="416" y="275"/>
                  </a:lnTo>
                  <a:lnTo>
                    <a:pt x="414" y="268"/>
                  </a:lnTo>
                  <a:lnTo>
                    <a:pt x="404" y="267"/>
                  </a:lnTo>
                  <a:lnTo>
                    <a:pt x="397" y="262"/>
                  </a:lnTo>
                  <a:lnTo>
                    <a:pt x="389" y="252"/>
                  </a:lnTo>
                  <a:lnTo>
                    <a:pt x="386" y="241"/>
                  </a:lnTo>
                  <a:lnTo>
                    <a:pt x="387" y="216"/>
                  </a:lnTo>
                  <a:lnTo>
                    <a:pt x="386" y="203"/>
                  </a:lnTo>
                  <a:lnTo>
                    <a:pt x="382" y="191"/>
                  </a:lnTo>
                  <a:lnTo>
                    <a:pt x="377" y="181"/>
                  </a:lnTo>
                  <a:lnTo>
                    <a:pt x="370" y="176"/>
                  </a:lnTo>
                  <a:lnTo>
                    <a:pt x="368" y="169"/>
                  </a:lnTo>
                  <a:lnTo>
                    <a:pt x="360" y="165"/>
                  </a:lnTo>
                  <a:lnTo>
                    <a:pt x="353" y="158"/>
                  </a:lnTo>
                  <a:lnTo>
                    <a:pt x="348" y="150"/>
                  </a:lnTo>
                  <a:lnTo>
                    <a:pt x="335" y="135"/>
                  </a:lnTo>
                  <a:lnTo>
                    <a:pt x="323" y="134"/>
                  </a:lnTo>
                  <a:lnTo>
                    <a:pt x="312" y="135"/>
                  </a:lnTo>
                  <a:lnTo>
                    <a:pt x="301" y="138"/>
                  </a:lnTo>
                  <a:lnTo>
                    <a:pt x="297" y="149"/>
                  </a:lnTo>
                  <a:lnTo>
                    <a:pt x="292" y="153"/>
                  </a:lnTo>
                  <a:lnTo>
                    <a:pt x="285" y="156"/>
                  </a:lnTo>
                  <a:lnTo>
                    <a:pt x="273" y="162"/>
                  </a:lnTo>
                  <a:lnTo>
                    <a:pt x="264" y="162"/>
                  </a:lnTo>
                  <a:lnTo>
                    <a:pt x="255" y="156"/>
                  </a:lnTo>
                  <a:lnTo>
                    <a:pt x="249" y="146"/>
                  </a:lnTo>
                  <a:lnTo>
                    <a:pt x="242" y="144"/>
                  </a:lnTo>
                  <a:lnTo>
                    <a:pt x="233" y="146"/>
                  </a:lnTo>
                  <a:lnTo>
                    <a:pt x="220" y="151"/>
                  </a:lnTo>
                  <a:lnTo>
                    <a:pt x="208" y="164"/>
                  </a:lnTo>
                  <a:lnTo>
                    <a:pt x="195" y="169"/>
                  </a:lnTo>
                  <a:lnTo>
                    <a:pt x="188" y="178"/>
                  </a:lnTo>
                  <a:lnTo>
                    <a:pt x="183" y="182"/>
                  </a:lnTo>
                  <a:lnTo>
                    <a:pt x="184" y="177"/>
                  </a:lnTo>
                  <a:lnTo>
                    <a:pt x="181" y="164"/>
                  </a:lnTo>
                  <a:lnTo>
                    <a:pt x="185" y="150"/>
                  </a:lnTo>
                  <a:lnTo>
                    <a:pt x="188" y="126"/>
                  </a:lnTo>
                  <a:lnTo>
                    <a:pt x="193" y="115"/>
                  </a:lnTo>
                  <a:lnTo>
                    <a:pt x="193" y="106"/>
                  </a:lnTo>
                  <a:lnTo>
                    <a:pt x="194" y="97"/>
                  </a:lnTo>
                  <a:lnTo>
                    <a:pt x="190" y="81"/>
                  </a:lnTo>
                  <a:lnTo>
                    <a:pt x="194" y="64"/>
                  </a:lnTo>
                  <a:lnTo>
                    <a:pt x="190" y="60"/>
                  </a:lnTo>
                  <a:lnTo>
                    <a:pt x="169" y="60"/>
                  </a:lnTo>
                  <a:lnTo>
                    <a:pt x="163" y="59"/>
                  </a:lnTo>
                  <a:lnTo>
                    <a:pt x="161" y="58"/>
                  </a:lnTo>
                  <a:lnTo>
                    <a:pt x="161" y="40"/>
                  </a:lnTo>
                  <a:lnTo>
                    <a:pt x="158" y="25"/>
                  </a:lnTo>
                  <a:lnTo>
                    <a:pt x="152" y="16"/>
                  </a:lnTo>
                  <a:lnTo>
                    <a:pt x="149" y="11"/>
                  </a:lnTo>
                  <a:lnTo>
                    <a:pt x="142" y="14"/>
                  </a:lnTo>
                  <a:lnTo>
                    <a:pt x="140" y="8"/>
                  </a:lnTo>
                  <a:lnTo>
                    <a:pt x="141" y="0"/>
                  </a:lnTo>
                  <a:lnTo>
                    <a:pt x="144" y="0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4" name="Freeform 143">
              <a:extLst>
                <a:ext uri="{FF2B5EF4-FFF2-40B4-BE49-F238E27FC236}">
                  <a16:creationId xmlns:a16="http://schemas.microsoft.com/office/drawing/2014/main" id="{1075BDEB-9481-6753-3A4C-4435AF234FB9}"/>
                </a:ext>
              </a:extLst>
            </p:cNvPr>
            <p:cNvSpPr>
              <a:spLocks/>
            </p:cNvSpPr>
            <p:nvPr/>
          </p:nvSpPr>
          <p:spPr bwMode="gray">
            <a:xfrm>
              <a:off x="6140997" y="2461056"/>
              <a:ext cx="170775" cy="369636"/>
            </a:xfrm>
            <a:custGeom>
              <a:avLst/>
              <a:gdLst>
                <a:gd name="T0" fmla="*/ 11045 w 489"/>
                <a:gd name="T1" fmla="*/ 53867 h 1050"/>
                <a:gd name="T2" fmla="*/ 10161 w 489"/>
                <a:gd name="T3" fmla="*/ 48521 h 1050"/>
                <a:gd name="T4" fmla="*/ 7952 w 489"/>
                <a:gd name="T5" fmla="*/ 46054 h 1050"/>
                <a:gd name="T6" fmla="*/ 7510 w 489"/>
                <a:gd name="T7" fmla="*/ 43998 h 1050"/>
                <a:gd name="T8" fmla="*/ 6627 w 489"/>
                <a:gd name="T9" fmla="*/ 41942 h 1050"/>
                <a:gd name="T10" fmla="*/ 1767 w 489"/>
                <a:gd name="T11" fmla="*/ 38653 h 1050"/>
                <a:gd name="T12" fmla="*/ 0 w 489"/>
                <a:gd name="T13" fmla="*/ 36597 h 1050"/>
                <a:gd name="T14" fmla="*/ 1767 w 489"/>
                <a:gd name="T15" fmla="*/ 34129 h 1050"/>
                <a:gd name="T16" fmla="*/ 2209 w 489"/>
                <a:gd name="T17" fmla="*/ 30840 h 1050"/>
                <a:gd name="T18" fmla="*/ 3976 w 489"/>
                <a:gd name="T19" fmla="*/ 30017 h 1050"/>
                <a:gd name="T20" fmla="*/ 3534 w 489"/>
                <a:gd name="T21" fmla="*/ 26728 h 1050"/>
                <a:gd name="T22" fmla="*/ 5302 w 489"/>
                <a:gd name="T23" fmla="*/ 22616 h 1050"/>
                <a:gd name="T24" fmla="*/ 8836 w 489"/>
                <a:gd name="T25" fmla="*/ 22205 h 1050"/>
                <a:gd name="T26" fmla="*/ 11928 w 489"/>
                <a:gd name="T27" fmla="*/ 16037 h 1050"/>
                <a:gd name="T28" fmla="*/ 14137 w 489"/>
                <a:gd name="T29" fmla="*/ 12747 h 1050"/>
                <a:gd name="T30" fmla="*/ 16788 w 489"/>
                <a:gd name="T31" fmla="*/ 7402 h 1050"/>
                <a:gd name="T32" fmla="*/ 21206 w 489"/>
                <a:gd name="T33" fmla="*/ 5346 h 1050"/>
                <a:gd name="T34" fmla="*/ 22973 w 489"/>
                <a:gd name="T35" fmla="*/ 2878 h 1050"/>
                <a:gd name="T36" fmla="*/ 25624 w 489"/>
                <a:gd name="T37" fmla="*/ 411 h 1050"/>
                <a:gd name="T38" fmla="*/ 28275 w 489"/>
                <a:gd name="T39" fmla="*/ 1645 h 1050"/>
                <a:gd name="T40" fmla="*/ 30926 w 489"/>
                <a:gd name="T41" fmla="*/ 6579 h 1050"/>
                <a:gd name="T42" fmla="*/ 30042 w 489"/>
                <a:gd name="T43" fmla="*/ 13570 h 1050"/>
                <a:gd name="T44" fmla="*/ 27391 w 489"/>
                <a:gd name="T45" fmla="*/ 16448 h 1050"/>
                <a:gd name="T46" fmla="*/ 26508 w 489"/>
                <a:gd name="T47" fmla="*/ 20971 h 1050"/>
                <a:gd name="T48" fmla="*/ 28275 w 489"/>
                <a:gd name="T49" fmla="*/ 21382 h 1050"/>
                <a:gd name="T50" fmla="*/ 32251 w 489"/>
                <a:gd name="T51" fmla="*/ 23027 h 1050"/>
                <a:gd name="T52" fmla="*/ 34460 w 489"/>
                <a:gd name="T53" fmla="*/ 28373 h 1050"/>
                <a:gd name="T54" fmla="*/ 37111 w 489"/>
                <a:gd name="T55" fmla="*/ 31662 h 1050"/>
                <a:gd name="T56" fmla="*/ 42854 w 489"/>
                <a:gd name="T57" fmla="*/ 32073 h 1050"/>
                <a:gd name="T58" fmla="*/ 39761 w 489"/>
                <a:gd name="T59" fmla="*/ 34952 h 1050"/>
                <a:gd name="T60" fmla="*/ 38878 w 489"/>
                <a:gd name="T61" fmla="*/ 36597 h 1050"/>
                <a:gd name="T62" fmla="*/ 37552 w 489"/>
                <a:gd name="T63" fmla="*/ 38241 h 1050"/>
                <a:gd name="T64" fmla="*/ 33576 w 489"/>
                <a:gd name="T65" fmla="*/ 40709 h 1050"/>
                <a:gd name="T66" fmla="*/ 29158 w 489"/>
                <a:gd name="T67" fmla="*/ 42765 h 1050"/>
                <a:gd name="T68" fmla="*/ 26508 w 489"/>
                <a:gd name="T69" fmla="*/ 47699 h 1050"/>
                <a:gd name="T70" fmla="*/ 27391 w 489"/>
                <a:gd name="T71" fmla="*/ 52222 h 1050"/>
                <a:gd name="T72" fmla="*/ 30042 w 489"/>
                <a:gd name="T73" fmla="*/ 57157 h 1050"/>
                <a:gd name="T74" fmla="*/ 30926 w 489"/>
                <a:gd name="T75" fmla="*/ 59213 h 1050"/>
                <a:gd name="T76" fmla="*/ 30042 w 489"/>
                <a:gd name="T77" fmla="*/ 62502 h 1050"/>
                <a:gd name="T78" fmla="*/ 29158 w 489"/>
                <a:gd name="T79" fmla="*/ 66203 h 1050"/>
                <a:gd name="T80" fmla="*/ 33135 w 489"/>
                <a:gd name="T81" fmla="*/ 70315 h 1050"/>
                <a:gd name="T82" fmla="*/ 34460 w 489"/>
                <a:gd name="T83" fmla="*/ 75660 h 1050"/>
                <a:gd name="T84" fmla="*/ 32693 w 489"/>
                <a:gd name="T85" fmla="*/ 82240 h 1050"/>
                <a:gd name="T86" fmla="*/ 30926 w 489"/>
                <a:gd name="T87" fmla="*/ 85940 h 1050"/>
                <a:gd name="T88" fmla="*/ 30484 w 489"/>
                <a:gd name="T89" fmla="*/ 83473 h 1050"/>
                <a:gd name="T90" fmla="*/ 30926 w 489"/>
                <a:gd name="T91" fmla="*/ 78950 h 1050"/>
                <a:gd name="T92" fmla="*/ 30926 w 489"/>
                <a:gd name="T93" fmla="*/ 76894 h 1050"/>
                <a:gd name="T94" fmla="*/ 29158 w 489"/>
                <a:gd name="T95" fmla="*/ 69904 h 1050"/>
                <a:gd name="T96" fmla="*/ 27833 w 489"/>
                <a:gd name="T97" fmla="*/ 67436 h 1050"/>
                <a:gd name="T98" fmla="*/ 26066 w 489"/>
                <a:gd name="T99" fmla="*/ 59213 h 1050"/>
                <a:gd name="T100" fmla="*/ 24299 w 489"/>
                <a:gd name="T101" fmla="*/ 56745 h 1050"/>
                <a:gd name="T102" fmla="*/ 22090 w 489"/>
                <a:gd name="T103" fmla="*/ 53867 h 1050"/>
                <a:gd name="T104" fmla="*/ 19881 w 489"/>
                <a:gd name="T105" fmla="*/ 57157 h 1050"/>
                <a:gd name="T106" fmla="*/ 15905 w 489"/>
                <a:gd name="T107" fmla="*/ 59624 h 1050"/>
                <a:gd name="T108" fmla="*/ 13696 w 489"/>
                <a:gd name="T109" fmla="*/ 60035 h 1050"/>
                <a:gd name="T110" fmla="*/ 10603 w 489"/>
                <a:gd name="T111" fmla="*/ 59624 h 1050"/>
                <a:gd name="T112" fmla="*/ 9719 w 489"/>
                <a:gd name="T113" fmla="*/ 57979 h 105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489"/>
                <a:gd name="T172" fmla="*/ 0 h 1050"/>
                <a:gd name="T173" fmla="*/ 489 w 489"/>
                <a:gd name="T174" fmla="*/ 1050 h 105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489" h="1050">
                  <a:moveTo>
                    <a:pt x="112" y="704"/>
                  </a:moveTo>
                  <a:lnTo>
                    <a:pt x="117" y="690"/>
                  </a:lnTo>
                  <a:lnTo>
                    <a:pt x="119" y="673"/>
                  </a:lnTo>
                  <a:lnTo>
                    <a:pt x="125" y="657"/>
                  </a:lnTo>
                  <a:lnTo>
                    <a:pt x="125" y="638"/>
                  </a:lnTo>
                  <a:lnTo>
                    <a:pt x="121" y="607"/>
                  </a:lnTo>
                  <a:lnTo>
                    <a:pt x="117" y="599"/>
                  </a:lnTo>
                  <a:lnTo>
                    <a:pt x="116" y="592"/>
                  </a:lnTo>
                  <a:lnTo>
                    <a:pt x="109" y="580"/>
                  </a:lnTo>
                  <a:lnTo>
                    <a:pt x="95" y="556"/>
                  </a:lnTo>
                  <a:lnTo>
                    <a:pt x="92" y="545"/>
                  </a:lnTo>
                  <a:lnTo>
                    <a:pt x="89" y="559"/>
                  </a:lnTo>
                  <a:lnTo>
                    <a:pt x="78" y="553"/>
                  </a:lnTo>
                  <a:lnTo>
                    <a:pt x="71" y="539"/>
                  </a:lnTo>
                  <a:lnTo>
                    <a:pt x="74" y="531"/>
                  </a:lnTo>
                  <a:lnTo>
                    <a:pt x="85" y="536"/>
                  </a:lnTo>
                  <a:lnTo>
                    <a:pt x="84" y="531"/>
                  </a:lnTo>
                  <a:lnTo>
                    <a:pt x="76" y="525"/>
                  </a:lnTo>
                  <a:lnTo>
                    <a:pt x="79" y="518"/>
                  </a:lnTo>
                  <a:lnTo>
                    <a:pt x="78" y="512"/>
                  </a:lnTo>
                  <a:lnTo>
                    <a:pt x="38" y="493"/>
                  </a:lnTo>
                  <a:lnTo>
                    <a:pt x="37" y="482"/>
                  </a:lnTo>
                  <a:lnTo>
                    <a:pt x="28" y="479"/>
                  </a:lnTo>
                  <a:lnTo>
                    <a:pt x="22" y="470"/>
                  </a:lnTo>
                  <a:lnTo>
                    <a:pt x="21" y="474"/>
                  </a:lnTo>
                  <a:lnTo>
                    <a:pt x="14" y="468"/>
                  </a:lnTo>
                  <a:lnTo>
                    <a:pt x="10" y="458"/>
                  </a:lnTo>
                  <a:lnTo>
                    <a:pt x="0" y="443"/>
                  </a:lnTo>
                  <a:lnTo>
                    <a:pt x="1" y="425"/>
                  </a:lnTo>
                  <a:lnTo>
                    <a:pt x="3" y="418"/>
                  </a:lnTo>
                  <a:lnTo>
                    <a:pt x="7" y="413"/>
                  </a:lnTo>
                  <a:lnTo>
                    <a:pt x="19" y="416"/>
                  </a:lnTo>
                  <a:lnTo>
                    <a:pt x="17" y="387"/>
                  </a:lnTo>
                  <a:lnTo>
                    <a:pt x="19" y="384"/>
                  </a:lnTo>
                  <a:lnTo>
                    <a:pt x="22" y="381"/>
                  </a:lnTo>
                  <a:lnTo>
                    <a:pt x="27" y="376"/>
                  </a:lnTo>
                  <a:lnTo>
                    <a:pt x="36" y="378"/>
                  </a:lnTo>
                  <a:lnTo>
                    <a:pt x="41" y="377"/>
                  </a:lnTo>
                  <a:lnTo>
                    <a:pt x="46" y="371"/>
                  </a:lnTo>
                  <a:lnTo>
                    <a:pt x="47" y="365"/>
                  </a:lnTo>
                  <a:lnTo>
                    <a:pt x="44" y="365"/>
                  </a:lnTo>
                  <a:lnTo>
                    <a:pt x="41" y="355"/>
                  </a:lnTo>
                  <a:lnTo>
                    <a:pt x="41" y="339"/>
                  </a:lnTo>
                  <a:lnTo>
                    <a:pt x="42" y="326"/>
                  </a:lnTo>
                  <a:lnTo>
                    <a:pt x="53" y="327"/>
                  </a:lnTo>
                  <a:lnTo>
                    <a:pt x="57" y="322"/>
                  </a:lnTo>
                  <a:lnTo>
                    <a:pt x="60" y="302"/>
                  </a:lnTo>
                  <a:lnTo>
                    <a:pt x="59" y="276"/>
                  </a:lnTo>
                  <a:lnTo>
                    <a:pt x="66" y="269"/>
                  </a:lnTo>
                  <a:lnTo>
                    <a:pt x="80" y="265"/>
                  </a:lnTo>
                  <a:lnTo>
                    <a:pt x="93" y="268"/>
                  </a:lnTo>
                  <a:lnTo>
                    <a:pt x="101" y="268"/>
                  </a:lnTo>
                  <a:lnTo>
                    <a:pt x="106" y="263"/>
                  </a:lnTo>
                  <a:lnTo>
                    <a:pt x="112" y="243"/>
                  </a:lnTo>
                  <a:lnTo>
                    <a:pt x="130" y="208"/>
                  </a:lnTo>
                  <a:lnTo>
                    <a:pt x="134" y="197"/>
                  </a:lnTo>
                  <a:lnTo>
                    <a:pt x="132" y="187"/>
                  </a:lnTo>
                  <a:lnTo>
                    <a:pt x="138" y="178"/>
                  </a:lnTo>
                  <a:lnTo>
                    <a:pt x="154" y="167"/>
                  </a:lnTo>
                  <a:lnTo>
                    <a:pt x="160" y="155"/>
                  </a:lnTo>
                  <a:lnTo>
                    <a:pt x="159" y="127"/>
                  </a:lnTo>
                  <a:lnTo>
                    <a:pt x="166" y="111"/>
                  </a:lnTo>
                  <a:lnTo>
                    <a:pt x="179" y="100"/>
                  </a:lnTo>
                  <a:lnTo>
                    <a:pt x="194" y="92"/>
                  </a:lnTo>
                  <a:lnTo>
                    <a:pt x="204" y="84"/>
                  </a:lnTo>
                  <a:lnTo>
                    <a:pt x="211" y="70"/>
                  </a:lnTo>
                  <a:lnTo>
                    <a:pt x="231" y="66"/>
                  </a:lnTo>
                  <a:lnTo>
                    <a:pt x="242" y="63"/>
                  </a:lnTo>
                  <a:lnTo>
                    <a:pt x="258" y="68"/>
                  </a:lnTo>
                  <a:lnTo>
                    <a:pt x="263" y="63"/>
                  </a:lnTo>
                  <a:lnTo>
                    <a:pt x="259" y="47"/>
                  </a:lnTo>
                  <a:lnTo>
                    <a:pt x="264" y="33"/>
                  </a:lnTo>
                  <a:lnTo>
                    <a:pt x="275" y="28"/>
                  </a:lnTo>
                  <a:lnTo>
                    <a:pt x="281" y="21"/>
                  </a:lnTo>
                  <a:lnTo>
                    <a:pt x="281" y="9"/>
                  </a:lnTo>
                  <a:lnTo>
                    <a:pt x="290" y="5"/>
                  </a:lnTo>
                  <a:lnTo>
                    <a:pt x="294" y="0"/>
                  </a:lnTo>
                  <a:lnTo>
                    <a:pt x="297" y="0"/>
                  </a:lnTo>
                  <a:lnTo>
                    <a:pt x="310" y="6"/>
                  </a:lnTo>
                  <a:lnTo>
                    <a:pt x="322" y="20"/>
                  </a:lnTo>
                  <a:lnTo>
                    <a:pt x="326" y="37"/>
                  </a:lnTo>
                  <a:lnTo>
                    <a:pt x="331" y="45"/>
                  </a:lnTo>
                  <a:lnTo>
                    <a:pt x="347" y="47"/>
                  </a:lnTo>
                  <a:lnTo>
                    <a:pt x="354" y="79"/>
                  </a:lnTo>
                  <a:lnTo>
                    <a:pt x="355" y="100"/>
                  </a:lnTo>
                  <a:lnTo>
                    <a:pt x="351" y="128"/>
                  </a:lnTo>
                  <a:lnTo>
                    <a:pt x="351" y="136"/>
                  </a:lnTo>
                  <a:lnTo>
                    <a:pt x="342" y="163"/>
                  </a:lnTo>
                  <a:lnTo>
                    <a:pt x="333" y="174"/>
                  </a:lnTo>
                  <a:lnTo>
                    <a:pt x="326" y="177"/>
                  </a:lnTo>
                  <a:lnTo>
                    <a:pt x="322" y="187"/>
                  </a:lnTo>
                  <a:lnTo>
                    <a:pt x="311" y="198"/>
                  </a:lnTo>
                  <a:lnTo>
                    <a:pt x="307" y="217"/>
                  </a:lnTo>
                  <a:lnTo>
                    <a:pt x="301" y="231"/>
                  </a:lnTo>
                  <a:lnTo>
                    <a:pt x="305" y="247"/>
                  </a:lnTo>
                  <a:lnTo>
                    <a:pt x="304" y="256"/>
                  </a:lnTo>
                  <a:lnTo>
                    <a:pt x="294" y="273"/>
                  </a:lnTo>
                  <a:lnTo>
                    <a:pt x="299" y="278"/>
                  </a:lnTo>
                  <a:lnTo>
                    <a:pt x="312" y="264"/>
                  </a:lnTo>
                  <a:lnTo>
                    <a:pt x="323" y="258"/>
                  </a:lnTo>
                  <a:lnTo>
                    <a:pt x="342" y="257"/>
                  </a:lnTo>
                  <a:lnTo>
                    <a:pt x="361" y="256"/>
                  </a:lnTo>
                  <a:lnTo>
                    <a:pt x="361" y="267"/>
                  </a:lnTo>
                  <a:lnTo>
                    <a:pt x="366" y="281"/>
                  </a:lnTo>
                  <a:lnTo>
                    <a:pt x="367" y="301"/>
                  </a:lnTo>
                  <a:lnTo>
                    <a:pt x="381" y="311"/>
                  </a:lnTo>
                  <a:lnTo>
                    <a:pt x="397" y="319"/>
                  </a:lnTo>
                  <a:lnTo>
                    <a:pt x="391" y="346"/>
                  </a:lnTo>
                  <a:lnTo>
                    <a:pt x="387" y="366"/>
                  </a:lnTo>
                  <a:lnTo>
                    <a:pt x="402" y="369"/>
                  </a:lnTo>
                  <a:lnTo>
                    <a:pt x="420" y="375"/>
                  </a:lnTo>
                  <a:lnTo>
                    <a:pt x="423" y="387"/>
                  </a:lnTo>
                  <a:lnTo>
                    <a:pt x="441" y="404"/>
                  </a:lnTo>
                  <a:lnTo>
                    <a:pt x="461" y="402"/>
                  </a:lnTo>
                  <a:lnTo>
                    <a:pt x="476" y="389"/>
                  </a:lnTo>
                  <a:lnTo>
                    <a:pt x="488" y="391"/>
                  </a:lnTo>
                  <a:lnTo>
                    <a:pt x="489" y="397"/>
                  </a:lnTo>
                  <a:lnTo>
                    <a:pt x="488" y="402"/>
                  </a:lnTo>
                  <a:lnTo>
                    <a:pt x="483" y="409"/>
                  </a:lnTo>
                  <a:lnTo>
                    <a:pt x="456" y="427"/>
                  </a:lnTo>
                  <a:lnTo>
                    <a:pt x="456" y="432"/>
                  </a:lnTo>
                  <a:lnTo>
                    <a:pt x="458" y="440"/>
                  </a:lnTo>
                  <a:lnTo>
                    <a:pt x="452" y="441"/>
                  </a:lnTo>
                  <a:lnTo>
                    <a:pt x="445" y="443"/>
                  </a:lnTo>
                  <a:lnTo>
                    <a:pt x="440" y="447"/>
                  </a:lnTo>
                  <a:lnTo>
                    <a:pt x="439" y="453"/>
                  </a:lnTo>
                  <a:lnTo>
                    <a:pt x="433" y="456"/>
                  </a:lnTo>
                  <a:lnTo>
                    <a:pt x="426" y="464"/>
                  </a:lnTo>
                  <a:lnTo>
                    <a:pt x="420" y="477"/>
                  </a:lnTo>
                  <a:lnTo>
                    <a:pt x="407" y="480"/>
                  </a:lnTo>
                  <a:lnTo>
                    <a:pt x="398" y="485"/>
                  </a:lnTo>
                  <a:lnTo>
                    <a:pt x="383" y="496"/>
                  </a:lnTo>
                  <a:lnTo>
                    <a:pt x="372" y="502"/>
                  </a:lnTo>
                  <a:lnTo>
                    <a:pt x="361" y="513"/>
                  </a:lnTo>
                  <a:lnTo>
                    <a:pt x="350" y="517"/>
                  </a:lnTo>
                  <a:lnTo>
                    <a:pt x="332" y="518"/>
                  </a:lnTo>
                  <a:lnTo>
                    <a:pt x="318" y="520"/>
                  </a:lnTo>
                  <a:lnTo>
                    <a:pt x="304" y="559"/>
                  </a:lnTo>
                  <a:lnTo>
                    <a:pt x="302" y="571"/>
                  </a:lnTo>
                  <a:lnTo>
                    <a:pt x="304" y="581"/>
                  </a:lnTo>
                  <a:lnTo>
                    <a:pt x="295" y="588"/>
                  </a:lnTo>
                  <a:lnTo>
                    <a:pt x="296" y="595"/>
                  </a:lnTo>
                  <a:lnTo>
                    <a:pt x="302" y="612"/>
                  </a:lnTo>
                  <a:lnTo>
                    <a:pt x="312" y="635"/>
                  </a:lnTo>
                  <a:lnTo>
                    <a:pt x="335" y="652"/>
                  </a:lnTo>
                  <a:lnTo>
                    <a:pt x="343" y="662"/>
                  </a:lnTo>
                  <a:lnTo>
                    <a:pt x="345" y="678"/>
                  </a:lnTo>
                  <a:lnTo>
                    <a:pt x="344" y="693"/>
                  </a:lnTo>
                  <a:lnTo>
                    <a:pt x="347" y="705"/>
                  </a:lnTo>
                  <a:lnTo>
                    <a:pt x="356" y="706"/>
                  </a:lnTo>
                  <a:lnTo>
                    <a:pt x="360" y="716"/>
                  </a:lnTo>
                  <a:lnTo>
                    <a:pt x="354" y="722"/>
                  </a:lnTo>
                  <a:lnTo>
                    <a:pt x="348" y="736"/>
                  </a:lnTo>
                  <a:lnTo>
                    <a:pt x="345" y="744"/>
                  </a:lnTo>
                  <a:lnTo>
                    <a:pt x="345" y="757"/>
                  </a:lnTo>
                  <a:lnTo>
                    <a:pt x="342" y="760"/>
                  </a:lnTo>
                  <a:lnTo>
                    <a:pt x="333" y="768"/>
                  </a:lnTo>
                  <a:lnTo>
                    <a:pt x="329" y="776"/>
                  </a:lnTo>
                  <a:lnTo>
                    <a:pt x="328" y="790"/>
                  </a:lnTo>
                  <a:lnTo>
                    <a:pt x="334" y="807"/>
                  </a:lnTo>
                  <a:lnTo>
                    <a:pt x="353" y="819"/>
                  </a:lnTo>
                  <a:lnTo>
                    <a:pt x="371" y="839"/>
                  </a:lnTo>
                  <a:lnTo>
                    <a:pt x="374" y="845"/>
                  </a:lnTo>
                  <a:lnTo>
                    <a:pt x="376" y="854"/>
                  </a:lnTo>
                  <a:lnTo>
                    <a:pt x="377" y="887"/>
                  </a:lnTo>
                  <a:lnTo>
                    <a:pt x="383" y="905"/>
                  </a:lnTo>
                  <a:lnTo>
                    <a:pt x="386" y="907"/>
                  </a:lnTo>
                  <a:lnTo>
                    <a:pt x="391" y="922"/>
                  </a:lnTo>
                  <a:lnTo>
                    <a:pt x="406" y="956"/>
                  </a:lnTo>
                  <a:lnTo>
                    <a:pt x="404" y="963"/>
                  </a:lnTo>
                  <a:lnTo>
                    <a:pt x="386" y="993"/>
                  </a:lnTo>
                  <a:lnTo>
                    <a:pt x="375" y="1000"/>
                  </a:lnTo>
                  <a:lnTo>
                    <a:pt x="367" y="1012"/>
                  </a:lnTo>
                  <a:lnTo>
                    <a:pt x="365" y="1027"/>
                  </a:lnTo>
                  <a:lnTo>
                    <a:pt x="360" y="1039"/>
                  </a:lnTo>
                  <a:lnTo>
                    <a:pt x="355" y="1047"/>
                  </a:lnTo>
                  <a:lnTo>
                    <a:pt x="354" y="1050"/>
                  </a:lnTo>
                  <a:lnTo>
                    <a:pt x="344" y="1043"/>
                  </a:lnTo>
                  <a:lnTo>
                    <a:pt x="345" y="1031"/>
                  </a:lnTo>
                  <a:lnTo>
                    <a:pt x="349" y="1017"/>
                  </a:lnTo>
                  <a:lnTo>
                    <a:pt x="359" y="993"/>
                  </a:lnTo>
                  <a:lnTo>
                    <a:pt x="359" y="981"/>
                  </a:lnTo>
                  <a:lnTo>
                    <a:pt x="361" y="964"/>
                  </a:lnTo>
                  <a:lnTo>
                    <a:pt x="351" y="958"/>
                  </a:lnTo>
                  <a:lnTo>
                    <a:pt x="344" y="953"/>
                  </a:lnTo>
                  <a:lnTo>
                    <a:pt x="345" y="946"/>
                  </a:lnTo>
                  <a:lnTo>
                    <a:pt x="354" y="947"/>
                  </a:lnTo>
                  <a:lnTo>
                    <a:pt x="351" y="937"/>
                  </a:lnTo>
                  <a:lnTo>
                    <a:pt x="354" y="924"/>
                  </a:lnTo>
                  <a:lnTo>
                    <a:pt x="349" y="897"/>
                  </a:lnTo>
                  <a:lnTo>
                    <a:pt x="338" y="870"/>
                  </a:lnTo>
                  <a:lnTo>
                    <a:pt x="333" y="851"/>
                  </a:lnTo>
                  <a:lnTo>
                    <a:pt x="329" y="855"/>
                  </a:lnTo>
                  <a:lnTo>
                    <a:pt x="327" y="860"/>
                  </a:lnTo>
                  <a:lnTo>
                    <a:pt x="322" y="844"/>
                  </a:lnTo>
                  <a:lnTo>
                    <a:pt x="317" y="821"/>
                  </a:lnTo>
                  <a:lnTo>
                    <a:pt x="311" y="805"/>
                  </a:lnTo>
                  <a:lnTo>
                    <a:pt x="306" y="784"/>
                  </a:lnTo>
                  <a:lnTo>
                    <a:pt x="301" y="759"/>
                  </a:lnTo>
                  <a:lnTo>
                    <a:pt x="297" y="721"/>
                  </a:lnTo>
                  <a:lnTo>
                    <a:pt x="299" y="695"/>
                  </a:lnTo>
                  <a:lnTo>
                    <a:pt x="295" y="695"/>
                  </a:lnTo>
                  <a:lnTo>
                    <a:pt x="291" y="694"/>
                  </a:lnTo>
                  <a:lnTo>
                    <a:pt x="279" y="688"/>
                  </a:lnTo>
                  <a:lnTo>
                    <a:pt x="269" y="679"/>
                  </a:lnTo>
                  <a:lnTo>
                    <a:pt x="262" y="671"/>
                  </a:lnTo>
                  <a:lnTo>
                    <a:pt x="254" y="673"/>
                  </a:lnTo>
                  <a:lnTo>
                    <a:pt x="251" y="653"/>
                  </a:lnTo>
                  <a:lnTo>
                    <a:pt x="246" y="642"/>
                  </a:lnTo>
                  <a:lnTo>
                    <a:pt x="246" y="662"/>
                  </a:lnTo>
                  <a:lnTo>
                    <a:pt x="241" y="685"/>
                  </a:lnTo>
                  <a:lnTo>
                    <a:pt x="226" y="693"/>
                  </a:lnTo>
                  <a:lnTo>
                    <a:pt x="211" y="700"/>
                  </a:lnTo>
                  <a:lnTo>
                    <a:pt x="200" y="710"/>
                  </a:lnTo>
                  <a:lnTo>
                    <a:pt x="189" y="717"/>
                  </a:lnTo>
                  <a:lnTo>
                    <a:pt x="179" y="726"/>
                  </a:lnTo>
                  <a:lnTo>
                    <a:pt x="170" y="738"/>
                  </a:lnTo>
                  <a:lnTo>
                    <a:pt x="165" y="733"/>
                  </a:lnTo>
                  <a:lnTo>
                    <a:pt x="159" y="735"/>
                  </a:lnTo>
                  <a:lnTo>
                    <a:pt x="154" y="728"/>
                  </a:lnTo>
                  <a:lnTo>
                    <a:pt x="146" y="738"/>
                  </a:lnTo>
                  <a:lnTo>
                    <a:pt x="136" y="733"/>
                  </a:lnTo>
                  <a:lnTo>
                    <a:pt x="127" y="730"/>
                  </a:lnTo>
                  <a:lnTo>
                    <a:pt x="122" y="726"/>
                  </a:lnTo>
                  <a:lnTo>
                    <a:pt x="125" y="717"/>
                  </a:lnTo>
                  <a:lnTo>
                    <a:pt x="116" y="725"/>
                  </a:lnTo>
                  <a:lnTo>
                    <a:pt x="109" y="721"/>
                  </a:lnTo>
                  <a:lnTo>
                    <a:pt x="112" y="704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5" name="Freeform 144">
              <a:extLst>
                <a:ext uri="{FF2B5EF4-FFF2-40B4-BE49-F238E27FC236}">
                  <a16:creationId xmlns:a16="http://schemas.microsoft.com/office/drawing/2014/main" id="{521A1A43-6757-3AB9-27F1-6B83706304CB}"/>
                </a:ext>
              </a:extLst>
            </p:cNvPr>
            <p:cNvSpPr>
              <a:spLocks/>
            </p:cNvSpPr>
            <p:nvPr/>
          </p:nvSpPr>
          <p:spPr bwMode="gray">
            <a:xfrm>
              <a:off x="6334375" y="2742361"/>
              <a:ext cx="102967" cy="82896"/>
            </a:xfrm>
            <a:custGeom>
              <a:avLst/>
              <a:gdLst>
                <a:gd name="T0" fmla="*/ 10245 w 290"/>
                <a:gd name="T1" fmla="*/ 19163 h 237"/>
                <a:gd name="T2" fmla="*/ 9354 w 290"/>
                <a:gd name="T3" fmla="*/ 18755 h 237"/>
                <a:gd name="T4" fmla="*/ 7127 w 290"/>
                <a:gd name="T5" fmla="*/ 18755 h 237"/>
                <a:gd name="T6" fmla="*/ 6236 w 290"/>
                <a:gd name="T7" fmla="*/ 17940 h 237"/>
                <a:gd name="T8" fmla="*/ 6682 w 290"/>
                <a:gd name="T9" fmla="*/ 16309 h 237"/>
                <a:gd name="T10" fmla="*/ 5791 w 290"/>
                <a:gd name="T11" fmla="*/ 16309 h 237"/>
                <a:gd name="T12" fmla="*/ 4454 w 290"/>
                <a:gd name="T13" fmla="*/ 17124 h 237"/>
                <a:gd name="T14" fmla="*/ 3564 w 290"/>
                <a:gd name="T15" fmla="*/ 15086 h 237"/>
                <a:gd name="T16" fmla="*/ 4009 w 290"/>
                <a:gd name="T17" fmla="*/ 14678 h 237"/>
                <a:gd name="T18" fmla="*/ 3118 w 290"/>
                <a:gd name="T19" fmla="*/ 13863 h 237"/>
                <a:gd name="T20" fmla="*/ 3118 w 290"/>
                <a:gd name="T21" fmla="*/ 12639 h 237"/>
                <a:gd name="T22" fmla="*/ 2227 w 290"/>
                <a:gd name="T23" fmla="*/ 10601 h 237"/>
                <a:gd name="T24" fmla="*/ 445 w 290"/>
                <a:gd name="T25" fmla="*/ 7747 h 237"/>
                <a:gd name="T26" fmla="*/ 445 w 290"/>
                <a:gd name="T27" fmla="*/ 5300 h 237"/>
                <a:gd name="T28" fmla="*/ 1336 w 290"/>
                <a:gd name="T29" fmla="*/ 4077 h 237"/>
                <a:gd name="T30" fmla="*/ 3118 w 290"/>
                <a:gd name="T31" fmla="*/ 2446 h 237"/>
                <a:gd name="T32" fmla="*/ 4454 w 290"/>
                <a:gd name="T33" fmla="*/ 1631 h 237"/>
                <a:gd name="T34" fmla="*/ 8463 w 290"/>
                <a:gd name="T35" fmla="*/ 2039 h 237"/>
                <a:gd name="T36" fmla="*/ 12472 w 290"/>
                <a:gd name="T37" fmla="*/ 1631 h 237"/>
                <a:gd name="T38" fmla="*/ 14254 w 290"/>
                <a:gd name="T39" fmla="*/ 2039 h 237"/>
                <a:gd name="T40" fmla="*/ 16481 w 290"/>
                <a:gd name="T41" fmla="*/ 2854 h 237"/>
                <a:gd name="T42" fmla="*/ 18263 w 290"/>
                <a:gd name="T43" fmla="*/ 3262 h 237"/>
                <a:gd name="T44" fmla="*/ 20045 w 290"/>
                <a:gd name="T45" fmla="*/ 1223 h 237"/>
                <a:gd name="T46" fmla="*/ 21381 w 290"/>
                <a:gd name="T47" fmla="*/ 815 h 237"/>
                <a:gd name="T48" fmla="*/ 23163 w 290"/>
                <a:gd name="T49" fmla="*/ 1631 h 237"/>
                <a:gd name="T50" fmla="*/ 24945 w 290"/>
                <a:gd name="T51" fmla="*/ 408 h 237"/>
                <a:gd name="T52" fmla="*/ 24945 w 290"/>
                <a:gd name="T53" fmla="*/ 2854 h 237"/>
                <a:gd name="T54" fmla="*/ 25835 w 290"/>
                <a:gd name="T55" fmla="*/ 5300 h 237"/>
                <a:gd name="T56" fmla="*/ 25390 w 290"/>
                <a:gd name="T57" fmla="*/ 10601 h 237"/>
                <a:gd name="T58" fmla="*/ 24054 w 290"/>
                <a:gd name="T59" fmla="*/ 11009 h 237"/>
                <a:gd name="T60" fmla="*/ 22717 w 290"/>
                <a:gd name="T61" fmla="*/ 11824 h 237"/>
                <a:gd name="T62" fmla="*/ 20490 w 290"/>
                <a:gd name="T63" fmla="*/ 12639 h 237"/>
                <a:gd name="T64" fmla="*/ 18708 w 290"/>
                <a:gd name="T65" fmla="*/ 13455 h 237"/>
                <a:gd name="T66" fmla="*/ 17372 w 290"/>
                <a:gd name="T67" fmla="*/ 14678 h 237"/>
                <a:gd name="T68" fmla="*/ 17818 w 290"/>
                <a:gd name="T69" fmla="*/ 16309 h 237"/>
                <a:gd name="T70" fmla="*/ 16481 w 290"/>
                <a:gd name="T71" fmla="*/ 16717 h 237"/>
                <a:gd name="T72" fmla="*/ 14699 w 290"/>
                <a:gd name="T73" fmla="*/ 17532 h 237"/>
                <a:gd name="T74" fmla="*/ 13363 w 290"/>
                <a:gd name="T75" fmla="*/ 17532 h 237"/>
                <a:gd name="T76" fmla="*/ 12918 w 290"/>
                <a:gd name="T77" fmla="*/ 18755 h 237"/>
                <a:gd name="T78" fmla="*/ 11136 w 290"/>
                <a:gd name="T79" fmla="*/ 19163 h 237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90"/>
                <a:gd name="T121" fmla="*/ 0 h 237"/>
                <a:gd name="T122" fmla="*/ 290 w 290"/>
                <a:gd name="T123" fmla="*/ 237 h 237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90" h="237">
                  <a:moveTo>
                    <a:pt x="120" y="237"/>
                  </a:moveTo>
                  <a:lnTo>
                    <a:pt x="115" y="236"/>
                  </a:lnTo>
                  <a:lnTo>
                    <a:pt x="112" y="234"/>
                  </a:lnTo>
                  <a:lnTo>
                    <a:pt x="106" y="230"/>
                  </a:lnTo>
                  <a:lnTo>
                    <a:pt x="89" y="229"/>
                  </a:lnTo>
                  <a:lnTo>
                    <a:pt x="82" y="232"/>
                  </a:lnTo>
                  <a:lnTo>
                    <a:pt x="72" y="232"/>
                  </a:lnTo>
                  <a:lnTo>
                    <a:pt x="72" y="221"/>
                  </a:lnTo>
                  <a:lnTo>
                    <a:pt x="77" y="214"/>
                  </a:lnTo>
                  <a:lnTo>
                    <a:pt x="75" y="204"/>
                  </a:lnTo>
                  <a:lnTo>
                    <a:pt x="69" y="202"/>
                  </a:lnTo>
                  <a:lnTo>
                    <a:pt x="64" y="203"/>
                  </a:lnTo>
                  <a:lnTo>
                    <a:pt x="59" y="211"/>
                  </a:lnTo>
                  <a:lnTo>
                    <a:pt x="50" y="214"/>
                  </a:lnTo>
                  <a:lnTo>
                    <a:pt x="41" y="188"/>
                  </a:lnTo>
                  <a:lnTo>
                    <a:pt x="41" y="186"/>
                  </a:lnTo>
                  <a:lnTo>
                    <a:pt x="45" y="189"/>
                  </a:lnTo>
                  <a:lnTo>
                    <a:pt x="45" y="184"/>
                  </a:lnTo>
                  <a:lnTo>
                    <a:pt x="36" y="173"/>
                  </a:lnTo>
                  <a:lnTo>
                    <a:pt x="36" y="172"/>
                  </a:lnTo>
                  <a:lnTo>
                    <a:pt x="37" y="166"/>
                  </a:lnTo>
                  <a:lnTo>
                    <a:pt x="37" y="157"/>
                  </a:lnTo>
                  <a:lnTo>
                    <a:pt x="31" y="143"/>
                  </a:lnTo>
                  <a:lnTo>
                    <a:pt x="25" y="129"/>
                  </a:lnTo>
                  <a:lnTo>
                    <a:pt x="10" y="118"/>
                  </a:lnTo>
                  <a:lnTo>
                    <a:pt x="3" y="96"/>
                  </a:lnTo>
                  <a:lnTo>
                    <a:pt x="0" y="85"/>
                  </a:lnTo>
                  <a:lnTo>
                    <a:pt x="3" y="67"/>
                  </a:lnTo>
                  <a:lnTo>
                    <a:pt x="10" y="63"/>
                  </a:lnTo>
                  <a:lnTo>
                    <a:pt x="15" y="52"/>
                  </a:lnTo>
                  <a:lnTo>
                    <a:pt x="23" y="48"/>
                  </a:lnTo>
                  <a:lnTo>
                    <a:pt x="37" y="28"/>
                  </a:lnTo>
                  <a:lnTo>
                    <a:pt x="43" y="22"/>
                  </a:lnTo>
                  <a:lnTo>
                    <a:pt x="52" y="19"/>
                  </a:lnTo>
                  <a:lnTo>
                    <a:pt x="79" y="21"/>
                  </a:lnTo>
                  <a:lnTo>
                    <a:pt x="95" y="24"/>
                  </a:lnTo>
                  <a:lnTo>
                    <a:pt x="113" y="21"/>
                  </a:lnTo>
                  <a:lnTo>
                    <a:pt x="141" y="20"/>
                  </a:lnTo>
                  <a:lnTo>
                    <a:pt x="150" y="30"/>
                  </a:lnTo>
                  <a:lnTo>
                    <a:pt x="161" y="25"/>
                  </a:lnTo>
                  <a:lnTo>
                    <a:pt x="169" y="33"/>
                  </a:lnTo>
                  <a:lnTo>
                    <a:pt x="187" y="37"/>
                  </a:lnTo>
                  <a:lnTo>
                    <a:pt x="198" y="41"/>
                  </a:lnTo>
                  <a:lnTo>
                    <a:pt x="207" y="38"/>
                  </a:lnTo>
                  <a:lnTo>
                    <a:pt x="207" y="24"/>
                  </a:lnTo>
                  <a:lnTo>
                    <a:pt x="223" y="15"/>
                  </a:lnTo>
                  <a:lnTo>
                    <a:pt x="234" y="11"/>
                  </a:lnTo>
                  <a:lnTo>
                    <a:pt x="242" y="11"/>
                  </a:lnTo>
                  <a:lnTo>
                    <a:pt x="251" y="20"/>
                  </a:lnTo>
                  <a:lnTo>
                    <a:pt x="258" y="20"/>
                  </a:lnTo>
                  <a:lnTo>
                    <a:pt x="268" y="15"/>
                  </a:lnTo>
                  <a:lnTo>
                    <a:pt x="279" y="6"/>
                  </a:lnTo>
                  <a:lnTo>
                    <a:pt x="283" y="0"/>
                  </a:lnTo>
                  <a:lnTo>
                    <a:pt x="281" y="37"/>
                  </a:lnTo>
                  <a:lnTo>
                    <a:pt x="283" y="53"/>
                  </a:lnTo>
                  <a:lnTo>
                    <a:pt x="290" y="68"/>
                  </a:lnTo>
                  <a:lnTo>
                    <a:pt x="289" y="117"/>
                  </a:lnTo>
                  <a:lnTo>
                    <a:pt x="287" y="129"/>
                  </a:lnTo>
                  <a:lnTo>
                    <a:pt x="281" y="138"/>
                  </a:lnTo>
                  <a:lnTo>
                    <a:pt x="272" y="135"/>
                  </a:lnTo>
                  <a:lnTo>
                    <a:pt x="262" y="144"/>
                  </a:lnTo>
                  <a:lnTo>
                    <a:pt x="255" y="148"/>
                  </a:lnTo>
                  <a:lnTo>
                    <a:pt x="247" y="148"/>
                  </a:lnTo>
                  <a:lnTo>
                    <a:pt x="229" y="156"/>
                  </a:lnTo>
                  <a:lnTo>
                    <a:pt x="228" y="166"/>
                  </a:lnTo>
                  <a:lnTo>
                    <a:pt x="209" y="167"/>
                  </a:lnTo>
                  <a:lnTo>
                    <a:pt x="199" y="171"/>
                  </a:lnTo>
                  <a:lnTo>
                    <a:pt x="197" y="184"/>
                  </a:lnTo>
                  <a:lnTo>
                    <a:pt x="198" y="193"/>
                  </a:lnTo>
                  <a:lnTo>
                    <a:pt x="199" y="202"/>
                  </a:lnTo>
                  <a:lnTo>
                    <a:pt x="193" y="204"/>
                  </a:lnTo>
                  <a:lnTo>
                    <a:pt x="185" y="207"/>
                  </a:lnTo>
                  <a:lnTo>
                    <a:pt x="174" y="214"/>
                  </a:lnTo>
                  <a:lnTo>
                    <a:pt x="164" y="218"/>
                  </a:lnTo>
                  <a:lnTo>
                    <a:pt x="156" y="215"/>
                  </a:lnTo>
                  <a:lnTo>
                    <a:pt x="149" y="215"/>
                  </a:lnTo>
                  <a:lnTo>
                    <a:pt x="148" y="225"/>
                  </a:lnTo>
                  <a:lnTo>
                    <a:pt x="143" y="230"/>
                  </a:lnTo>
                  <a:lnTo>
                    <a:pt x="136" y="234"/>
                  </a:lnTo>
                  <a:lnTo>
                    <a:pt x="125" y="236"/>
                  </a:lnTo>
                  <a:lnTo>
                    <a:pt x="120" y="237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6" name="Freeform 145">
              <a:extLst>
                <a:ext uri="{FF2B5EF4-FFF2-40B4-BE49-F238E27FC236}">
                  <a16:creationId xmlns:a16="http://schemas.microsoft.com/office/drawing/2014/main" id="{4A3F975C-7E36-F20A-CD0F-B87FBD70E252}"/>
                </a:ext>
              </a:extLst>
            </p:cNvPr>
            <p:cNvSpPr>
              <a:spLocks/>
            </p:cNvSpPr>
            <p:nvPr/>
          </p:nvSpPr>
          <p:spPr bwMode="gray">
            <a:xfrm>
              <a:off x="6294192" y="2583363"/>
              <a:ext cx="139383" cy="172588"/>
            </a:xfrm>
            <a:custGeom>
              <a:avLst/>
              <a:gdLst>
                <a:gd name="T0" fmla="*/ 11936 w 398"/>
                <a:gd name="T1" fmla="*/ 3290 h 490"/>
                <a:gd name="T2" fmla="*/ 12820 w 398"/>
                <a:gd name="T3" fmla="*/ 5757 h 490"/>
                <a:gd name="T4" fmla="*/ 15915 w 398"/>
                <a:gd name="T5" fmla="*/ 8224 h 490"/>
                <a:gd name="T6" fmla="*/ 19894 w 398"/>
                <a:gd name="T7" fmla="*/ 8635 h 490"/>
                <a:gd name="T8" fmla="*/ 21220 w 398"/>
                <a:gd name="T9" fmla="*/ 10280 h 490"/>
                <a:gd name="T10" fmla="*/ 22104 w 398"/>
                <a:gd name="T11" fmla="*/ 12336 h 490"/>
                <a:gd name="T12" fmla="*/ 19452 w 398"/>
                <a:gd name="T13" fmla="*/ 13570 h 490"/>
                <a:gd name="T14" fmla="*/ 18125 w 398"/>
                <a:gd name="T15" fmla="*/ 14803 h 490"/>
                <a:gd name="T16" fmla="*/ 19452 w 398"/>
                <a:gd name="T17" fmla="*/ 16037 h 490"/>
                <a:gd name="T18" fmla="*/ 23872 w 398"/>
                <a:gd name="T19" fmla="*/ 19738 h 490"/>
                <a:gd name="T20" fmla="*/ 27409 w 398"/>
                <a:gd name="T21" fmla="*/ 23849 h 490"/>
                <a:gd name="T22" fmla="*/ 30061 w 398"/>
                <a:gd name="T23" fmla="*/ 25905 h 490"/>
                <a:gd name="T24" fmla="*/ 30061 w 398"/>
                <a:gd name="T25" fmla="*/ 27139 h 490"/>
                <a:gd name="T26" fmla="*/ 32714 w 398"/>
                <a:gd name="T27" fmla="*/ 29195 h 490"/>
                <a:gd name="T28" fmla="*/ 34924 w 398"/>
                <a:gd name="T29" fmla="*/ 33718 h 490"/>
                <a:gd name="T30" fmla="*/ 34482 w 398"/>
                <a:gd name="T31" fmla="*/ 37419 h 490"/>
                <a:gd name="T32" fmla="*/ 32272 w 398"/>
                <a:gd name="T33" fmla="*/ 38653 h 490"/>
                <a:gd name="T34" fmla="*/ 29619 w 398"/>
                <a:gd name="T35" fmla="*/ 38241 h 490"/>
                <a:gd name="T36" fmla="*/ 27409 w 398"/>
                <a:gd name="T37" fmla="*/ 40297 h 490"/>
                <a:gd name="T38" fmla="*/ 24314 w 398"/>
                <a:gd name="T39" fmla="*/ 39064 h 490"/>
                <a:gd name="T40" fmla="*/ 25199 w 398"/>
                <a:gd name="T41" fmla="*/ 37830 h 490"/>
                <a:gd name="T42" fmla="*/ 25641 w 398"/>
                <a:gd name="T43" fmla="*/ 32896 h 490"/>
                <a:gd name="T44" fmla="*/ 24314 w 398"/>
                <a:gd name="T45" fmla="*/ 31251 h 490"/>
                <a:gd name="T46" fmla="*/ 22546 w 398"/>
                <a:gd name="T47" fmla="*/ 30017 h 490"/>
                <a:gd name="T48" fmla="*/ 21662 w 398"/>
                <a:gd name="T49" fmla="*/ 26317 h 490"/>
                <a:gd name="T50" fmla="*/ 20778 w 398"/>
                <a:gd name="T51" fmla="*/ 23438 h 490"/>
                <a:gd name="T52" fmla="*/ 19452 w 398"/>
                <a:gd name="T53" fmla="*/ 22205 h 490"/>
                <a:gd name="T54" fmla="*/ 17241 w 398"/>
                <a:gd name="T55" fmla="*/ 19738 h 490"/>
                <a:gd name="T56" fmla="*/ 14147 w 398"/>
                <a:gd name="T57" fmla="*/ 20149 h 490"/>
                <a:gd name="T58" fmla="*/ 12820 w 398"/>
                <a:gd name="T59" fmla="*/ 21382 h 490"/>
                <a:gd name="T60" fmla="*/ 10168 w 398"/>
                <a:gd name="T61" fmla="*/ 21382 h 490"/>
                <a:gd name="T62" fmla="*/ 7957 w 398"/>
                <a:gd name="T63" fmla="*/ 20560 h 490"/>
                <a:gd name="T64" fmla="*/ 4863 w 398"/>
                <a:gd name="T65" fmla="*/ 22616 h 490"/>
                <a:gd name="T66" fmla="*/ 3979 w 398"/>
                <a:gd name="T67" fmla="*/ 23027 h 490"/>
                <a:gd name="T68" fmla="*/ 4421 w 398"/>
                <a:gd name="T69" fmla="*/ 18915 h 490"/>
                <a:gd name="T70" fmla="*/ 4863 w 398"/>
                <a:gd name="T71" fmla="*/ 16448 h 490"/>
                <a:gd name="T72" fmla="*/ 4421 w 398"/>
                <a:gd name="T73" fmla="*/ 13570 h 490"/>
                <a:gd name="T74" fmla="*/ 1768 w 398"/>
                <a:gd name="T75" fmla="*/ 13570 h 490"/>
                <a:gd name="T76" fmla="*/ 884 w 398"/>
                <a:gd name="T77" fmla="*/ 9869 h 490"/>
                <a:gd name="T78" fmla="*/ 0 w 398"/>
                <a:gd name="T79" fmla="*/ 9458 h 490"/>
                <a:gd name="T80" fmla="*/ 442 w 398"/>
                <a:gd name="T81" fmla="*/ 8224 h 490"/>
                <a:gd name="T82" fmla="*/ 2210 w 398"/>
                <a:gd name="T83" fmla="*/ 7402 h 490"/>
                <a:gd name="T84" fmla="*/ 4421 w 398"/>
                <a:gd name="T85" fmla="*/ 4934 h 490"/>
                <a:gd name="T86" fmla="*/ 5305 w 398"/>
                <a:gd name="T87" fmla="*/ 6168 h 490"/>
                <a:gd name="T88" fmla="*/ 7515 w 398"/>
                <a:gd name="T89" fmla="*/ 4112 h 490"/>
                <a:gd name="T90" fmla="*/ 6631 w 398"/>
                <a:gd name="T91" fmla="*/ 411 h 490"/>
                <a:gd name="T92" fmla="*/ 9284 w 398"/>
                <a:gd name="T93" fmla="*/ 411 h 4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8"/>
                <a:gd name="T142" fmla="*/ 0 h 490"/>
                <a:gd name="T143" fmla="*/ 398 w 398"/>
                <a:gd name="T144" fmla="*/ 490 h 4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8" h="490">
                  <a:moveTo>
                    <a:pt x="106" y="3"/>
                  </a:moveTo>
                  <a:lnTo>
                    <a:pt x="118" y="19"/>
                  </a:lnTo>
                  <a:lnTo>
                    <a:pt x="135" y="39"/>
                  </a:lnTo>
                  <a:lnTo>
                    <a:pt x="145" y="49"/>
                  </a:lnTo>
                  <a:lnTo>
                    <a:pt x="150" y="59"/>
                  </a:lnTo>
                  <a:lnTo>
                    <a:pt x="147" y="71"/>
                  </a:lnTo>
                  <a:lnTo>
                    <a:pt x="149" y="79"/>
                  </a:lnTo>
                  <a:lnTo>
                    <a:pt x="163" y="94"/>
                  </a:lnTo>
                  <a:lnTo>
                    <a:pt x="183" y="98"/>
                  </a:lnTo>
                  <a:lnTo>
                    <a:pt x="203" y="93"/>
                  </a:lnTo>
                  <a:lnTo>
                    <a:pt x="219" y="94"/>
                  </a:lnTo>
                  <a:lnTo>
                    <a:pt x="228" y="105"/>
                  </a:lnTo>
                  <a:lnTo>
                    <a:pt x="233" y="114"/>
                  </a:lnTo>
                  <a:lnTo>
                    <a:pt x="235" y="121"/>
                  </a:lnTo>
                  <a:lnTo>
                    <a:pt x="243" y="127"/>
                  </a:lnTo>
                  <a:lnTo>
                    <a:pt x="247" y="136"/>
                  </a:lnTo>
                  <a:lnTo>
                    <a:pt x="253" y="142"/>
                  </a:lnTo>
                  <a:lnTo>
                    <a:pt x="252" y="151"/>
                  </a:lnTo>
                  <a:lnTo>
                    <a:pt x="236" y="167"/>
                  </a:lnTo>
                  <a:lnTo>
                    <a:pt x="231" y="167"/>
                  </a:lnTo>
                  <a:lnTo>
                    <a:pt x="220" y="164"/>
                  </a:lnTo>
                  <a:lnTo>
                    <a:pt x="213" y="167"/>
                  </a:lnTo>
                  <a:lnTo>
                    <a:pt x="209" y="172"/>
                  </a:lnTo>
                  <a:lnTo>
                    <a:pt x="205" y="181"/>
                  </a:lnTo>
                  <a:lnTo>
                    <a:pt x="206" y="188"/>
                  </a:lnTo>
                  <a:lnTo>
                    <a:pt x="213" y="190"/>
                  </a:lnTo>
                  <a:lnTo>
                    <a:pt x="221" y="196"/>
                  </a:lnTo>
                  <a:lnTo>
                    <a:pt x="240" y="206"/>
                  </a:lnTo>
                  <a:lnTo>
                    <a:pt x="267" y="226"/>
                  </a:lnTo>
                  <a:lnTo>
                    <a:pt x="271" y="239"/>
                  </a:lnTo>
                  <a:lnTo>
                    <a:pt x="294" y="260"/>
                  </a:lnTo>
                  <a:lnTo>
                    <a:pt x="297" y="270"/>
                  </a:lnTo>
                  <a:lnTo>
                    <a:pt x="314" y="290"/>
                  </a:lnTo>
                  <a:lnTo>
                    <a:pt x="319" y="291"/>
                  </a:lnTo>
                  <a:lnTo>
                    <a:pt x="337" y="303"/>
                  </a:lnTo>
                  <a:lnTo>
                    <a:pt x="342" y="317"/>
                  </a:lnTo>
                  <a:lnTo>
                    <a:pt x="345" y="329"/>
                  </a:lnTo>
                  <a:lnTo>
                    <a:pt x="344" y="330"/>
                  </a:lnTo>
                  <a:lnTo>
                    <a:pt x="345" y="331"/>
                  </a:lnTo>
                  <a:lnTo>
                    <a:pt x="349" y="345"/>
                  </a:lnTo>
                  <a:lnTo>
                    <a:pt x="357" y="345"/>
                  </a:lnTo>
                  <a:lnTo>
                    <a:pt x="371" y="355"/>
                  </a:lnTo>
                  <a:lnTo>
                    <a:pt x="380" y="363"/>
                  </a:lnTo>
                  <a:lnTo>
                    <a:pt x="384" y="380"/>
                  </a:lnTo>
                  <a:lnTo>
                    <a:pt x="397" y="409"/>
                  </a:lnTo>
                  <a:lnTo>
                    <a:pt x="398" y="416"/>
                  </a:lnTo>
                  <a:lnTo>
                    <a:pt x="398" y="449"/>
                  </a:lnTo>
                  <a:lnTo>
                    <a:pt x="394" y="455"/>
                  </a:lnTo>
                  <a:lnTo>
                    <a:pt x="383" y="464"/>
                  </a:lnTo>
                  <a:lnTo>
                    <a:pt x="373" y="469"/>
                  </a:lnTo>
                  <a:lnTo>
                    <a:pt x="366" y="469"/>
                  </a:lnTo>
                  <a:lnTo>
                    <a:pt x="357" y="460"/>
                  </a:lnTo>
                  <a:lnTo>
                    <a:pt x="349" y="460"/>
                  </a:lnTo>
                  <a:lnTo>
                    <a:pt x="338" y="464"/>
                  </a:lnTo>
                  <a:lnTo>
                    <a:pt x="322" y="473"/>
                  </a:lnTo>
                  <a:lnTo>
                    <a:pt x="322" y="487"/>
                  </a:lnTo>
                  <a:lnTo>
                    <a:pt x="313" y="490"/>
                  </a:lnTo>
                  <a:lnTo>
                    <a:pt x="302" y="486"/>
                  </a:lnTo>
                  <a:lnTo>
                    <a:pt x="284" y="482"/>
                  </a:lnTo>
                  <a:lnTo>
                    <a:pt x="276" y="474"/>
                  </a:lnTo>
                  <a:lnTo>
                    <a:pt x="276" y="470"/>
                  </a:lnTo>
                  <a:lnTo>
                    <a:pt x="280" y="470"/>
                  </a:lnTo>
                  <a:lnTo>
                    <a:pt x="287" y="459"/>
                  </a:lnTo>
                  <a:lnTo>
                    <a:pt x="287" y="417"/>
                  </a:lnTo>
                  <a:lnTo>
                    <a:pt x="291" y="407"/>
                  </a:lnTo>
                  <a:lnTo>
                    <a:pt x="290" y="398"/>
                  </a:lnTo>
                  <a:lnTo>
                    <a:pt x="289" y="391"/>
                  </a:lnTo>
                  <a:lnTo>
                    <a:pt x="284" y="385"/>
                  </a:lnTo>
                  <a:lnTo>
                    <a:pt x="276" y="380"/>
                  </a:lnTo>
                  <a:lnTo>
                    <a:pt x="274" y="373"/>
                  </a:lnTo>
                  <a:lnTo>
                    <a:pt x="264" y="372"/>
                  </a:lnTo>
                  <a:lnTo>
                    <a:pt x="257" y="367"/>
                  </a:lnTo>
                  <a:lnTo>
                    <a:pt x="249" y="357"/>
                  </a:lnTo>
                  <a:lnTo>
                    <a:pt x="246" y="346"/>
                  </a:lnTo>
                  <a:lnTo>
                    <a:pt x="247" y="321"/>
                  </a:lnTo>
                  <a:lnTo>
                    <a:pt x="246" y="308"/>
                  </a:lnTo>
                  <a:lnTo>
                    <a:pt x="242" y="296"/>
                  </a:lnTo>
                  <a:lnTo>
                    <a:pt x="237" y="286"/>
                  </a:lnTo>
                  <a:lnTo>
                    <a:pt x="230" y="281"/>
                  </a:lnTo>
                  <a:lnTo>
                    <a:pt x="228" y="274"/>
                  </a:lnTo>
                  <a:lnTo>
                    <a:pt x="220" y="270"/>
                  </a:lnTo>
                  <a:lnTo>
                    <a:pt x="213" y="263"/>
                  </a:lnTo>
                  <a:lnTo>
                    <a:pt x="208" y="255"/>
                  </a:lnTo>
                  <a:lnTo>
                    <a:pt x="195" y="240"/>
                  </a:lnTo>
                  <a:lnTo>
                    <a:pt x="183" y="239"/>
                  </a:lnTo>
                  <a:lnTo>
                    <a:pt x="172" y="240"/>
                  </a:lnTo>
                  <a:lnTo>
                    <a:pt x="161" y="243"/>
                  </a:lnTo>
                  <a:lnTo>
                    <a:pt x="157" y="254"/>
                  </a:lnTo>
                  <a:lnTo>
                    <a:pt x="152" y="258"/>
                  </a:lnTo>
                  <a:lnTo>
                    <a:pt x="145" y="261"/>
                  </a:lnTo>
                  <a:lnTo>
                    <a:pt x="133" y="267"/>
                  </a:lnTo>
                  <a:lnTo>
                    <a:pt x="124" y="267"/>
                  </a:lnTo>
                  <a:lnTo>
                    <a:pt x="115" y="261"/>
                  </a:lnTo>
                  <a:lnTo>
                    <a:pt x="109" y="251"/>
                  </a:lnTo>
                  <a:lnTo>
                    <a:pt x="102" y="249"/>
                  </a:lnTo>
                  <a:lnTo>
                    <a:pt x="93" y="251"/>
                  </a:lnTo>
                  <a:lnTo>
                    <a:pt x="80" y="256"/>
                  </a:lnTo>
                  <a:lnTo>
                    <a:pt x="68" y="269"/>
                  </a:lnTo>
                  <a:lnTo>
                    <a:pt x="55" y="274"/>
                  </a:lnTo>
                  <a:lnTo>
                    <a:pt x="48" y="283"/>
                  </a:lnTo>
                  <a:lnTo>
                    <a:pt x="43" y="287"/>
                  </a:lnTo>
                  <a:lnTo>
                    <a:pt x="44" y="282"/>
                  </a:lnTo>
                  <a:lnTo>
                    <a:pt x="41" y="269"/>
                  </a:lnTo>
                  <a:lnTo>
                    <a:pt x="45" y="255"/>
                  </a:lnTo>
                  <a:lnTo>
                    <a:pt x="48" y="231"/>
                  </a:lnTo>
                  <a:lnTo>
                    <a:pt x="53" y="220"/>
                  </a:lnTo>
                  <a:lnTo>
                    <a:pt x="53" y="211"/>
                  </a:lnTo>
                  <a:lnTo>
                    <a:pt x="54" y="202"/>
                  </a:lnTo>
                  <a:lnTo>
                    <a:pt x="50" y="186"/>
                  </a:lnTo>
                  <a:lnTo>
                    <a:pt x="54" y="169"/>
                  </a:lnTo>
                  <a:lnTo>
                    <a:pt x="50" y="165"/>
                  </a:lnTo>
                  <a:lnTo>
                    <a:pt x="29" y="165"/>
                  </a:lnTo>
                  <a:lnTo>
                    <a:pt x="23" y="164"/>
                  </a:lnTo>
                  <a:lnTo>
                    <a:pt x="21" y="163"/>
                  </a:lnTo>
                  <a:lnTo>
                    <a:pt x="21" y="145"/>
                  </a:lnTo>
                  <a:lnTo>
                    <a:pt x="18" y="130"/>
                  </a:lnTo>
                  <a:lnTo>
                    <a:pt x="12" y="121"/>
                  </a:lnTo>
                  <a:lnTo>
                    <a:pt x="9" y="116"/>
                  </a:lnTo>
                  <a:lnTo>
                    <a:pt x="2" y="119"/>
                  </a:lnTo>
                  <a:lnTo>
                    <a:pt x="0" y="113"/>
                  </a:lnTo>
                  <a:lnTo>
                    <a:pt x="1" y="105"/>
                  </a:lnTo>
                  <a:lnTo>
                    <a:pt x="4" y="105"/>
                  </a:lnTo>
                  <a:lnTo>
                    <a:pt x="5" y="99"/>
                  </a:lnTo>
                  <a:lnTo>
                    <a:pt x="10" y="95"/>
                  </a:lnTo>
                  <a:lnTo>
                    <a:pt x="17" y="93"/>
                  </a:lnTo>
                  <a:lnTo>
                    <a:pt x="23" y="92"/>
                  </a:lnTo>
                  <a:lnTo>
                    <a:pt x="21" y="84"/>
                  </a:lnTo>
                  <a:lnTo>
                    <a:pt x="21" y="79"/>
                  </a:lnTo>
                  <a:lnTo>
                    <a:pt x="48" y="61"/>
                  </a:lnTo>
                  <a:lnTo>
                    <a:pt x="53" y="54"/>
                  </a:lnTo>
                  <a:lnTo>
                    <a:pt x="54" y="49"/>
                  </a:lnTo>
                  <a:lnTo>
                    <a:pt x="59" y="76"/>
                  </a:lnTo>
                  <a:lnTo>
                    <a:pt x="80" y="71"/>
                  </a:lnTo>
                  <a:lnTo>
                    <a:pt x="84" y="67"/>
                  </a:lnTo>
                  <a:lnTo>
                    <a:pt x="85" y="52"/>
                  </a:lnTo>
                  <a:lnTo>
                    <a:pt x="79" y="36"/>
                  </a:lnTo>
                  <a:lnTo>
                    <a:pt x="76" y="19"/>
                  </a:lnTo>
                  <a:lnTo>
                    <a:pt x="77" y="7"/>
                  </a:lnTo>
                  <a:lnTo>
                    <a:pt x="86" y="0"/>
                  </a:lnTo>
                  <a:lnTo>
                    <a:pt x="106" y="1"/>
                  </a:lnTo>
                  <a:lnTo>
                    <a:pt x="106" y="3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grpSp>
          <p:nvGrpSpPr>
            <p:cNvPr id="27" name="Group 146">
              <a:extLst>
                <a:ext uri="{FF2B5EF4-FFF2-40B4-BE49-F238E27FC236}">
                  <a16:creationId xmlns:a16="http://schemas.microsoft.com/office/drawing/2014/main" id="{5C7D7CA1-3EBD-3714-78F2-2C23621BF17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533238" y="2261290"/>
              <a:ext cx="705704" cy="650940"/>
              <a:chOff x="3183" y="2052"/>
              <a:chExt cx="401" cy="370"/>
            </a:xfrm>
            <a:grpFill/>
          </p:grpSpPr>
          <p:sp>
            <p:nvSpPr>
              <p:cNvPr id="105" name="Freeform 147">
                <a:extLst>
                  <a:ext uri="{FF2B5EF4-FFF2-40B4-BE49-F238E27FC236}">
                    <a16:creationId xmlns:a16="http://schemas.microsoft.com/office/drawing/2014/main" id="{6F3096F2-E859-4A4D-B26D-3AD119AE443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509" y="2232"/>
                <a:ext cx="3" cy="5"/>
              </a:xfrm>
              <a:custGeom>
                <a:avLst/>
                <a:gdLst>
                  <a:gd name="T0" fmla="*/ 0 w 14"/>
                  <a:gd name="T1" fmla="*/ 0 h 27"/>
                  <a:gd name="T2" fmla="*/ 0 w 14"/>
                  <a:gd name="T3" fmla="*/ 1 h 27"/>
                  <a:gd name="T4" fmla="*/ 0 w 14"/>
                  <a:gd name="T5" fmla="*/ 1 h 27"/>
                  <a:gd name="T6" fmla="*/ 1 w 14"/>
                  <a:gd name="T7" fmla="*/ 1 h 27"/>
                  <a:gd name="T8" fmla="*/ 1 w 14"/>
                  <a:gd name="T9" fmla="*/ 0 h 27"/>
                  <a:gd name="T10" fmla="*/ 0 w 14"/>
                  <a:gd name="T11" fmla="*/ 0 h 27"/>
                  <a:gd name="T12" fmla="*/ 0 w 14"/>
                  <a:gd name="T13" fmla="*/ 0 h 27"/>
                  <a:gd name="T14" fmla="*/ 0 w 14"/>
                  <a:gd name="T15" fmla="*/ 0 h 2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4"/>
                  <a:gd name="T25" fmla="*/ 0 h 27"/>
                  <a:gd name="T26" fmla="*/ 14 w 14"/>
                  <a:gd name="T27" fmla="*/ 27 h 2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4" h="27">
                    <a:moveTo>
                      <a:pt x="0" y="4"/>
                    </a:moveTo>
                    <a:lnTo>
                      <a:pt x="1" y="26"/>
                    </a:lnTo>
                    <a:lnTo>
                      <a:pt x="9" y="27"/>
                    </a:lnTo>
                    <a:lnTo>
                      <a:pt x="14" y="21"/>
                    </a:lnTo>
                    <a:lnTo>
                      <a:pt x="14" y="12"/>
                    </a:lnTo>
                    <a:lnTo>
                      <a:pt x="9" y="3"/>
                    </a:lnTo>
                    <a:lnTo>
                      <a:pt x="5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06" name="Freeform 148">
                <a:extLst>
                  <a:ext uri="{FF2B5EF4-FFF2-40B4-BE49-F238E27FC236}">
                    <a16:creationId xmlns:a16="http://schemas.microsoft.com/office/drawing/2014/main" id="{9A797EA3-DE37-4422-303E-5A52464F0B7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62" y="2066"/>
                <a:ext cx="322" cy="332"/>
              </a:xfrm>
              <a:custGeom>
                <a:avLst/>
                <a:gdLst>
                  <a:gd name="T0" fmla="*/ 14 w 1608"/>
                  <a:gd name="T1" fmla="*/ 53 h 1661"/>
                  <a:gd name="T2" fmla="*/ 19 w 1608"/>
                  <a:gd name="T3" fmla="*/ 65 h 1661"/>
                  <a:gd name="T4" fmla="*/ 24 w 1608"/>
                  <a:gd name="T5" fmla="*/ 64 h 1661"/>
                  <a:gd name="T6" fmla="*/ 26 w 1608"/>
                  <a:gd name="T7" fmla="*/ 57 h 1661"/>
                  <a:gd name="T8" fmla="*/ 26 w 1608"/>
                  <a:gd name="T9" fmla="*/ 52 h 1661"/>
                  <a:gd name="T10" fmla="*/ 29 w 1608"/>
                  <a:gd name="T11" fmla="*/ 48 h 1661"/>
                  <a:gd name="T12" fmla="*/ 35 w 1608"/>
                  <a:gd name="T13" fmla="*/ 43 h 1661"/>
                  <a:gd name="T14" fmla="*/ 41 w 1608"/>
                  <a:gd name="T15" fmla="*/ 36 h 1661"/>
                  <a:gd name="T16" fmla="*/ 44 w 1608"/>
                  <a:gd name="T17" fmla="*/ 36 h 1661"/>
                  <a:gd name="T18" fmla="*/ 45 w 1608"/>
                  <a:gd name="T19" fmla="*/ 34 h 1661"/>
                  <a:gd name="T20" fmla="*/ 45 w 1608"/>
                  <a:gd name="T21" fmla="*/ 30 h 1661"/>
                  <a:gd name="T22" fmla="*/ 45 w 1608"/>
                  <a:gd name="T23" fmla="*/ 27 h 1661"/>
                  <a:gd name="T24" fmla="*/ 46 w 1608"/>
                  <a:gd name="T25" fmla="*/ 25 h 1661"/>
                  <a:gd name="T26" fmla="*/ 51 w 1608"/>
                  <a:gd name="T27" fmla="*/ 27 h 1661"/>
                  <a:gd name="T28" fmla="*/ 51 w 1608"/>
                  <a:gd name="T29" fmla="*/ 32 h 1661"/>
                  <a:gd name="T30" fmla="*/ 54 w 1608"/>
                  <a:gd name="T31" fmla="*/ 35 h 1661"/>
                  <a:gd name="T32" fmla="*/ 56 w 1608"/>
                  <a:gd name="T33" fmla="*/ 32 h 1661"/>
                  <a:gd name="T34" fmla="*/ 60 w 1608"/>
                  <a:gd name="T35" fmla="*/ 26 h 1661"/>
                  <a:gd name="T36" fmla="*/ 64 w 1608"/>
                  <a:gd name="T37" fmla="*/ 21 h 1661"/>
                  <a:gd name="T38" fmla="*/ 61 w 1608"/>
                  <a:gd name="T39" fmla="*/ 17 h 1661"/>
                  <a:gd name="T40" fmla="*/ 55 w 1608"/>
                  <a:gd name="T41" fmla="*/ 20 h 1661"/>
                  <a:gd name="T42" fmla="*/ 53 w 1608"/>
                  <a:gd name="T43" fmla="*/ 23 h 1661"/>
                  <a:gd name="T44" fmla="*/ 46 w 1608"/>
                  <a:gd name="T45" fmla="*/ 24 h 1661"/>
                  <a:gd name="T46" fmla="*/ 45 w 1608"/>
                  <a:gd name="T47" fmla="*/ 22 h 1661"/>
                  <a:gd name="T48" fmla="*/ 44 w 1608"/>
                  <a:gd name="T49" fmla="*/ 22 h 1661"/>
                  <a:gd name="T50" fmla="*/ 42 w 1608"/>
                  <a:gd name="T51" fmla="*/ 25 h 1661"/>
                  <a:gd name="T52" fmla="*/ 35 w 1608"/>
                  <a:gd name="T53" fmla="*/ 22 h 1661"/>
                  <a:gd name="T54" fmla="*/ 31 w 1608"/>
                  <a:gd name="T55" fmla="*/ 21 h 1661"/>
                  <a:gd name="T56" fmla="*/ 27 w 1608"/>
                  <a:gd name="T57" fmla="*/ 19 h 1661"/>
                  <a:gd name="T58" fmla="*/ 27 w 1608"/>
                  <a:gd name="T59" fmla="*/ 16 h 1661"/>
                  <a:gd name="T60" fmla="*/ 28 w 1608"/>
                  <a:gd name="T61" fmla="*/ 15 h 1661"/>
                  <a:gd name="T62" fmla="*/ 25 w 1608"/>
                  <a:gd name="T63" fmla="*/ 13 h 1661"/>
                  <a:gd name="T64" fmla="*/ 24 w 1608"/>
                  <a:gd name="T65" fmla="*/ 12 h 1661"/>
                  <a:gd name="T66" fmla="*/ 23 w 1608"/>
                  <a:gd name="T67" fmla="*/ 9 h 1661"/>
                  <a:gd name="T68" fmla="*/ 25 w 1608"/>
                  <a:gd name="T69" fmla="*/ 9 h 1661"/>
                  <a:gd name="T70" fmla="*/ 24 w 1608"/>
                  <a:gd name="T71" fmla="*/ 7 h 1661"/>
                  <a:gd name="T72" fmla="*/ 25 w 1608"/>
                  <a:gd name="T73" fmla="*/ 5 h 1661"/>
                  <a:gd name="T74" fmla="*/ 27 w 1608"/>
                  <a:gd name="T75" fmla="*/ 2 h 1661"/>
                  <a:gd name="T76" fmla="*/ 26 w 1608"/>
                  <a:gd name="T77" fmla="*/ 1 h 1661"/>
                  <a:gd name="T78" fmla="*/ 24 w 1608"/>
                  <a:gd name="T79" fmla="*/ 0 h 1661"/>
                  <a:gd name="T80" fmla="*/ 20 w 1608"/>
                  <a:gd name="T81" fmla="*/ 3 h 1661"/>
                  <a:gd name="T82" fmla="*/ 17 w 1608"/>
                  <a:gd name="T83" fmla="*/ 4 h 1661"/>
                  <a:gd name="T84" fmla="*/ 13 w 1608"/>
                  <a:gd name="T85" fmla="*/ 3 h 1661"/>
                  <a:gd name="T86" fmla="*/ 13 w 1608"/>
                  <a:gd name="T87" fmla="*/ 5 h 1661"/>
                  <a:gd name="T88" fmla="*/ 13 w 1608"/>
                  <a:gd name="T89" fmla="*/ 7 h 1661"/>
                  <a:gd name="T90" fmla="*/ 15 w 1608"/>
                  <a:gd name="T91" fmla="*/ 9 h 1661"/>
                  <a:gd name="T92" fmla="*/ 14 w 1608"/>
                  <a:gd name="T93" fmla="*/ 11 h 1661"/>
                  <a:gd name="T94" fmla="*/ 15 w 1608"/>
                  <a:gd name="T95" fmla="*/ 13 h 1661"/>
                  <a:gd name="T96" fmla="*/ 13 w 1608"/>
                  <a:gd name="T97" fmla="*/ 16 h 1661"/>
                  <a:gd name="T98" fmla="*/ 8 w 1608"/>
                  <a:gd name="T99" fmla="*/ 20 h 1661"/>
                  <a:gd name="T100" fmla="*/ 5 w 1608"/>
                  <a:gd name="T101" fmla="*/ 21 h 1661"/>
                  <a:gd name="T102" fmla="*/ 4 w 1608"/>
                  <a:gd name="T103" fmla="*/ 24 h 1661"/>
                  <a:gd name="T104" fmla="*/ 6 w 1608"/>
                  <a:gd name="T105" fmla="*/ 27 h 1661"/>
                  <a:gd name="T106" fmla="*/ 7 w 1608"/>
                  <a:gd name="T107" fmla="*/ 29 h 1661"/>
                  <a:gd name="T108" fmla="*/ 5 w 1608"/>
                  <a:gd name="T109" fmla="*/ 29 h 1661"/>
                  <a:gd name="T110" fmla="*/ 2 w 1608"/>
                  <a:gd name="T111" fmla="*/ 30 h 1661"/>
                  <a:gd name="T112" fmla="*/ 0 w 1608"/>
                  <a:gd name="T113" fmla="*/ 31 h 1661"/>
                  <a:gd name="T114" fmla="*/ 5 w 1608"/>
                  <a:gd name="T115" fmla="*/ 33 h 1661"/>
                  <a:gd name="T116" fmla="*/ 5 w 1608"/>
                  <a:gd name="T117" fmla="*/ 38 h 1661"/>
                  <a:gd name="T118" fmla="*/ 9 w 1608"/>
                  <a:gd name="T119" fmla="*/ 34 h 1661"/>
                  <a:gd name="T120" fmla="*/ 10 w 1608"/>
                  <a:gd name="T121" fmla="*/ 37 h 1661"/>
                  <a:gd name="T122" fmla="*/ 10 w 1608"/>
                  <a:gd name="T123" fmla="*/ 42 h 1661"/>
                  <a:gd name="T124" fmla="*/ 11 w 1608"/>
                  <a:gd name="T125" fmla="*/ 46 h 1661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608"/>
                  <a:gd name="T190" fmla="*/ 0 h 1661"/>
                  <a:gd name="T191" fmla="*/ 1608 w 1608"/>
                  <a:gd name="T192" fmla="*/ 1661 h 1661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608" h="1661">
                    <a:moveTo>
                      <a:pt x="304" y="1236"/>
                    </a:moveTo>
                    <a:lnTo>
                      <a:pt x="306" y="1238"/>
                    </a:lnTo>
                    <a:lnTo>
                      <a:pt x="310" y="1250"/>
                    </a:lnTo>
                    <a:lnTo>
                      <a:pt x="312" y="1252"/>
                    </a:lnTo>
                    <a:lnTo>
                      <a:pt x="315" y="1249"/>
                    </a:lnTo>
                    <a:lnTo>
                      <a:pt x="320" y="1250"/>
                    </a:lnTo>
                    <a:lnTo>
                      <a:pt x="316" y="1255"/>
                    </a:lnTo>
                    <a:lnTo>
                      <a:pt x="316" y="1260"/>
                    </a:lnTo>
                    <a:lnTo>
                      <a:pt x="322" y="1281"/>
                    </a:lnTo>
                    <a:lnTo>
                      <a:pt x="331" y="1293"/>
                    </a:lnTo>
                    <a:lnTo>
                      <a:pt x="338" y="1297"/>
                    </a:lnTo>
                    <a:lnTo>
                      <a:pt x="348" y="1319"/>
                    </a:lnTo>
                    <a:lnTo>
                      <a:pt x="351" y="1334"/>
                    </a:lnTo>
                    <a:lnTo>
                      <a:pt x="358" y="1343"/>
                    </a:lnTo>
                    <a:lnTo>
                      <a:pt x="364" y="1358"/>
                    </a:lnTo>
                    <a:lnTo>
                      <a:pt x="370" y="1388"/>
                    </a:lnTo>
                    <a:lnTo>
                      <a:pt x="382" y="1426"/>
                    </a:lnTo>
                    <a:lnTo>
                      <a:pt x="382" y="1429"/>
                    </a:lnTo>
                    <a:lnTo>
                      <a:pt x="391" y="1444"/>
                    </a:lnTo>
                    <a:lnTo>
                      <a:pt x="401" y="1453"/>
                    </a:lnTo>
                    <a:lnTo>
                      <a:pt x="418" y="1475"/>
                    </a:lnTo>
                    <a:lnTo>
                      <a:pt x="425" y="1494"/>
                    </a:lnTo>
                    <a:lnTo>
                      <a:pt x="432" y="1519"/>
                    </a:lnTo>
                    <a:lnTo>
                      <a:pt x="454" y="1572"/>
                    </a:lnTo>
                    <a:lnTo>
                      <a:pt x="461" y="1600"/>
                    </a:lnTo>
                    <a:lnTo>
                      <a:pt x="468" y="1614"/>
                    </a:lnTo>
                    <a:lnTo>
                      <a:pt x="481" y="1633"/>
                    </a:lnTo>
                    <a:lnTo>
                      <a:pt x="495" y="1650"/>
                    </a:lnTo>
                    <a:lnTo>
                      <a:pt x="508" y="1661"/>
                    </a:lnTo>
                    <a:lnTo>
                      <a:pt x="525" y="1661"/>
                    </a:lnTo>
                    <a:lnTo>
                      <a:pt x="534" y="1653"/>
                    </a:lnTo>
                    <a:lnTo>
                      <a:pt x="534" y="1650"/>
                    </a:lnTo>
                    <a:lnTo>
                      <a:pt x="540" y="1647"/>
                    </a:lnTo>
                    <a:lnTo>
                      <a:pt x="546" y="1642"/>
                    </a:lnTo>
                    <a:lnTo>
                      <a:pt x="548" y="1636"/>
                    </a:lnTo>
                    <a:lnTo>
                      <a:pt x="547" y="1632"/>
                    </a:lnTo>
                    <a:lnTo>
                      <a:pt x="554" y="1611"/>
                    </a:lnTo>
                    <a:lnTo>
                      <a:pt x="577" y="1600"/>
                    </a:lnTo>
                    <a:lnTo>
                      <a:pt x="594" y="1598"/>
                    </a:lnTo>
                    <a:lnTo>
                      <a:pt x="593" y="1588"/>
                    </a:lnTo>
                    <a:lnTo>
                      <a:pt x="594" y="1578"/>
                    </a:lnTo>
                    <a:lnTo>
                      <a:pt x="607" y="1560"/>
                    </a:lnTo>
                    <a:lnTo>
                      <a:pt x="610" y="1552"/>
                    </a:lnTo>
                    <a:lnTo>
                      <a:pt x="615" y="1541"/>
                    </a:lnTo>
                    <a:lnTo>
                      <a:pt x="628" y="1539"/>
                    </a:lnTo>
                    <a:lnTo>
                      <a:pt x="632" y="1542"/>
                    </a:lnTo>
                    <a:lnTo>
                      <a:pt x="643" y="1542"/>
                    </a:lnTo>
                    <a:lnTo>
                      <a:pt x="643" y="1525"/>
                    </a:lnTo>
                    <a:lnTo>
                      <a:pt x="640" y="1496"/>
                    </a:lnTo>
                    <a:lnTo>
                      <a:pt x="640" y="1467"/>
                    </a:lnTo>
                    <a:lnTo>
                      <a:pt x="643" y="1456"/>
                    </a:lnTo>
                    <a:lnTo>
                      <a:pt x="655" y="1431"/>
                    </a:lnTo>
                    <a:lnTo>
                      <a:pt x="660" y="1417"/>
                    </a:lnTo>
                    <a:lnTo>
                      <a:pt x="667" y="1390"/>
                    </a:lnTo>
                    <a:lnTo>
                      <a:pt x="669" y="1381"/>
                    </a:lnTo>
                    <a:lnTo>
                      <a:pt x="667" y="1368"/>
                    </a:lnTo>
                    <a:lnTo>
                      <a:pt x="661" y="1363"/>
                    </a:lnTo>
                    <a:lnTo>
                      <a:pt x="660" y="1358"/>
                    </a:lnTo>
                    <a:lnTo>
                      <a:pt x="658" y="1356"/>
                    </a:lnTo>
                    <a:lnTo>
                      <a:pt x="660" y="1352"/>
                    </a:lnTo>
                    <a:lnTo>
                      <a:pt x="664" y="1356"/>
                    </a:lnTo>
                    <a:lnTo>
                      <a:pt x="656" y="1324"/>
                    </a:lnTo>
                    <a:lnTo>
                      <a:pt x="659" y="1314"/>
                    </a:lnTo>
                    <a:lnTo>
                      <a:pt x="659" y="1304"/>
                    </a:lnTo>
                    <a:lnTo>
                      <a:pt x="659" y="1302"/>
                    </a:lnTo>
                    <a:lnTo>
                      <a:pt x="655" y="1297"/>
                    </a:lnTo>
                    <a:lnTo>
                      <a:pt x="654" y="1284"/>
                    </a:lnTo>
                    <a:lnTo>
                      <a:pt x="654" y="1262"/>
                    </a:lnTo>
                    <a:lnTo>
                      <a:pt x="661" y="1251"/>
                    </a:lnTo>
                    <a:lnTo>
                      <a:pt x="670" y="1238"/>
                    </a:lnTo>
                    <a:lnTo>
                      <a:pt x="680" y="1233"/>
                    </a:lnTo>
                    <a:lnTo>
                      <a:pt x="688" y="1232"/>
                    </a:lnTo>
                    <a:lnTo>
                      <a:pt x="698" y="1238"/>
                    </a:lnTo>
                    <a:lnTo>
                      <a:pt x="706" y="1234"/>
                    </a:lnTo>
                    <a:lnTo>
                      <a:pt x="713" y="1222"/>
                    </a:lnTo>
                    <a:lnTo>
                      <a:pt x="718" y="1208"/>
                    </a:lnTo>
                    <a:lnTo>
                      <a:pt x="720" y="1208"/>
                    </a:lnTo>
                    <a:lnTo>
                      <a:pt x="733" y="1205"/>
                    </a:lnTo>
                    <a:lnTo>
                      <a:pt x="746" y="1202"/>
                    </a:lnTo>
                    <a:lnTo>
                      <a:pt x="769" y="1193"/>
                    </a:lnTo>
                    <a:lnTo>
                      <a:pt x="776" y="1185"/>
                    </a:lnTo>
                    <a:lnTo>
                      <a:pt x="776" y="1174"/>
                    </a:lnTo>
                    <a:lnTo>
                      <a:pt x="782" y="1164"/>
                    </a:lnTo>
                    <a:lnTo>
                      <a:pt x="795" y="1155"/>
                    </a:lnTo>
                    <a:lnTo>
                      <a:pt x="820" y="1136"/>
                    </a:lnTo>
                    <a:lnTo>
                      <a:pt x="837" y="1123"/>
                    </a:lnTo>
                    <a:lnTo>
                      <a:pt x="849" y="1109"/>
                    </a:lnTo>
                    <a:lnTo>
                      <a:pt x="864" y="1098"/>
                    </a:lnTo>
                    <a:lnTo>
                      <a:pt x="875" y="1092"/>
                    </a:lnTo>
                    <a:lnTo>
                      <a:pt x="878" y="1088"/>
                    </a:lnTo>
                    <a:lnTo>
                      <a:pt x="880" y="1087"/>
                    </a:lnTo>
                    <a:lnTo>
                      <a:pt x="890" y="1077"/>
                    </a:lnTo>
                    <a:lnTo>
                      <a:pt x="925" y="1034"/>
                    </a:lnTo>
                    <a:lnTo>
                      <a:pt x="938" y="1024"/>
                    </a:lnTo>
                    <a:lnTo>
                      <a:pt x="968" y="1007"/>
                    </a:lnTo>
                    <a:lnTo>
                      <a:pt x="986" y="1001"/>
                    </a:lnTo>
                    <a:lnTo>
                      <a:pt x="995" y="996"/>
                    </a:lnTo>
                    <a:lnTo>
                      <a:pt x="998" y="996"/>
                    </a:lnTo>
                    <a:lnTo>
                      <a:pt x="1015" y="981"/>
                    </a:lnTo>
                    <a:lnTo>
                      <a:pt x="1024" y="970"/>
                    </a:lnTo>
                    <a:lnTo>
                      <a:pt x="1026" y="964"/>
                    </a:lnTo>
                    <a:lnTo>
                      <a:pt x="1036" y="953"/>
                    </a:lnTo>
                    <a:lnTo>
                      <a:pt x="1030" y="929"/>
                    </a:lnTo>
                    <a:lnTo>
                      <a:pt x="1036" y="913"/>
                    </a:lnTo>
                    <a:lnTo>
                      <a:pt x="1068" y="897"/>
                    </a:lnTo>
                    <a:lnTo>
                      <a:pt x="1078" y="894"/>
                    </a:lnTo>
                    <a:lnTo>
                      <a:pt x="1084" y="889"/>
                    </a:lnTo>
                    <a:lnTo>
                      <a:pt x="1089" y="880"/>
                    </a:lnTo>
                    <a:lnTo>
                      <a:pt x="1091" y="874"/>
                    </a:lnTo>
                    <a:lnTo>
                      <a:pt x="1096" y="868"/>
                    </a:lnTo>
                    <a:lnTo>
                      <a:pt x="1100" y="868"/>
                    </a:lnTo>
                    <a:lnTo>
                      <a:pt x="1097" y="880"/>
                    </a:lnTo>
                    <a:lnTo>
                      <a:pt x="1097" y="893"/>
                    </a:lnTo>
                    <a:lnTo>
                      <a:pt x="1099" y="894"/>
                    </a:lnTo>
                    <a:lnTo>
                      <a:pt x="1101" y="894"/>
                    </a:lnTo>
                    <a:lnTo>
                      <a:pt x="1104" y="895"/>
                    </a:lnTo>
                    <a:lnTo>
                      <a:pt x="1107" y="902"/>
                    </a:lnTo>
                    <a:lnTo>
                      <a:pt x="1116" y="901"/>
                    </a:lnTo>
                    <a:lnTo>
                      <a:pt x="1121" y="897"/>
                    </a:lnTo>
                    <a:lnTo>
                      <a:pt x="1124" y="899"/>
                    </a:lnTo>
                    <a:lnTo>
                      <a:pt x="1126" y="890"/>
                    </a:lnTo>
                    <a:lnTo>
                      <a:pt x="1128" y="886"/>
                    </a:lnTo>
                    <a:lnTo>
                      <a:pt x="1131" y="896"/>
                    </a:lnTo>
                    <a:lnTo>
                      <a:pt x="1134" y="900"/>
                    </a:lnTo>
                    <a:lnTo>
                      <a:pt x="1142" y="897"/>
                    </a:lnTo>
                    <a:lnTo>
                      <a:pt x="1135" y="884"/>
                    </a:lnTo>
                    <a:lnTo>
                      <a:pt x="1137" y="878"/>
                    </a:lnTo>
                    <a:lnTo>
                      <a:pt x="1135" y="874"/>
                    </a:lnTo>
                    <a:lnTo>
                      <a:pt x="1133" y="863"/>
                    </a:lnTo>
                    <a:lnTo>
                      <a:pt x="1134" y="854"/>
                    </a:lnTo>
                    <a:lnTo>
                      <a:pt x="1132" y="846"/>
                    </a:lnTo>
                    <a:lnTo>
                      <a:pt x="1127" y="841"/>
                    </a:lnTo>
                    <a:lnTo>
                      <a:pt x="1124" y="832"/>
                    </a:lnTo>
                    <a:lnTo>
                      <a:pt x="1124" y="823"/>
                    </a:lnTo>
                    <a:lnTo>
                      <a:pt x="1126" y="820"/>
                    </a:lnTo>
                    <a:lnTo>
                      <a:pt x="1127" y="804"/>
                    </a:lnTo>
                    <a:lnTo>
                      <a:pt x="1126" y="800"/>
                    </a:lnTo>
                    <a:lnTo>
                      <a:pt x="1122" y="799"/>
                    </a:lnTo>
                    <a:lnTo>
                      <a:pt x="1122" y="784"/>
                    </a:lnTo>
                    <a:lnTo>
                      <a:pt x="1116" y="778"/>
                    </a:lnTo>
                    <a:lnTo>
                      <a:pt x="1116" y="770"/>
                    </a:lnTo>
                    <a:lnTo>
                      <a:pt x="1118" y="759"/>
                    </a:lnTo>
                    <a:lnTo>
                      <a:pt x="1120" y="738"/>
                    </a:lnTo>
                    <a:lnTo>
                      <a:pt x="1111" y="728"/>
                    </a:lnTo>
                    <a:lnTo>
                      <a:pt x="1105" y="723"/>
                    </a:lnTo>
                    <a:lnTo>
                      <a:pt x="1094" y="718"/>
                    </a:lnTo>
                    <a:lnTo>
                      <a:pt x="1085" y="714"/>
                    </a:lnTo>
                    <a:lnTo>
                      <a:pt x="1084" y="708"/>
                    </a:lnTo>
                    <a:lnTo>
                      <a:pt x="1085" y="703"/>
                    </a:lnTo>
                    <a:lnTo>
                      <a:pt x="1090" y="695"/>
                    </a:lnTo>
                    <a:lnTo>
                      <a:pt x="1097" y="694"/>
                    </a:lnTo>
                    <a:lnTo>
                      <a:pt x="1104" y="690"/>
                    </a:lnTo>
                    <a:lnTo>
                      <a:pt x="1106" y="683"/>
                    </a:lnTo>
                    <a:lnTo>
                      <a:pt x="1126" y="681"/>
                    </a:lnTo>
                    <a:lnTo>
                      <a:pt x="1126" y="673"/>
                    </a:lnTo>
                    <a:lnTo>
                      <a:pt x="1122" y="669"/>
                    </a:lnTo>
                    <a:lnTo>
                      <a:pt x="1123" y="665"/>
                    </a:lnTo>
                    <a:lnTo>
                      <a:pt x="1108" y="667"/>
                    </a:lnTo>
                    <a:lnTo>
                      <a:pt x="1101" y="662"/>
                    </a:lnTo>
                    <a:lnTo>
                      <a:pt x="1099" y="648"/>
                    </a:lnTo>
                    <a:lnTo>
                      <a:pt x="1095" y="644"/>
                    </a:lnTo>
                    <a:lnTo>
                      <a:pt x="1110" y="620"/>
                    </a:lnTo>
                    <a:lnTo>
                      <a:pt x="1112" y="608"/>
                    </a:lnTo>
                    <a:lnTo>
                      <a:pt x="1117" y="605"/>
                    </a:lnTo>
                    <a:lnTo>
                      <a:pt x="1126" y="622"/>
                    </a:lnTo>
                    <a:lnTo>
                      <a:pt x="1132" y="630"/>
                    </a:lnTo>
                    <a:lnTo>
                      <a:pt x="1133" y="622"/>
                    </a:lnTo>
                    <a:lnTo>
                      <a:pt x="1137" y="610"/>
                    </a:lnTo>
                    <a:lnTo>
                      <a:pt x="1143" y="613"/>
                    </a:lnTo>
                    <a:lnTo>
                      <a:pt x="1145" y="627"/>
                    </a:lnTo>
                    <a:lnTo>
                      <a:pt x="1153" y="636"/>
                    </a:lnTo>
                    <a:lnTo>
                      <a:pt x="1159" y="632"/>
                    </a:lnTo>
                    <a:lnTo>
                      <a:pt x="1166" y="638"/>
                    </a:lnTo>
                    <a:lnTo>
                      <a:pt x="1175" y="624"/>
                    </a:lnTo>
                    <a:lnTo>
                      <a:pt x="1177" y="628"/>
                    </a:lnTo>
                    <a:lnTo>
                      <a:pt x="1180" y="648"/>
                    </a:lnTo>
                    <a:lnTo>
                      <a:pt x="1185" y="667"/>
                    </a:lnTo>
                    <a:lnTo>
                      <a:pt x="1192" y="675"/>
                    </a:lnTo>
                    <a:lnTo>
                      <a:pt x="1203" y="680"/>
                    </a:lnTo>
                    <a:lnTo>
                      <a:pt x="1246" y="684"/>
                    </a:lnTo>
                    <a:lnTo>
                      <a:pt x="1250" y="681"/>
                    </a:lnTo>
                    <a:lnTo>
                      <a:pt x="1264" y="679"/>
                    </a:lnTo>
                    <a:lnTo>
                      <a:pt x="1288" y="681"/>
                    </a:lnTo>
                    <a:lnTo>
                      <a:pt x="1311" y="685"/>
                    </a:lnTo>
                    <a:lnTo>
                      <a:pt x="1326" y="691"/>
                    </a:lnTo>
                    <a:lnTo>
                      <a:pt x="1325" y="696"/>
                    </a:lnTo>
                    <a:lnTo>
                      <a:pt x="1315" y="701"/>
                    </a:lnTo>
                    <a:lnTo>
                      <a:pt x="1310" y="714"/>
                    </a:lnTo>
                    <a:lnTo>
                      <a:pt x="1298" y="729"/>
                    </a:lnTo>
                    <a:lnTo>
                      <a:pt x="1288" y="739"/>
                    </a:lnTo>
                    <a:lnTo>
                      <a:pt x="1276" y="744"/>
                    </a:lnTo>
                    <a:lnTo>
                      <a:pt x="1262" y="754"/>
                    </a:lnTo>
                    <a:lnTo>
                      <a:pt x="1260" y="762"/>
                    </a:lnTo>
                    <a:lnTo>
                      <a:pt x="1261" y="778"/>
                    </a:lnTo>
                    <a:lnTo>
                      <a:pt x="1268" y="798"/>
                    </a:lnTo>
                    <a:lnTo>
                      <a:pt x="1278" y="799"/>
                    </a:lnTo>
                    <a:lnTo>
                      <a:pt x="1284" y="809"/>
                    </a:lnTo>
                    <a:lnTo>
                      <a:pt x="1292" y="814"/>
                    </a:lnTo>
                    <a:lnTo>
                      <a:pt x="1295" y="807"/>
                    </a:lnTo>
                    <a:lnTo>
                      <a:pt x="1301" y="786"/>
                    </a:lnTo>
                    <a:lnTo>
                      <a:pt x="1312" y="771"/>
                    </a:lnTo>
                    <a:lnTo>
                      <a:pt x="1319" y="772"/>
                    </a:lnTo>
                    <a:lnTo>
                      <a:pt x="1326" y="786"/>
                    </a:lnTo>
                    <a:lnTo>
                      <a:pt x="1331" y="803"/>
                    </a:lnTo>
                    <a:lnTo>
                      <a:pt x="1333" y="811"/>
                    </a:lnTo>
                    <a:lnTo>
                      <a:pt x="1336" y="819"/>
                    </a:lnTo>
                    <a:lnTo>
                      <a:pt x="1342" y="847"/>
                    </a:lnTo>
                    <a:lnTo>
                      <a:pt x="1346" y="881"/>
                    </a:lnTo>
                    <a:lnTo>
                      <a:pt x="1349" y="878"/>
                    </a:lnTo>
                    <a:lnTo>
                      <a:pt x="1354" y="873"/>
                    </a:lnTo>
                    <a:lnTo>
                      <a:pt x="1363" y="875"/>
                    </a:lnTo>
                    <a:lnTo>
                      <a:pt x="1368" y="874"/>
                    </a:lnTo>
                    <a:lnTo>
                      <a:pt x="1373" y="868"/>
                    </a:lnTo>
                    <a:lnTo>
                      <a:pt x="1374" y="862"/>
                    </a:lnTo>
                    <a:lnTo>
                      <a:pt x="1371" y="862"/>
                    </a:lnTo>
                    <a:lnTo>
                      <a:pt x="1368" y="852"/>
                    </a:lnTo>
                    <a:lnTo>
                      <a:pt x="1368" y="836"/>
                    </a:lnTo>
                    <a:lnTo>
                      <a:pt x="1369" y="823"/>
                    </a:lnTo>
                    <a:lnTo>
                      <a:pt x="1380" y="824"/>
                    </a:lnTo>
                    <a:lnTo>
                      <a:pt x="1384" y="819"/>
                    </a:lnTo>
                    <a:lnTo>
                      <a:pt x="1387" y="799"/>
                    </a:lnTo>
                    <a:lnTo>
                      <a:pt x="1386" y="773"/>
                    </a:lnTo>
                    <a:lnTo>
                      <a:pt x="1393" y="766"/>
                    </a:lnTo>
                    <a:lnTo>
                      <a:pt x="1407" y="762"/>
                    </a:lnTo>
                    <a:lnTo>
                      <a:pt x="1420" y="765"/>
                    </a:lnTo>
                    <a:lnTo>
                      <a:pt x="1428" y="765"/>
                    </a:lnTo>
                    <a:lnTo>
                      <a:pt x="1433" y="760"/>
                    </a:lnTo>
                    <a:lnTo>
                      <a:pt x="1439" y="740"/>
                    </a:lnTo>
                    <a:lnTo>
                      <a:pt x="1457" y="705"/>
                    </a:lnTo>
                    <a:lnTo>
                      <a:pt x="1461" y="694"/>
                    </a:lnTo>
                    <a:lnTo>
                      <a:pt x="1459" y="684"/>
                    </a:lnTo>
                    <a:lnTo>
                      <a:pt x="1465" y="675"/>
                    </a:lnTo>
                    <a:lnTo>
                      <a:pt x="1481" y="664"/>
                    </a:lnTo>
                    <a:lnTo>
                      <a:pt x="1487" y="652"/>
                    </a:lnTo>
                    <a:lnTo>
                      <a:pt x="1486" y="624"/>
                    </a:lnTo>
                    <a:lnTo>
                      <a:pt x="1493" y="608"/>
                    </a:lnTo>
                    <a:lnTo>
                      <a:pt x="1506" y="597"/>
                    </a:lnTo>
                    <a:lnTo>
                      <a:pt x="1521" y="589"/>
                    </a:lnTo>
                    <a:lnTo>
                      <a:pt x="1531" y="581"/>
                    </a:lnTo>
                    <a:lnTo>
                      <a:pt x="1538" y="567"/>
                    </a:lnTo>
                    <a:lnTo>
                      <a:pt x="1558" y="563"/>
                    </a:lnTo>
                    <a:lnTo>
                      <a:pt x="1569" y="560"/>
                    </a:lnTo>
                    <a:lnTo>
                      <a:pt x="1585" y="565"/>
                    </a:lnTo>
                    <a:lnTo>
                      <a:pt x="1590" y="560"/>
                    </a:lnTo>
                    <a:lnTo>
                      <a:pt x="1586" y="544"/>
                    </a:lnTo>
                    <a:lnTo>
                      <a:pt x="1591" y="530"/>
                    </a:lnTo>
                    <a:lnTo>
                      <a:pt x="1602" y="525"/>
                    </a:lnTo>
                    <a:lnTo>
                      <a:pt x="1608" y="518"/>
                    </a:lnTo>
                    <a:lnTo>
                      <a:pt x="1608" y="506"/>
                    </a:lnTo>
                    <a:lnTo>
                      <a:pt x="1604" y="493"/>
                    </a:lnTo>
                    <a:lnTo>
                      <a:pt x="1594" y="490"/>
                    </a:lnTo>
                    <a:lnTo>
                      <a:pt x="1580" y="490"/>
                    </a:lnTo>
                    <a:lnTo>
                      <a:pt x="1570" y="486"/>
                    </a:lnTo>
                    <a:lnTo>
                      <a:pt x="1552" y="486"/>
                    </a:lnTo>
                    <a:lnTo>
                      <a:pt x="1554" y="470"/>
                    </a:lnTo>
                    <a:lnTo>
                      <a:pt x="1556" y="455"/>
                    </a:lnTo>
                    <a:lnTo>
                      <a:pt x="1543" y="453"/>
                    </a:lnTo>
                    <a:lnTo>
                      <a:pt x="1541" y="442"/>
                    </a:lnTo>
                    <a:lnTo>
                      <a:pt x="1543" y="434"/>
                    </a:lnTo>
                    <a:lnTo>
                      <a:pt x="1532" y="422"/>
                    </a:lnTo>
                    <a:lnTo>
                      <a:pt x="1520" y="426"/>
                    </a:lnTo>
                    <a:lnTo>
                      <a:pt x="1505" y="436"/>
                    </a:lnTo>
                    <a:lnTo>
                      <a:pt x="1492" y="439"/>
                    </a:lnTo>
                    <a:lnTo>
                      <a:pt x="1472" y="441"/>
                    </a:lnTo>
                    <a:lnTo>
                      <a:pt x="1463" y="439"/>
                    </a:lnTo>
                    <a:lnTo>
                      <a:pt x="1457" y="434"/>
                    </a:lnTo>
                    <a:lnTo>
                      <a:pt x="1452" y="433"/>
                    </a:lnTo>
                    <a:lnTo>
                      <a:pt x="1443" y="438"/>
                    </a:lnTo>
                    <a:lnTo>
                      <a:pt x="1434" y="444"/>
                    </a:lnTo>
                    <a:lnTo>
                      <a:pt x="1428" y="455"/>
                    </a:lnTo>
                    <a:lnTo>
                      <a:pt x="1408" y="472"/>
                    </a:lnTo>
                    <a:lnTo>
                      <a:pt x="1393" y="476"/>
                    </a:lnTo>
                    <a:lnTo>
                      <a:pt x="1379" y="492"/>
                    </a:lnTo>
                    <a:lnTo>
                      <a:pt x="1369" y="499"/>
                    </a:lnTo>
                    <a:lnTo>
                      <a:pt x="1354" y="507"/>
                    </a:lnTo>
                    <a:lnTo>
                      <a:pt x="1342" y="515"/>
                    </a:lnTo>
                    <a:lnTo>
                      <a:pt x="1314" y="522"/>
                    </a:lnTo>
                    <a:lnTo>
                      <a:pt x="1296" y="527"/>
                    </a:lnTo>
                    <a:lnTo>
                      <a:pt x="1298" y="529"/>
                    </a:lnTo>
                    <a:lnTo>
                      <a:pt x="1298" y="531"/>
                    </a:lnTo>
                    <a:lnTo>
                      <a:pt x="1295" y="538"/>
                    </a:lnTo>
                    <a:lnTo>
                      <a:pt x="1295" y="540"/>
                    </a:lnTo>
                    <a:lnTo>
                      <a:pt x="1296" y="542"/>
                    </a:lnTo>
                    <a:lnTo>
                      <a:pt x="1315" y="550"/>
                    </a:lnTo>
                    <a:lnTo>
                      <a:pt x="1321" y="556"/>
                    </a:lnTo>
                    <a:lnTo>
                      <a:pt x="1319" y="570"/>
                    </a:lnTo>
                    <a:lnTo>
                      <a:pt x="1320" y="574"/>
                    </a:lnTo>
                    <a:lnTo>
                      <a:pt x="1320" y="577"/>
                    </a:lnTo>
                    <a:lnTo>
                      <a:pt x="1312" y="581"/>
                    </a:lnTo>
                    <a:lnTo>
                      <a:pt x="1292" y="584"/>
                    </a:lnTo>
                    <a:lnTo>
                      <a:pt x="1278" y="585"/>
                    </a:lnTo>
                    <a:lnTo>
                      <a:pt x="1257" y="589"/>
                    </a:lnTo>
                    <a:lnTo>
                      <a:pt x="1249" y="590"/>
                    </a:lnTo>
                    <a:lnTo>
                      <a:pt x="1240" y="590"/>
                    </a:lnTo>
                    <a:lnTo>
                      <a:pt x="1230" y="587"/>
                    </a:lnTo>
                    <a:lnTo>
                      <a:pt x="1225" y="587"/>
                    </a:lnTo>
                    <a:lnTo>
                      <a:pt x="1202" y="595"/>
                    </a:lnTo>
                    <a:lnTo>
                      <a:pt x="1183" y="595"/>
                    </a:lnTo>
                    <a:lnTo>
                      <a:pt x="1160" y="592"/>
                    </a:lnTo>
                    <a:lnTo>
                      <a:pt x="1149" y="588"/>
                    </a:lnTo>
                    <a:lnTo>
                      <a:pt x="1145" y="585"/>
                    </a:lnTo>
                    <a:lnTo>
                      <a:pt x="1142" y="585"/>
                    </a:lnTo>
                    <a:lnTo>
                      <a:pt x="1140" y="584"/>
                    </a:lnTo>
                    <a:lnTo>
                      <a:pt x="1140" y="577"/>
                    </a:lnTo>
                    <a:lnTo>
                      <a:pt x="1139" y="574"/>
                    </a:lnTo>
                    <a:lnTo>
                      <a:pt x="1134" y="573"/>
                    </a:lnTo>
                    <a:lnTo>
                      <a:pt x="1134" y="568"/>
                    </a:lnTo>
                    <a:lnTo>
                      <a:pt x="1143" y="560"/>
                    </a:lnTo>
                    <a:lnTo>
                      <a:pt x="1144" y="556"/>
                    </a:lnTo>
                    <a:lnTo>
                      <a:pt x="1139" y="556"/>
                    </a:lnTo>
                    <a:lnTo>
                      <a:pt x="1135" y="554"/>
                    </a:lnTo>
                    <a:lnTo>
                      <a:pt x="1133" y="551"/>
                    </a:lnTo>
                    <a:lnTo>
                      <a:pt x="1133" y="544"/>
                    </a:lnTo>
                    <a:lnTo>
                      <a:pt x="1137" y="531"/>
                    </a:lnTo>
                    <a:lnTo>
                      <a:pt x="1137" y="525"/>
                    </a:lnTo>
                    <a:lnTo>
                      <a:pt x="1134" y="515"/>
                    </a:lnTo>
                    <a:lnTo>
                      <a:pt x="1133" y="512"/>
                    </a:lnTo>
                    <a:lnTo>
                      <a:pt x="1128" y="509"/>
                    </a:lnTo>
                    <a:lnTo>
                      <a:pt x="1123" y="511"/>
                    </a:lnTo>
                    <a:lnTo>
                      <a:pt x="1115" y="517"/>
                    </a:lnTo>
                    <a:lnTo>
                      <a:pt x="1107" y="517"/>
                    </a:lnTo>
                    <a:lnTo>
                      <a:pt x="1099" y="520"/>
                    </a:lnTo>
                    <a:lnTo>
                      <a:pt x="1097" y="522"/>
                    </a:lnTo>
                    <a:lnTo>
                      <a:pt x="1094" y="529"/>
                    </a:lnTo>
                    <a:lnTo>
                      <a:pt x="1090" y="541"/>
                    </a:lnTo>
                    <a:lnTo>
                      <a:pt x="1091" y="556"/>
                    </a:lnTo>
                    <a:lnTo>
                      <a:pt x="1090" y="570"/>
                    </a:lnTo>
                    <a:lnTo>
                      <a:pt x="1086" y="574"/>
                    </a:lnTo>
                    <a:lnTo>
                      <a:pt x="1086" y="578"/>
                    </a:lnTo>
                    <a:lnTo>
                      <a:pt x="1094" y="582"/>
                    </a:lnTo>
                    <a:lnTo>
                      <a:pt x="1099" y="592"/>
                    </a:lnTo>
                    <a:lnTo>
                      <a:pt x="1099" y="599"/>
                    </a:lnTo>
                    <a:lnTo>
                      <a:pt x="1092" y="610"/>
                    </a:lnTo>
                    <a:lnTo>
                      <a:pt x="1092" y="613"/>
                    </a:lnTo>
                    <a:lnTo>
                      <a:pt x="1080" y="611"/>
                    </a:lnTo>
                    <a:lnTo>
                      <a:pt x="1069" y="614"/>
                    </a:lnTo>
                    <a:lnTo>
                      <a:pt x="1054" y="613"/>
                    </a:lnTo>
                    <a:lnTo>
                      <a:pt x="1046" y="615"/>
                    </a:lnTo>
                    <a:lnTo>
                      <a:pt x="1036" y="610"/>
                    </a:lnTo>
                    <a:lnTo>
                      <a:pt x="1026" y="609"/>
                    </a:lnTo>
                    <a:lnTo>
                      <a:pt x="1020" y="609"/>
                    </a:lnTo>
                    <a:lnTo>
                      <a:pt x="973" y="601"/>
                    </a:lnTo>
                    <a:lnTo>
                      <a:pt x="967" y="595"/>
                    </a:lnTo>
                    <a:lnTo>
                      <a:pt x="959" y="592"/>
                    </a:lnTo>
                    <a:lnTo>
                      <a:pt x="945" y="593"/>
                    </a:lnTo>
                    <a:lnTo>
                      <a:pt x="925" y="589"/>
                    </a:lnTo>
                    <a:lnTo>
                      <a:pt x="913" y="581"/>
                    </a:lnTo>
                    <a:lnTo>
                      <a:pt x="907" y="576"/>
                    </a:lnTo>
                    <a:lnTo>
                      <a:pt x="897" y="562"/>
                    </a:lnTo>
                    <a:lnTo>
                      <a:pt x="891" y="558"/>
                    </a:lnTo>
                    <a:lnTo>
                      <a:pt x="873" y="555"/>
                    </a:lnTo>
                    <a:lnTo>
                      <a:pt x="869" y="555"/>
                    </a:lnTo>
                    <a:lnTo>
                      <a:pt x="866" y="558"/>
                    </a:lnTo>
                    <a:lnTo>
                      <a:pt x="860" y="557"/>
                    </a:lnTo>
                    <a:lnTo>
                      <a:pt x="852" y="554"/>
                    </a:lnTo>
                    <a:lnTo>
                      <a:pt x="841" y="554"/>
                    </a:lnTo>
                    <a:lnTo>
                      <a:pt x="832" y="558"/>
                    </a:lnTo>
                    <a:lnTo>
                      <a:pt x="827" y="558"/>
                    </a:lnTo>
                    <a:lnTo>
                      <a:pt x="806" y="554"/>
                    </a:lnTo>
                    <a:lnTo>
                      <a:pt x="796" y="541"/>
                    </a:lnTo>
                    <a:lnTo>
                      <a:pt x="794" y="539"/>
                    </a:lnTo>
                    <a:lnTo>
                      <a:pt x="785" y="538"/>
                    </a:lnTo>
                    <a:lnTo>
                      <a:pt x="782" y="538"/>
                    </a:lnTo>
                    <a:lnTo>
                      <a:pt x="772" y="530"/>
                    </a:lnTo>
                    <a:lnTo>
                      <a:pt x="761" y="525"/>
                    </a:lnTo>
                    <a:lnTo>
                      <a:pt x="751" y="524"/>
                    </a:lnTo>
                    <a:lnTo>
                      <a:pt x="741" y="519"/>
                    </a:lnTo>
                    <a:lnTo>
                      <a:pt x="736" y="515"/>
                    </a:lnTo>
                    <a:lnTo>
                      <a:pt x="724" y="501"/>
                    </a:lnTo>
                    <a:lnTo>
                      <a:pt x="715" y="495"/>
                    </a:lnTo>
                    <a:lnTo>
                      <a:pt x="707" y="491"/>
                    </a:lnTo>
                    <a:lnTo>
                      <a:pt x="703" y="487"/>
                    </a:lnTo>
                    <a:lnTo>
                      <a:pt x="690" y="480"/>
                    </a:lnTo>
                    <a:lnTo>
                      <a:pt x="687" y="480"/>
                    </a:lnTo>
                    <a:lnTo>
                      <a:pt x="686" y="484"/>
                    </a:lnTo>
                    <a:lnTo>
                      <a:pt x="681" y="484"/>
                    </a:lnTo>
                    <a:lnTo>
                      <a:pt x="676" y="480"/>
                    </a:lnTo>
                    <a:lnTo>
                      <a:pt x="675" y="474"/>
                    </a:lnTo>
                    <a:lnTo>
                      <a:pt x="670" y="469"/>
                    </a:lnTo>
                    <a:lnTo>
                      <a:pt x="659" y="468"/>
                    </a:lnTo>
                    <a:lnTo>
                      <a:pt x="658" y="465"/>
                    </a:lnTo>
                    <a:lnTo>
                      <a:pt x="659" y="458"/>
                    </a:lnTo>
                    <a:lnTo>
                      <a:pt x="664" y="450"/>
                    </a:lnTo>
                    <a:lnTo>
                      <a:pt x="667" y="449"/>
                    </a:lnTo>
                    <a:lnTo>
                      <a:pt x="669" y="442"/>
                    </a:lnTo>
                    <a:lnTo>
                      <a:pt x="672" y="438"/>
                    </a:lnTo>
                    <a:lnTo>
                      <a:pt x="669" y="429"/>
                    </a:lnTo>
                    <a:lnTo>
                      <a:pt x="672" y="422"/>
                    </a:lnTo>
                    <a:lnTo>
                      <a:pt x="677" y="416"/>
                    </a:lnTo>
                    <a:lnTo>
                      <a:pt x="675" y="409"/>
                    </a:lnTo>
                    <a:lnTo>
                      <a:pt x="675" y="405"/>
                    </a:lnTo>
                    <a:lnTo>
                      <a:pt x="679" y="400"/>
                    </a:lnTo>
                    <a:lnTo>
                      <a:pt x="685" y="400"/>
                    </a:lnTo>
                    <a:lnTo>
                      <a:pt x="688" y="393"/>
                    </a:lnTo>
                    <a:lnTo>
                      <a:pt x="696" y="388"/>
                    </a:lnTo>
                    <a:lnTo>
                      <a:pt x="699" y="382"/>
                    </a:lnTo>
                    <a:lnTo>
                      <a:pt x="701" y="377"/>
                    </a:lnTo>
                    <a:lnTo>
                      <a:pt x="703" y="375"/>
                    </a:lnTo>
                    <a:lnTo>
                      <a:pt x="706" y="377"/>
                    </a:lnTo>
                    <a:lnTo>
                      <a:pt x="712" y="375"/>
                    </a:lnTo>
                    <a:lnTo>
                      <a:pt x="709" y="374"/>
                    </a:lnTo>
                    <a:lnTo>
                      <a:pt x="692" y="369"/>
                    </a:lnTo>
                    <a:lnTo>
                      <a:pt x="690" y="367"/>
                    </a:lnTo>
                    <a:lnTo>
                      <a:pt x="686" y="361"/>
                    </a:lnTo>
                    <a:lnTo>
                      <a:pt x="681" y="359"/>
                    </a:lnTo>
                    <a:lnTo>
                      <a:pt x="669" y="350"/>
                    </a:lnTo>
                    <a:lnTo>
                      <a:pt x="663" y="350"/>
                    </a:lnTo>
                    <a:lnTo>
                      <a:pt x="656" y="346"/>
                    </a:lnTo>
                    <a:lnTo>
                      <a:pt x="654" y="342"/>
                    </a:lnTo>
                    <a:lnTo>
                      <a:pt x="654" y="339"/>
                    </a:lnTo>
                    <a:lnTo>
                      <a:pt x="651" y="335"/>
                    </a:lnTo>
                    <a:lnTo>
                      <a:pt x="647" y="335"/>
                    </a:lnTo>
                    <a:lnTo>
                      <a:pt x="645" y="332"/>
                    </a:lnTo>
                    <a:lnTo>
                      <a:pt x="640" y="330"/>
                    </a:lnTo>
                    <a:lnTo>
                      <a:pt x="632" y="334"/>
                    </a:lnTo>
                    <a:lnTo>
                      <a:pt x="631" y="332"/>
                    </a:lnTo>
                    <a:lnTo>
                      <a:pt x="629" y="326"/>
                    </a:lnTo>
                    <a:lnTo>
                      <a:pt x="628" y="325"/>
                    </a:lnTo>
                    <a:lnTo>
                      <a:pt x="624" y="324"/>
                    </a:lnTo>
                    <a:lnTo>
                      <a:pt x="621" y="325"/>
                    </a:lnTo>
                    <a:lnTo>
                      <a:pt x="612" y="324"/>
                    </a:lnTo>
                    <a:lnTo>
                      <a:pt x="608" y="325"/>
                    </a:lnTo>
                    <a:lnTo>
                      <a:pt x="602" y="329"/>
                    </a:lnTo>
                    <a:lnTo>
                      <a:pt x="599" y="329"/>
                    </a:lnTo>
                    <a:lnTo>
                      <a:pt x="596" y="326"/>
                    </a:lnTo>
                    <a:lnTo>
                      <a:pt x="597" y="316"/>
                    </a:lnTo>
                    <a:lnTo>
                      <a:pt x="593" y="313"/>
                    </a:lnTo>
                    <a:lnTo>
                      <a:pt x="589" y="307"/>
                    </a:lnTo>
                    <a:lnTo>
                      <a:pt x="589" y="304"/>
                    </a:lnTo>
                    <a:lnTo>
                      <a:pt x="584" y="299"/>
                    </a:lnTo>
                    <a:lnTo>
                      <a:pt x="584" y="294"/>
                    </a:lnTo>
                    <a:lnTo>
                      <a:pt x="586" y="287"/>
                    </a:lnTo>
                    <a:lnTo>
                      <a:pt x="583" y="281"/>
                    </a:lnTo>
                    <a:lnTo>
                      <a:pt x="583" y="277"/>
                    </a:lnTo>
                    <a:lnTo>
                      <a:pt x="584" y="270"/>
                    </a:lnTo>
                    <a:lnTo>
                      <a:pt x="586" y="264"/>
                    </a:lnTo>
                    <a:lnTo>
                      <a:pt x="579" y="254"/>
                    </a:lnTo>
                    <a:lnTo>
                      <a:pt x="572" y="246"/>
                    </a:lnTo>
                    <a:lnTo>
                      <a:pt x="572" y="237"/>
                    </a:lnTo>
                    <a:lnTo>
                      <a:pt x="569" y="229"/>
                    </a:lnTo>
                    <a:lnTo>
                      <a:pt x="570" y="226"/>
                    </a:lnTo>
                    <a:lnTo>
                      <a:pt x="581" y="224"/>
                    </a:lnTo>
                    <a:lnTo>
                      <a:pt x="584" y="221"/>
                    </a:lnTo>
                    <a:lnTo>
                      <a:pt x="585" y="222"/>
                    </a:lnTo>
                    <a:lnTo>
                      <a:pt x="586" y="229"/>
                    </a:lnTo>
                    <a:lnTo>
                      <a:pt x="589" y="234"/>
                    </a:lnTo>
                    <a:lnTo>
                      <a:pt x="591" y="237"/>
                    </a:lnTo>
                    <a:lnTo>
                      <a:pt x="599" y="239"/>
                    </a:lnTo>
                    <a:lnTo>
                      <a:pt x="601" y="238"/>
                    </a:lnTo>
                    <a:lnTo>
                      <a:pt x="604" y="237"/>
                    </a:lnTo>
                    <a:lnTo>
                      <a:pt x="607" y="238"/>
                    </a:lnTo>
                    <a:lnTo>
                      <a:pt x="608" y="232"/>
                    </a:lnTo>
                    <a:lnTo>
                      <a:pt x="612" y="229"/>
                    </a:lnTo>
                    <a:lnTo>
                      <a:pt x="616" y="223"/>
                    </a:lnTo>
                    <a:lnTo>
                      <a:pt x="617" y="223"/>
                    </a:lnTo>
                    <a:lnTo>
                      <a:pt x="621" y="228"/>
                    </a:lnTo>
                    <a:lnTo>
                      <a:pt x="623" y="228"/>
                    </a:lnTo>
                    <a:lnTo>
                      <a:pt x="632" y="217"/>
                    </a:lnTo>
                    <a:lnTo>
                      <a:pt x="632" y="215"/>
                    </a:lnTo>
                    <a:lnTo>
                      <a:pt x="628" y="208"/>
                    </a:lnTo>
                    <a:lnTo>
                      <a:pt x="622" y="200"/>
                    </a:lnTo>
                    <a:lnTo>
                      <a:pt x="621" y="195"/>
                    </a:lnTo>
                    <a:lnTo>
                      <a:pt x="622" y="192"/>
                    </a:lnTo>
                    <a:lnTo>
                      <a:pt x="622" y="189"/>
                    </a:lnTo>
                    <a:lnTo>
                      <a:pt x="612" y="184"/>
                    </a:lnTo>
                    <a:lnTo>
                      <a:pt x="607" y="185"/>
                    </a:lnTo>
                    <a:lnTo>
                      <a:pt x="606" y="181"/>
                    </a:lnTo>
                    <a:lnTo>
                      <a:pt x="597" y="174"/>
                    </a:lnTo>
                    <a:lnTo>
                      <a:pt x="597" y="159"/>
                    </a:lnTo>
                    <a:lnTo>
                      <a:pt x="602" y="158"/>
                    </a:lnTo>
                    <a:lnTo>
                      <a:pt x="600" y="152"/>
                    </a:lnTo>
                    <a:lnTo>
                      <a:pt x="601" y="149"/>
                    </a:lnTo>
                    <a:lnTo>
                      <a:pt x="602" y="148"/>
                    </a:lnTo>
                    <a:lnTo>
                      <a:pt x="595" y="141"/>
                    </a:lnTo>
                    <a:lnTo>
                      <a:pt x="596" y="135"/>
                    </a:lnTo>
                    <a:lnTo>
                      <a:pt x="596" y="133"/>
                    </a:lnTo>
                    <a:lnTo>
                      <a:pt x="606" y="133"/>
                    </a:lnTo>
                    <a:lnTo>
                      <a:pt x="610" y="130"/>
                    </a:lnTo>
                    <a:lnTo>
                      <a:pt x="621" y="133"/>
                    </a:lnTo>
                    <a:lnTo>
                      <a:pt x="623" y="131"/>
                    </a:lnTo>
                    <a:lnTo>
                      <a:pt x="628" y="126"/>
                    </a:lnTo>
                    <a:lnTo>
                      <a:pt x="633" y="116"/>
                    </a:lnTo>
                    <a:lnTo>
                      <a:pt x="633" y="105"/>
                    </a:lnTo>
                    <a:lnTo>
                      <a:pt x="643" y="104"/>
                    </a:lnTo>
                    <a:lnTo>
                      <a:pt x="644" y="103"/>
                    </a:lnTo>
                    <a:lnTo>
                      <a:pt x="642" y="100"/>
                    </a:lnTo>
                    <a:lnTo>
                      <a:pt x="643" y="97"/>
                    </a:lnTo>
                    <a:lnTo>
                      <a:pt x="647" y="94"/>
                    </a:lnTo>
                    <a:lnTo>
                      <a:pt x="648" y="92"/>
                    </a:lnTo>
                    <a:lnTo>
                      <a:pt x="651" y="88"/>
                    </a:lnTo>
                    <a:lnTo>
                      <a:pt x="658" y="83"/>
                    </a:lnTo>
                    <a:lnTo>
                      <a:pt x="658" y="77"/>
                    </a:lnTo>
                    <a:lnTo>
                      <a:pt x="664" y="71"/>
                    </a:lnTo>
                    <a:lnTo>
                      <a:pt x="666" y="52"/>
                    </a:lnTo>
                    <a:lnTo>
                      <a:pt x="669" y="50"/>
                    </a:lnTo>
                    <a:lnTo>
                      <a:pt x="669" y="43"/>
                    </a:lnTo>
                    <a:lnTo>
                      <a:pt x="675" y="35"/>
                    </a:lnTo>
                    <a:lnTo>
                      <a:pt x="675" y="32"/>
                    </a:lnTo>
                    <a:lnTo>
                      <a:pt x="671" y="29"/>
                    </a:lnTo>
                    <a:lnTo>
                      <a:pt x="667" y="29"/>
                    </a:lnTo>
                    <a:lnTo>
                      <a:pt x="660" y="38"/>
                    </a:lnTo>
                    <a:lnTo>
                      <a:pt x="658" y="38"/>
                    </a:lnTo>
                    <a:lnTo>
                      <a:pt x="655" y="34"/>
                    </a:lnTo>
                    <a:lnTo>
                      <a:pt x="653" y="23"/>
                    </a:lnTo>
                    <a:lnTo>
                      <a:pt x="648" y="27"/>
                    </a:lnTo>
                    <a:lnTo>
                      <a:pt x="644" y="27"/>
                    </a:lnTo>
                    <a:lnTo>
                      <a:pt x="642" y="22"/>
                    </a:lnTo>
                    <a:lnTo>
                      <a:pt x="639" y="22"/>
                    </a:lnTo>
                    <a:lnTo>
                      <a:pt x="637" y="20"/>
                    </a:lnTo>
                    <a:lnTo>
                      <a:pt x="636" y="11"/>
                    </a:lnTo>
                    <a:lnTo>
                      <a:pt x="632" y="9"/>
                    </a:lnTo>
                    <a:lnTo>
                      <a:pt x="631" y="7"/>
                    </a:lnTo>
                    <a:lnTo>
                      <a:pt x="628" y="6"/>
                    </a:lnTo>
                    <a:lnTo>
                      <a:pt x="624" y="6"/>
                    </a:lnTo>
                    <a:lnTo>
                      <a:pt x="621" y="1"/>
                    </a:lnTo>
                    <a:lnTo>
                      <a:pt x="618" y="0"/>
                    </a:lnTo>
                    <a:lnTo>
                      <a:pt x="615" y="0"/>
                    </a:lnTo>
                    <a:lnTo>
                      <a:pt x="610" y="2"/>
                    </a:lnTo>
                    <a:lnTo>
                      <a:pt x="604" y="2"/>
                    </a:lnTo>
                    <a:lnTo>
                      <a:pt x="599" y="6"/>
                    </a:lnTo>
                    <a:lnTo>
                      <a:pt x="585" y="6"/>
                    </a:lnTo>
                    <a:lnTo>
                      <a:pt x="575" y="13"/>
                    </a:lnTo>
                    <a:lnTo>
                      <a:pt x="564" y="19"/>
                    </a:lnTo>
                    <a:lnTo>
                      <a:pt x="557" y="24"/>
                    </a:lnTo>
                    <a:lnTo>
                      <a:pt x="552" y="29"/>
                    </a:lnTo>
                    <a:lnTo>
                      <a:pt x="547" y="30"/>
                    </a:lnTo>
                    <a:lnTo>
                      <a:pt x="543" y="35"/>
                    </a:lnTo>
                    <a:lnTo>
                      <a:pt x="536" y="32"/>
                    </a:lnTo>
                    <a:lnTo>
                      <a:pt x="531" y="35"/>
                    </a:lnTo>
                    <a:lnTo>
                      <a:pt x="526" y="35"/>
                    </a:lnTo>
                    <a:lnTo>
                      <a:pt x="492" y="60"/>
                    </a:lnTo>
                    <a:lnTo>
                      <a:pt x="488" y="66"/>
                    </a:lnTo>
                    <a:lnTo>
                      <a:pt x="489" y="68"/>
                    </a:lnTo>
                    <a:lnTo>
                      <a:pt x="489" y="71"/>
                    </a:lnTo>
                    <a:lnTo>
                      <a:pt x="486" y="79"/>
                    </a:lnTo>
                    <a:lnTo>
                      <a:pt x="482" y="83"/>
                    </a:lnTo>
                    <a:lnTo>
                      <a:pt x="478" y="82"/>
                    </a:lnTo>
                    <a:lnTo>
                      <a:pt x="475" y="78"/>
                    </a:lnTo>
                    <a:lnTo>
                      <a:pt x="456" y="79"/>
                    </a:lnTo>
                    <a:lnTo>
                      <a:pt x="454" y="81"/>
                    </a:lnTo>
                    <a:lnTo>
                      <a:pt x="449" y="87"/>
                    </a:lnTo>
                    <a:lnTo>
                      <a:pt x="446" y="88"/>
                    </a:lnTo>
                    <a:lnTo>
                      <a:pt x="440" y="88"/>
                    </a:lnTo>
                    <a:lnTo>
                      <a:pt x="433" y="86"/>
                    </a:lnTo>
                    <a:lnTo>
                      <a:pt x="429" y="88"/>
                    </a:lnTo>
                    <a:lnTo>
                      <a:pt x="427" y="92"/>
                    </a:lnTo>
                    <a:lnTo>
                      <a:pt x="423" y="94"/>
                    </a:lnTo>
                    <a:lnTo>
                      <a:pt x="421" y="95"/>
                    </a:lnTo>
                    <a:lnTo>
                      <a:pt x="414" y="94"/>
                    </a:lnTo>
                    <a:lnTo>
                      <a:pt x="411" y="95"/>
                    </a:lnTo>
                    <a:lnTo>
                      <a:pt x="407" y="93"/>
                    </a:lnTo>
                    <a:lnTo>
                      <a:pt x="395" y="93"/>
                    </a:lnTo>
                    <a:lnTo>
                      <a:pt x="390" y="92"/>
                    </a:lnTo>
                    <a:lnTo>
                      <a:pt x="385" y="92"/>
                    </a:lnTo>
                    <a:lnTo>
                      <a:pt x="370" y="83"/>
                    </a:lnTo>
                    <a:lnTo>
                      <a:pt x="360" y="81"/>
                    </a:lnTo>
                    <a:lnTo>
                      <a:pt x="342" y="73"/>
                    </a:lnTo>
                    <a:lnTo>
                      <a:pt x="337" y="76"/>
                    </a:lnTo>
                    <a:lnTo>
                      <a:pt x="333" y="79"/>
                    </a:lnTo>
                    <a:lnTo>
                      <a:pt x="326" y="78"/>
                    </a:lnTo>
                    <a:lnTo>
                      <a:pt x="322" y="79"/>
                    </a:lnTo>
                    <a:lnTo>
                      <a:pt x="321" y="82"/>
                    </a:lnTo>
                    <a:lnTo>
                      <a:pt x="320" y="90"/>
                    </a:lnTo>
                    <a:lnTo>
                      <a:pt x="312" y="104"/>
                    </a:lnTo>
                    <a:lnTo>
                      <a:pt x="312" y="106"/>
                    </a:lnTo>
                    <a:lnTo>
                      <a:pt x="321" y="106"/>
                    </a:lnTo>
                    <a:lnTo>
                      <a:pt x="323" y="111"/>
                    </a:lnTo>
                    <a:lnTo>
                      <a:pt x="323" y="115"/>
                    </a:lnTo>
                    <a:lnTo>
                      <a:pt x="319" y="117"/>
                    </a:lnTo>
                    <a:lnTo>
                      <a:pt x="317" y="119"/>
                    </a:lnTo>
                    <a:lnTo>
                      <a:pt x="317" y="122"/>
                    </a:lnTo>
                    <a:lnTo>
                      <a:pt x="320" y="126"/>
                    </a:lnTo>
                    <a:lnTo>
                      <a:pt x="322" y="127"/>
                    </a:lnTo>
                    <a:lnTo>
                      <a:pt x="333" y="126"/>
                    </a:lnTo>
                    <a:lnTo>
                      <a:pt x="336" y="129"/>
                    </a:lnTo>
                    <a:lnTo>
                      <a:pt x="337" y="132"/>
                    </a:lnTo>
                    <a:lnTo>
                      <a:pt x="337" y="133"/>
                    </a:lnTo>
                    <a:lnTo>
                      <a:pt x="332" y="138"/>
                    </a:lnTo>
                    <a:lnTo>
                      <a:pt x="326" y="141"/>
                    </a:lnTo>
                    <a:lnTo>
                      <a:pt x="325" y="147"/>
                    </a:lnTo>
                    <a:lnTo>
                      <a:pt x="337" y="158"/>
                    </a:lnTo>
                    <a:lnTo>
                      <a:pt x="337" y="164"/>
                    </a:lnTo>
                    <a:lnTo>
                      <a:pt x="336" y="169"/>
                    </a:lnTo>
                    <a:lnTo>
                      <a:pt x="322" y="178"/>
                    </a:lnTo>
                    <a:lnTo>
                      <a:pt x="321" y="181"/>
                    </a:lnTo>
                    <a:lnTo>
                      <a:pt x="330" y="185"/>
                    </a:lnTo>
                    <a:lnTo>
                      <a:pt x="333" y="194"/>
                    </a:lnTo>
                    <a:lnTo>
                      <a:pt x="343" y="200"/>
                    </a:lnTo>
                    <a:lnTo>
                      <a:pt x="342" y="207"/>
                    </a:lnTo>
                    <a:lnTo>
                      <a:pt x="349" y="208"/>
                    </a:lnTo>
                    <a:lnTo>
                      <a:pt x="352" y="212"/>
                    </a:lnTo>
                    <a:lnTo>
                      <a:pt x="358" y="210"/>
                    </a:lnTo>
                    <a:lnTo>
                      <a:pt x="363" y="211"/>
                    </a:lnTo>
                    <a:lnTo>
                      <a:pt x="363" y="216"/>
                    </a:lnTo>
                    <a:lnTo>
                      <a:pt x="362" y="222"/>
                    </a:lnTo>
                    <a:lnTo>
                      <a:pt x="365" y="229"/>
                    </a:lnTo>
                    <a:lnTo>
                      <a:pt x="366" y="230"/>
                    </a:lnTo>
                    <a:lnTo>
                      <a:pt x="384" y="232"/>
                    </a:lnTo>
                    <a:lnTo>
                      <a:pt x="389" y="235"/>
                    </a:lnTo>
                    <a:lnTo>
                      <a:pt x="394" y="234"/>
                    </a:lnTo>
                    <a:lnTo>
                      <a:pt x="400" y="242"/>
                    </a:lnTo>
                    <a:lnTo>
                      <a:pt x="398" y="246"/>
                    </a:lnTo>
                    <a:lnTo>
                      <a:pt x="401" y="250"/>
                    </a:lnTo>
                    <a:lnTo>
                      <a:pt x="396" y="255"/>
                    </a:lnTo>
                    <a:lnTo>
                      <a:pt x="394" y="259"/>
                    </a:lnTo>
                    <a:lnTo>
                      <a:pt x="386" y="260"/>
                    </a:lnTo>
                    <a:lnTo>
                      <a:pt x="382" y="260"/>
                    </a:lnTo>
                    <a:lnTo>
                      <a:pt x="380" y="259"/>
                    </a:lnTo>
                    <a:lnTo>
                      <a:pt x="375" y="260"/>
                    </a:lnTo>
                    <a:lnTo>
                      <a:pt x="373" y="262"/>
                    </a:lnTo>
                    <a:lnTo>
                      <a:pt x="362" y="267"/>
                    </a:lnTo>
                    <a:lnTo>
                      <a:pt x="358" y="275"/>
                    </a:lnTo>
                    <a:lnTo>
                      <a:pt x="357" y="286"/>
                    </a:lnTo>
                    <a:lnTo>
                      <a:pt x="362" y="292"/>
                    </a:lnTo>
                    <a:lnTo>
                      <a:pt x="360" y="297"/>
                    </a:lnTo>
                    <a:lnTo>
                      <a:pt x="363" y="298"/>
                    </a:lnTo>
                    <a:lnTo>
                      <a:pt x="364" y="301"/>
                    </a:lnTo>
                    <a:lnTo>
                      <a:pt x="363" y="304"/>
                    </a:lnTo>
                    <a:lnTo>
                      <a:pt x="358" y="308"/>
                    </a:lnTo>
                    <a:lnTo>
                      <a:pt x="357" y="314"/>
                    </a:lnTo>
                    <a:lnTo>
                      <a:pt x="357" y="316"/>
                    </a:lnTo>
                    <a:lnTo>
                      <a:pt x="359" y="318"/>
                    </a:lnTo>
                    <a:lnTo>
                      <a:pt x="369" y="318"/>
                    </a:lnTo>
                    <a:lnTo>
                      <a:pt x="371" y="324"/>
                    </a:lnTo>
                    <a:lnTo>
                      <a:pt x="369" y="326"/>
                    </a:lnTo>
                    <a:lnTo>
                      <a:pt x="365" y="328"/>
                    </a:lnTo>
                    <a:lnTo>
                      <a:pt x="362" y="326"/>
                    </a:lnTo>
                    <a:lnTo>
                      <a:pt x="359" y="324"/>
                    </a:lnTo>
                    <a:lnTo>
                      <a:pt x="357" y="331"/>
                    </a:lnTo>
                    <a:lnTo>
                      <a:pt x="343" y="336"/>
                    </a:lnTo>
                    <a:lnTo>
                      <a:pt x="331" y="352"/>
                    </a:lnTo>
                    <a:lnTo>
                      <a:pt x="326" y="355"/>
                    </a:lnTo>
                    <a:lnTo>
                      <a:pt x="321" y="361"/>
                    </a:lnTo>
                    <a:lnTo>
                      <a:pt x="317" y="366"/>
                    </a:lnTo>
                    <a:lnTo>
                      <a:pt x="316" y="372"/>
                    </a:lnTo>
                    <a:lnTo>
                      <a:pt x="317" y="380"/>
                    </a:lnTo>
                    <a:lnTo>
                      <a:pt x="314" y="388"/>
                    </a:lnTo>
                    <a:lnTo>
                      <a:pt x="305" y="393"/>
                    </a:lnTo>
                    <a:lnTo>
                      <a:pt x="298" y="393"/>
                    </a:lnTo>
                    <a:lnTo>
                      <a:pt x="292" y="398"/>
                    </a:lnTo>
                    <a:lnTo>
                      <a:pt x="287" y="406"/>
                    </a:lnTo>
                    <a:lnTo>
                      <a:pt x="283" y="417"/>
                    </a:lnTo>
                    <a:lnTo>
                      <a:pt x="277" y="428"/>
                    </a:lnTo>
                    <a:lnTo>
                      <a:pt x="262" y="450"/>
                    </a:lnTo>
                    <a:lnTo>
                      <a:pt x="256" y="457"/>
                    </a:lnTo>
                    <a:lnTo>
                      <a:pt x="244" y="464"/>
                    </a:lnTo>
                    <a:lnTo>
                      <a:pt x="233" y="474"/>
                    </a:lnTo>
                    <a:lnTo>
                      <a:pt x="229" y="479"/>
                    </a:lnTo>
                    <a:lnTo>
                      <a:pt x="219" y="495"/>
                    </a:lnTo>
                    <a:lnTo>
                      <a:pt x="212" y="504"/>
                    </a:lnTo>
                    <a:lnTo>
                      <a:pt x="204" y="519"/>
                    </a:lnTo>
                    <a:lnTo>
                      <a:pt x="199" y="522"/>
                    </a:lnTo>
                    <a:lnTo>
                      <a:pt x="195" y="523"/>
                    </a:lnTo>
                    <a:lnTo>
                      <a:pt x="172" y="523"/>
                    </a:lnTo>
                    <a:lnTo>
                      <a:pt x="169" y="524"/>
                    </a:lnTo>
                    <a:lnTo>
                      <a:pt x="161" y="527"/>
                    </a:lnTo>
                    <a:lnTo>
                      <a:pt x="156" y="533"/>
                    </a:lnTo>
                    <a:lnTo>
                      <a:pt x="152" y="534"/>
                    </a:lnTo>
                    <a:lnTo>
                      <a:pt x="149" y="533"/>
                    </a:lnTo>
                    <a:lnTo>
                      <a:pt x="147" y="528"/>
                    </a:lnTo>
                    <a:lnTo>
                      <a:pt x="139" y="514"/>
                    </a:lnTo>
                    <a:lnTo>
                      <a:pt x="136" y="512"/>
                    </a:lnTo>
                    <a:lnTo>
                      <a:pt x="132" y="513"/>
                    </a:lnTo>
                    <a:lnTo>
                      <a:pt x="122" y="522"/>
                    </a:lnTo>
                    <a:lnTo>
                      <a:pt x="118" y="528"/>
                    </a:lnTo>
                    <a:lnTo>
                      <a:pt x="107" y="538"/>
                    </a:lnTo>
                    <a:lnTo>
                      <a:pt x="93" y="556"/>
                    </a:lnTo>
                    <a:lnTo>
                      <a:pt x="85" y="563"/>
                    </a:lnTo>
                    <a:lnTo>
                      <a:pt x="83" y="570"/>
                    </a:lnTo>
                    <a:lnTo>
                      <a:pt x="79" y="588"/>
                    </a:lnTo>
                    <a:lnTo>
                      <a:pt x="79" y="593"/>
                    </a:lnTo>
                    <a:lnTo>
                      <a:pt x="81" y="598"/>
                    </a:lnTo>
                    <a:lnTo>
                      <a:pt x="88" y="601"/>
                    </a:lnTo>
                    <a:lnTo>
                      <a:pt x="94" y="600"/>
                    </a:lnTo>
                    <a:lnTo>
                      <a:pt x="101" y="603"/>
                    </a:lnTo>
                    <a:lnTo>
                      <a:pt x="111" y="603"/>
                    </a:lnTo>
                    <a:lnTo>
                      <a:pt x="113" y="604"/>
                    </a:lnTo>
                    <a:lnTo>
                      <a:pt x="117" y="608"/>
                    </a:lnTo>
                    <a:lnTo>
                      <a:pt x="118" y="611"/>
                    </a:lnTo>
                    <a:lnTo>
                      <a:pt x="118" y="616"/>
                    </a:lnTo>
                    <a:lnTo>
                      <a:pt x="112" y="636"/>
                    </a:lnTo>
                    <a:lnTo>
                      <a:pt x="112" y="641"/>
                    </a:lnTo>
                    <a:lnTo>
                      <a:pt x="113" y="646"/>
                    </a:lnTo>
                    <a:lnTo>
                      <a:pt x="123" y="657"/>
                    </a:lnTo>
                    <a:lnTo>
                      <a:pt x="127" y="658"/>
                    </a:lnTo>
                    <a:lnTo>
                      <a:pt x="137" y="654"/>
                    </a:lnTo>
                    <a:lnTo>
                      <a:pt x="139" y="655"/>
                    </a:lnTo>
                    <a:lnTo>
                      <a:pt x="142" y="658"/>
                    </a:lnTo>
                    <a:lnTo>
                      <a:pt x="142" y="669"/>
                    </a:lnTo>
                    <a:lnTo>
                      <a:pt x="143" y="678"/>
                    </a:lnTo>
                    <a:lnTo>
                      <a:pt x="148" y="685"/>
                    </a:lnTo>
                    <a:lnTo>
                      <a:pt x="150" y="692"/>
                    </a:lnTo>
                    <a:lnTo>
                      <a:pt x="155" y="698"/>
                    </a:lnTo>
                    <a:lnTo>
                      <a:pt x="160" y="703"/>
                    </a:lnTo>
                    <a:lnTo>
                      <a:pt x="160" y="706"/>
                    </a:lnTo>
                    <a:lnTo>
                      <a:pt x="164" y="711"/>
                    </a:lnTo>
                    <a:lnTo>
                      <a:pt x="165" y="714"/>
                    </a:lnTo>
                    <a:lnTo>
                      <a:pt x="160" y="716"/>
                    </a:lnTo>
                    <a:lnTo>
                      <a:pt x="160" y="718"/>
                    </a:lnTo>
                    <a:lnTo>
                      <a:pt x="160" y="728"/>
                    </a:lnTo>
                    <a:lnTo>
                      <a:pt x="159" y="732"/>
                    </a:lnTo>
                    <a:lnTo>
                      <a:pt x="166" y="733"/>
                    </a:lnTo>
                    <a:lnTo>
                      <a:pt x="166" y="735"/>
                    </a:lnTo>
                    <a:lnTo>
                      <a:pt x="159" y="735"/>
                    </a:lnTo>
                    <a:lnTo>
                      <a:pt x="154" y="739"/>
                    </a:lnTo>
                    <a:lnTo>
                      <a:pt x="154" y="741"/>
                    </a:lnTo>
                    <a:lnTo>
                      <a:pt x="150" y="743"/>
                    </a:lnTo>
                    <a:lnTo>
                      <a:pt x="147" y="743"/>
                    </a:lnTo>
                    <a:lnTo>
                      <a:pt x="140" y="743"/>
                    </a:lnTo>
                    <a:lnTo>
                      <a:pt x="139" y="740"/>
                    </a:lnTo>
                    <a:lnTo>
                      <a:pt x="138" y="739"/>
                    </a:lnTo>
                    <a:lnTo>
                      <a:pt x="139" y="733"/>
                    </a:lnTo>
                    <a:lnTo>
                      <a:pt x="139" y="732"/>
                    </a:lnTo>
                    <a:lnTo>
                      <a:pt x="132" y="730"/>
                    </a:lnTo>
                    <a:lnTo>
                      <a:pt x="127" y="734"/>
                    </a:lnTo>
                    <a:lnTo>
                      <a:pt x="115" y="738"/>
                    </a:lnTo>
                    <a:lnTo>
                      <a:pt x="111" y="745"/>
                    </a:lnTo>
                    <a:lnTo>
                      <a:pt x="110" y="746"/>
                    </a:lnTo>
                    <a:lnTo>
                      <a:pt x="107" y="746"/>
                    </a:lnTo>
                    <a:lnTo>
                      <a:pt x="93" y="746"/>
                    </a:lnTo>
                    <a:lnTo>
                      <a:pt x="84" y="739"/>
                    </a:lnTo>
                    <a:lnTo>
                      <a:pt x="78" y="741"/>
                    </a:lnTo>
                    <a:lnTo>
                      <a:pt x="74" y="739"/>
                    </a:lnTo>
                    <a:lnTo>
                      <a:pt x="62" y="740"/>
                    </a:lnTo>
                    <a:lnTo>
                      <a:pt x="58" y="739"/>
                    </a:lnTo>
                    <a:lnTo>
                      <a:pt x="52" y="740"/>
                    </a:lnTo>
                    <a:lnTo>
                      <a:pt x="48" y="739"/>
                    </a:lnTo>
                    <a:lnTo>
                      <a:pt x="47" y="740"/>
                    </a:lnTo>
                    <a:lnTo>
                      <a:pt x="46" y="740"/>
                    </a:lnTo>
                    <a:lnTo>
                      <a:pt x="43" y="735"/>
                    </a:lnTo>
                    <a:lnTo>
                      <a:pt x="41" y="735"/>
                    </a:lnTo>
                    <a:lnTo>
                      <a:pt x="40" y="740"/>
                    </a:lnTo>
                    <a:lnTo>
                      <a:pt x="40" y="757"/>
                    </a:lnTo>
                    <a:lnTo>
                      <a:pt x="20" y="757"/>
                    </a:lnTo>
                    <a:lnTo>
                      <a:pt x="16" y="759"/>
                    </a:lnTo>
                    <a:lnTo>
                      <a:pt x="11" y="757"/>
                    </a:lnTo>
                    <a:lnTo>
                      <a:pt x="9" y="762"/>
                    </a:lnTo>
                    <a:lnTo>
                      <a:pt x="7" y="764"/>
                    </a:lnTo>
                    <a:lnTo>
                      <a:pt x="5" y="767"/>
                    </a:lnTo>
                    <a:lnTo>
                      <a:pt x="0" y="771"/>
                    </a:lnTo>
                    <a:lnTo>
                      <a:pt x="0" y="773"/>
                    </a:lnTo>
                    <a:lnTo>
                      <a:pt x="2" y="782"/>
                    </a:lnTo>
                    <a:lnTo>
                      <a:pt x="9" y="782"/>
                    </a:lnTo>
                    <a:lnTo>
                      <a:pt x="13" y="791"/>
                    </a:lnTo>
                    <a:lnTo>
                      <a:pt x="27" y="809"/>
                    </a:lnTo>
                    <a:lnTo>
                      <a:pt x="37" y="820"/>
                    </a:lnTo>
                    <a:lnTo>
                      <a:pt x="47" y="825"/>
                    </a:lnTo>
                    <a:lnTo>
                      <a:pt x="67" y="827"/>
                    </a:lnTo>
                    <a:lnTo>
                      <a:pt x="89" y="825"/>
                    </a:lnTo>
                    <a:lnTo>
                      <a:pt x="105" y="821"/>
                    </a:lnTo>
                    <a:lnTo>
                      <a:pt x="113" y="818"/>
                    </a:lnTo>
                    <a:lnTo>
                      <a:pt x="117" y="810"/>
                    </a:lnTo>
                    <a:lnTo>
                      <a:pt x="122" y="808"/>
                    </a:lnTo>
                    <a:lnTo>
                      <a:pt x="124" y="814"/>
                    </a:lnTo>
                    <a:lnTo>
                      <a:pt x="117" y="834"/>
                    </a:lnTo>
                    <a:lnTo>
                      <a:pt x="106" y="843"/>
                    </a:lnTo>
                    <a:lnTo>
                      <a:pt x="96" y="850"/>
                    </a:lnTo>
                    <a:lnTo>
                      <a:pt x="84" y="852"/>
                    </a:lnTo>
                    <a:lnTo>
                      <a:pt x="70" y="854"/>
                    </a:lnTo>
                    <a:lnTo>
                      <a:pt x="59" y="857"/>
                    </a:lnTo>
                    <a:lnTo>
                      <a:pt x="51" y="850"/>
                    </a:lnTo>
                    <a:lnTo>
                      <a:pt x="47" y="854"/>
                    </a:lnTo>
                    <a:lnTo>
                      <a:pt x="50" y="870"/>
                    </a:lnTo>
                    <a:lnTo>
                      <a:pt x="90" y="911"/>
                    </a:lnTo>
                    <a:lnTo>
                      <a:pt x="104" y="926"/>
                    </a:lnTo>
                    <a:lnTo>
                      <a:pt x="124" y="944"/>
                    </a:lnTo>
                    <a:lnTo>
                      <a:pt x="131" y="945"/>
                    </a:lnTo>
                    <a:lnTo>
                      <a:pt x="156" y="947"/>
                    </a:lnTo>
                    <a:lnTo>
                      <a:pt x="167" y="944"/>
                    </a:lnTo>
                    <a:lnTo>
                      <a:pt x="174" y="943"/>
                    </a:lnTo>
                    <a:lnTo>
                      <a:pt x="183" y="936"/>
                    </a:lnTo>
                    <a:lnTo>
                      <a:pt x="190" y="936"/>
                    </a:lnTo>
                    <a:lnTo>
                      <a:pt x="207" y="924"/>
                    </a:lnTo>
                    <a:lnTo>
                      <a:pt x="213" y="916"/>
                    </a:lnTo>
                    <a:lnTo>
                      <a:pt x="218" y="906"/>
                    </a:lnTo>
                    <a:lnTo>
                      <a:pt x="219" y="879"/>
                    </a:lnTo>
                    <a:lnTo>
                      <a:pt x="222" y="867"/>
                    </a:lnTo>
                    <a:lnTo>
                      <a:pt x="224" y="852"/>
                    </a:lnTo>
                    <a:lnTo>
                      <a:pt x="226" y="856"/>
                    </a:lnTo>
                    <a:lnTo>
                      <a:pt x="229" y="857"/>
                    </a:lnTo>
                    <a:lnTo>
                      <a:pt x="258" y="858"/>
                    </a:lnTo>
                    <a:lnTo>
                      <a:pt x="260" y="859"/>
                    </a:lnTo>
                    <a:lnTo>
                      <a:pt x="253" y="866"/>
                    </a:lnTo>
                    <a:lnTo>
                      <a:pt x="242" y="866"/>
                    </a:lnTo>
                    <a:lnTo>
                      <a:pt x="239" y="879"/>
                    </a:lnTo>
                    <a:lnTo>
                      <a:pt x="241" y="880"/>
                    </a:lnTo>
                    <a:lnTo>
                      <a:pt x="240" y="891"/>
                    </a:lnTo>
                    <a:lnTo>
                      <a:pt x="242" y="894"/>
                    </a:lnTo>
                    <a:lnTo>
                      <a:pt x="249" y="897"/>
                    </a:lnTo>
                    <a:lnTo>
                      <a:pt x="242" y="911"/>
                    </a:lnTo>
                    <a:lnTo>
                      <a:pt x="242" y="922"/>
                    </a:lnTo>
                    <a:lnTo>
                      <a:pt x="242" y="924"/>
                    </a:lnTo>
                    <a:lnTo>
                      <a:pt x="246" y="924"/>
                    </a:lnTo>
                    <a:lnTo>
                      <a:pt x="249" y="928"/>
                    </a:lnTo>
                    <a:lnTo>
                      <a:pt x="249" y="934"/>
                    </a:lnTo>
                    <a:lnTo>
                      <a:pt x="255" y="952"/>
                    </a:lnTo>
                    <a:lnTo>
                      <a:pt x="256" y="963"/>
                    </a:lnTo>
                    <a:lnTo>
                      <a:pt x="256" y="971"/>
                    </a:lnTo>
                    <a:lnTo>
                      <a:pt x="250" y="987"/>
                    </a:lnTo>
                    <a:lnTo>
                      <a:pt x="247" y="998"/>
                    </a:lnTo>
                    <a:lnTo>
                      <a:pt x="247" y="1009"/>
                    </a:lnTo>
                    <a:lnTo>
                      <a:pt x="251" y="1028"/>
                    </a:lnTo>
                    <a:lnTo>
                      <a:pt x="253" y="1031"/>
                    </a:lnTo>
                    <a:lnTo>
                      <a:pt x="253" y="1047"/>
                    </a:lnTo>
                    <a:lnTo>
                      <a:pt x="257" y="1044"/>
                    </a:lnTo>
                    <a:lnTo>
                      <a:pt x="261" y="1041"/>
                    </a:lnTo>
                    <a:lnTo>
                      <a:pt x="262" y="1045"/>
                    </a:lnTo>
                    <a:lnTo>
                      <a:pt x="263" y="1052"/>
                    </a:lnTo>
                    <a:lnTo>
                      <a:pt x="261" y="1056"/>
                    </a:lnTo>
                    <a:lnTo>
                      <a:pt x="261" y="1060"/>
                    </a:lnTo>
                    <a:lnTo>
                      <a:pt x="260" y="1065"/>
                    </a:lnTo>
                    <a:lnTo>
                      <a:pt x="257" y="1084"/>
                    </a:lnTo>
                    <a:lnTo>
                      <a:pt x="263" y="1093"/>
                    </a:lnTo>
                    <a:lnTo>
                      <a:pt x="262" y="1096"/>
                    </a:lnTo>
                    <a:lnTo>
                      <a:pt x="265" y="1114"/>
                    </a:lnTo>
                    <a:lnTo>
                      <a:pt x="266" y="1114"/>
                    </a:lnTo>
                    <a:lnTo>
                      <a:pt x="273" y="1139"/>
                    </a:lnTo>
                    <a:lnTo>
                      <a:pt x="276" y="1147"/>
                    </a:lnTo>
                    <a:lnTo>
                      <a:pt x="276" y="1157"/>
                    </a:lnTo>
                    <a:lnTo>
                      <a:pt x="278" y="1163"/>
                    </a:lnTo>
                    <a:lnTo>
                      <a:pt x="282" y="1192"/>
                    </a:lnTo>
                    <a:lnTo>
                      <a:pt x="284" y="1201"/>
                    </a:lnTo>
                    <a:lnTo>
                      <a:pt x="289" y="1212"/>
                    </a:lnTo>
                    <a:lnTo>
                      <a:pt x="293" y="1214"/>
                    </a:lnTo>
                    <a:lnTo>
                      <a:pt x="295" y="1225"/>
                    </a:lnTo>
                    <a:lnTo>
                      <a:pt x="304" y="123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07" name="Freeform 149">
                <a:extLst>
                  <a:ext uri="{FF2B5EF4-FFF2-40B4-BE49-F238E27FC236}">
                    <a16:creationId xmlns:a16="http://schemas.microsoft.com/office/drawing/2014/main" id="{518B46FE-4337-9A76-F864-0CEB1D567CB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83" y="2052"/>
                <a:ext cx="184" cy="168"/>
              </a:xfrm>
              <a:custGeom>
                <a:avLst/>
                <a:gdLst>
                  <a:gd name="T0" fmla="*/ 4 w 921"/>
                  <a:gd name="T1" fmla="*/ 27 h 842"/>
                  <a:gd name="T2" fmla="*/ 4 w 921"/>
                  <a:gd name="T3" fmla="*/ 24 h 842"/>
                  <a:gd name="T4" fmla="*/ 0 w 921"/>
                  <a:gd name="T5" fmla="*/ 19 h 842"/>
                  <a:gd name="T6" fmla="*/ 4 w 921"/>
                  <a:gd name="T7" fmla="*/ 20 h 842"/>
                  <a:gd name="T8" fmla="*/ 7 w 921"/>
                  <a:gd name="T9" fmla="*/ 19 h 842"/>
                  <a:gd name="T10" fmla="*/ 12 w 921"/>
                  <a:gd name="T11" fmla="*/ 18 h 842"/>
                  <a:gd name="T12" fmla="*/ 13 w 921"/>
                  <a:gd name="T13" fmla="*/ 15 h 842"/>
                  <a:gd name="T14" fmla="*/ 15 w 921"/>
                  <a:gd name="T15" fmla="*/ 15 h 842"/>
                  <a:gd name="T16" fmla="*/ 16 w 921"/>
                  <a:gd name="T17" fmla="*/ 14 h 842"/>
                  <a:gd name="T18" fmla="*/ 17 w 921"/>
                  <a:gd name="T19" fmla="*/ 14 h 842"/>
                  <a:gd name="T20" fmla="*/ 19 w 921"/>
                  <a:gd name="T21" fmla="*/ 12 h 842"/>
                  <a:gd name="T22" fmla="*/ 20 w 921"/>
                  <a:gd name="T23" fmla="*/ 10 h 842"/>
                  <a:gd name="T24" fmla="*/ 20 w 921"/>
                  <a:gd name="T25" fmla="*/ 9 h 842"/>
                  <a:gd name="T26" fmla="*/ 22 w 921"/>
                  <a:gd name="T27" fmla="*/ 8 h 842"/>
                  <a:gd name="T28" fmla="*/ 22 w 921"/>
                  <a:gd name="T29" fmla="*/ 7 h 842"/>
                  <a:gd name="T30" fmla="*/ 23 w 921"/>
                  <a:gd name="T31" fmla="*/ 5 h 842"/>
                  <a:gd name="T32" fmla="*/ 23 w 921"/>
                  <a:gd name="T33" fmla="*/ 2 h 842"/>
                  <a:gd name="T34" fmla="*/ 24 w 921"/>
                  <a:gd name="T35" fmla="*/ 1 h 842"/>
                  <a:gd name="T36" fmla="*/ 26 w 921"/>
                  <a:gd name="T37" fmla="*/ 0 h 842"/>
                  <a:gd name="T38" fmla="*/ 29 w 921"/>
                  <a:gd name="T39" fmla="*/ 0 h 842"/>
                  <a:gd name="T40" fmla="*/ 31 w 921"/>
                  <a:gd name="T41" fmla="*/ 0 h 842"/>
                  <a:gd name="T42" fmla="*/ 32 w 921"/>
                  <a:gd name="T43" fmla="*/ 1 h 842"/>
                  <a:gd name="T44" fmla="*/ 33 w 921"/>
                  <a:gd name="T45" fmla="*/ 2 h 842"/>
                  <a:gd name="T46" fmla="*/ 34 w 921"/>
                  <a:gd name="T47" fmla="*/ 3 h 842"/>
                  <a:gd name="T48" fmla="*/ 36 w 921"/>
                  <a:gd name="T49" fmla="*/ 4 h 842"/>
                  <a:gd name="T50" fmla="*/ 35 w 921"/>
                  <a:gd name="T51" fmla="*/ 6 h 842"/>
                  <a:gd name="T52" fmla="*/ 33 w 921"/>
                  <a:gd name="T53" fmla="*/ 6 h 842"/>
                  <a:gd name="T54" fmla="*/ 32 w 921"/>
                  <a:gd name="T55" fmla="*/ 7 h 842"/>
                  <a:gd name="T56" fmla="*/ 29 w 921"/>
                  <a:gd name="T57" fmla="*/ 6 h 842"/>
                  <a:gd name="T58" fmla="*/ 29 w 921"/>
                  <a:gd name="T59" fmla="*/ 7 h 842"/>
                  <a:gd name="T60" fmla="*/ 29 w 921"/>
                  <a:gd name="T61" fmla="*/ 8 h 842"/>
                  <a:gd name="T62" fmla="*/ 29 w 921"/>
                  <a:gd name="T63" fmla="*/ 10 h 842"/>
                  <a:gd name="T64" fmla="*/ 30 w 921"/>
                  <a:gd name="T65" fmla="*/ 11 h 842"/>
                  <a:gd name="T66" fmla="*/ 32 w 921"/>
                  <a:gd name="T67" fmla="*/ 12 h 842"/>
                  <a:gd name="T68" fmla="*/ 31 w 921"/>
                  <a:gd name="T69" fmla="*/ 13 h 842"/>
                  <a:gd name="T70" fmla="*/ 30 w 921"/>
                  <a:gd name="T71" fmla="*/ 15 h 842"/>
                  <a:gd name="T72" fmla="*/ 31 w 921"/>
                  <a:gd name="T73" fmla="*/ 16 h 842"/>
                  <a:gd name="T74" fmla="*/ 29 w 921"/>
                  <a:gd name="T75" fmla="*/ 17 h 842"/>
                  <a:gd name="T76" fmla="*/ 27 w 921"/>
                  <a:gd name="T77" fmla="*/ 19 h 842"/>
                  <a:gd name="T78" fmla="*/ 25 w 921"/>
                  <a:gd name="T79" fmla="*/ 22 h 842"/>
                  <a:gd name="T80" fmla="*/ 22 w 921"/>
                  <a:gd name="T81" fmla="*/ 24 h 842"/>
                  <a:gd name="T82" fmla="*/ 21 w 921"/>
                  <a:gd name="T83" fmla="*/ 24 h 842"/>
                  <a:gd name="T84" fmla="*/ 19 w 921"/>
                  <a:gd name="T85" fmla="*/ 27 h 842"/>
                  <a:gd name="T86" fmla="*/ 20 w 921"/>
                  <a:gd name="T87" fmla="*/ 27 h 842"/>
                  <a:gd name="T88" fmla="*/ 21 w 921"/>
                  <a:gd name="T89" fmla="*/ 29 h 842"/>
                  <a:gd name="T90" fmla="*/ 22 w 921"/>
                  <a:gd name="T91" fmla="*/ 31 h 842"/>
                  <a:gd name="T92" fmla="*/ 22 w 921"/>
                  <a:gd name="T93" fmla="*/ 32 h 842"/>
                  <a:gd name="T94" fmla="*/ 21 w 921"/>
                  <a:gd name="T95" fmla="*/ 32 h 842"/>
                  <a:gd name="T96" fmla="*/ 19 w 921"/>
                  <a:gd name="T97" fmla="*/ 33 h 842"/>
                  <a:gd name="T98" fmla="*/ 18 w 921"/>
                  <a:gd name="T99" fmla="*/ 32 h 842"/>
                  <a:gd name="T100" fmla="*/ 16 w 921"/>
                  <a:gd name="T101" fmla="*/ 33 h 842"/>
                  <a:gd name="T102" fmla="*/ 15 w 921"/>
                  <a:gd name="T103" fmla="*/ 33 h 842"/>
                  <a:gd name="T104" fmla="*/ 13 w 921"/>
                  <a:gd name="T105" fmla="*/ 31 h 842"/>
                  <a:gd name="T106" fmla="*/ 10 w 921"/>
                  <a:gd name="T107" fmla="*/ 30 h 842"/>
                  <a:gd name="T108" fmla="*/ 7 w 921"/>
                  <a:gd name="T109" fmla="*/ 30 h 842"/>
                  <a:gd name="T110" fmla="*/ 2 w 921"/>
                  <a:gd name="T111" fmla="*/ 30 h 842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921"/>
                  <a:gd name="T169" fmla="*/ 0 h 842"/>
                  <a:gd name="T170" fmla="*/ 921 w 921"/>
                  <a:gd name="T171" fmla="*/ 842 h 842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921" h="842">
                    <a:moveTo>
                      <a:pt x="42" y="757"/>
                    </a:moveTo>
                    <a:lnTo>
                      <a:pt x="42" y="743"/>
                    </a:lnTo>
                    <a:lnTo>
                      <a:pt x="44" y="730"/>
                    </a:lnTo>
                    <a:lnTo>
                      <a:pt x="55" y="701"/>
                    </a:lnTo>
                    <a:lnTo>
                      <a:pt x="64" y="689"/>
                    </a:lnTo>
                    <a:lnTo>
                      <a:pt x="77" y="679"/>
                    </a:lnTo>
                    <a:lnTo>
                      <a:pt x="91" y="674"/>
                    </a:lnTo>
                    <a:lnTo>
                      <a:pt x="106" y="668"/>
                    </a:lnTo>
                    <a:lnTo>
                      <a:pt x="118" y="665"/>
                    </a:lnTo>
                    <a:lnTo>
                      <a:pt x="131" y="653"/>
                    </a:lnTo>
                    <a:lnTo>
                      <a:pt x="134" y="647"/>
                    </a:lnTo>
                    <a:lnTo>
                      <a:pt x="133" y="637"/>
                    </a:lnTo>
                    <a:lnTo>
                      <a:pt x="128" y="632"/>
                    </a:lnTo>
                    <a:lnTo>
                      <a:pt x="108" y="628"/>
                    </a:lnTo>
                    <a:lnTo>
                      <a:pt x="109" y="614"/>
                    </a:lnTo>
                    <a:lnTo>
                      <a:pt x="108" y="599"/>
                    </a:lnTo>
                    <a:lnTo>
                      <a:pt x="103" y="573"/>
                    </a:lnTo>
                    <a:lnTo>
                      <a:pt x="98" y="567"/>
                    </a:lnTo>
                    <a:lnTo>
                      <a:pt x="71" y="558"/>
                    </a:lnTo>
                    <a:lnTo>
                      <a:pt x="55" y="550"/>
                    </a:lnTo>
                    <a:lnTo>
                      <a:pt x="43" y="540"/>
                    </a:lnTo>
                    <a:lnTo>
                      <a:pt x="22" y="497"/>
                    </a:lnTo>
                    <a:lnTo>
                      <a:pt x="8" y="485"/>
                    </a:lnTo>
                    <a:lnTo>
                      <a:pt x="0" y="475"/>
                    </a:lnTo>
                    <a:lnTo>
                      <a:pt x="4" y="470"/>
                    </a:lnTo>
                    <a:lnTo>
                      <a:pt x="63" y="486"/>
                    </a:lnTo>
                    <a:lnTo>
                      <a:pt x="81" y="496"/>
                    </a:lnTo>
                    <a:lnTo>
                      <a:pt x="88" y="497"/>
                    </a:lnTo>
                    <a:lnTo>
                      <a:pt x="92" y="496"/>
                    </a:lnTo>
                    <a:lnTo>
                      <a:pt x="96" y="493"/>
                    </a:lnTo>
                    <a:lnTo>
                      <a:pt x="99" y="492"/>
                    </a:lnTo>
                    <a:lnTo>
                      <a:pt x="109" y="492"/>
                    </a:lnTo>
                    <a:lnTo>
                      <a:pt x="118" y="491"/>
                    </a:lnTo>
                    <a:lnTo>
                      <a:pt x="130" y="491"/>
                    </a:lnTo>
                    <a:lnTo>
                      <a:pt x="144" y="490"/>
                    </a:lnTo>
                    <a:lnTo>
                      <a:pt x="161" y="490"/>
                    </a:lnTo>
                    <a:lnTo>
                      <a:pt x="177" y="497"/>
                    </a:lnTo>
                    <a:lnTo>
                      <a:pt x="180" y="495"/>
                    </a:lnTo>
                    <a:lnTo>
                      <a:pt x="184" y="490"/>
                    </a:lnTo>
                    <a:lnTo>
                      <a:pt x="187" y="487"/>
                    </a:lnTo>
                    <a:lnTo>
                      <a:pt x="194" y="485"/>
                    </a:lnTo>
                    <a:lnTo>
                      <a:pt x="206" y="485"/>
                    </a:lnTo>
                    <a:lnTo>
                      <a:pt x="232" y="486"/>
                    </a:lnTo>
                    <a:lnTo>
                      <a:pt x="248" y="482"/>
                    </a:lnTo>
                    <a:lnTo>
                      <a:pt x="268" y="475"/>
                    </a:lnTo>
                    <a:lnTo>
                      <a:pt x="293" y="470"/>
                    </a:lnTo>
                    <a:lnTo>
                      <a:pt x="302" y="464"/>
                    </a:lnTo>
                    <a:lnTo>
                      <a:pt x="302" y="458"/>
                    </a:lnTo>
                    <a:lnTo>
                      <a:pt x="298" y="454"/>
                    </a:lnTo>
                    <a:lnTo>
                      <a:pt x="298" y="450"/>
                    </a:lnTo>
                    <a:lnTo>
                      <a:pt x="302" y="431"/>
                    </a:lnTo>
                    <a:lnTo>
                      <a:pt x="301" y="418"/>
                    </a:lnTo>
                    <a:lnTo>
                      <a:pt x="305" y="404"/>
                    </a:lnTo>
                    <a:lnTo>
                      <a:pt x="308" y="398"/>
                    </a:lnTo>
                    <a:lnTo>
                      <a:pt x="319" y="389"/>
                    </a:lnTo>
                    <a:lnTo>
                      <a:pt x="325" y="378"/>
                    </a:lnTo>
                    <a:lnTo>
                      <a:pt x="333" y="374"/>
                    </a:lnTo>
                    <a:lnTo>
                      <a:pt x="336" y="377"/>
                    </a:lnTo>
                    <a:lnTo>
                      <a:pt x="336" y="380"/>
                    </a:lnTo>
                    <a:lnTo>
                      <a:pt x="348" y="382"/>
                    </a:lnTo>
                    <a:lnTo>
                      <a:pt x="359" y="379"/>
                    </a:lnTo>
                    <a:lnTo>
                      <a:pt x="370" y="377"/>
                    </a:lnTo>
                    <a:lnTo>
                      <a:pt x="377" y="375"/>
                    </a:lnTo>
                    <a:lnTo>
                      <a:pt x="379" y="373"/>
                    </a:lnTo>
                    <a:lnTo>
                      <a:pt x="379" y="371"/>
                    </a:lnTo>
                    <a:lnTo>
                      <a:pt x="372" y="368"/>
                    </a:lnTo>
                    <a:lnTo>
                      <a:pt x="371" y="366"/>
                    </a:lnTo>
                    <a:lnTo>
                      <a:pt x="375" y="362"/>
                    </a:lnTo>
                    <a:lnTo>
                      <a:pt x="392" y="353"/>
                    </a:lnTo>
                    <a:lnTo>
                      <a:pt x="394" y="348"/>
                    </a:lnTo>
                    <a:lnTo>
                      <a:pt x="399" y="346"/>
                    </a:lnTo>
                    <a:lnTo>
                      <a:pt x="405" y="346"/>
                    </a:lnTo>
                    <a:lnTo>
                      <a:pt x="421" y="351"/>
                    </a:lnTo>
                    <a:lnTo>
                      <a:pt x="421" y="348"/>
                    </a:lnTo>
                    <a:lnTo>
                      <a:pt x="418" y="347"/>
                    </a:lnTo>
                    <a:lnTo>
                      <a:pt x="420" y="343"/>
                    </a:lnTo>
                    <a:lnTo>
                      <a:pt x="424" y="343"/>
                    </a:lnTo>
                    <a:lnTo>
                      <a:pt x="431" y="348"/>
                    </a:lnTo>
                    <a:lnTo>
                      <a:pt x="432" y="352"/>
                    </a:lnTo>
                    <a:lnTo>
                      <a:pt x="435" y="356"/>
                    </a:lnTo>
                    <a:lnTo>
                      <a:pt x="441" y="358"/>
                    </a:lnTo>
                    <a:lnTo>
                      <a:pt x="443" y="358"/>
                    </a:lnTo>
                    <a:lnTo>
                      <a:pt x="463" y="337"/>
                    </a:lnTo>
                    <a:lnTo>
                      <a:pt x="463" y="334"/>
                    </a:lnTo>
                    <a:lnTo>
                      <a:pt x="461" y="323"/>
                    </a:lnTo>
                    <a:lnTo>
                      <a:pt x="459" y="305"/>
                    </a:lnTo>
                    <a:lnTo>
                      <a:pt x="461" y="302"/>
                    </a:lnTo>
                    <a:lnTo>
                      <a:pt x="464" y="297"/>
                    </a:lnTo>
                    <a:lnTo>
                      <a:pt x="467" y="292"/>
                    </a:lnTo>
                    <a:lnTo>
                      <a:pt x="469" y="292"/>
                    </a:lnTo>
                    <a:lnTo>
                      <a:pt x="470" y="288"/>
                    </a:lnTo>
                    <a:lnTo>
                      <a:pt x="469" y="282"/>
                    </a:lnTo>
                    <a:lnTo>
                      <a:pt x="470" y="277"/>
                    </a:lnTo>
                    <a:lnTo>
                      <a:pt x="476" y="275"/>
                    </a:lnTo>
                    <a:lnTo>
                      <a:pt x="478" y="261"/>
                    </a:lnTo>
                    <a:lnTo>
                      <a:pt x="490" y="258"/>
                    </a:lnTo>
                    <a:lnTo>
                      <a:pt x="497" y="259"/>
                    </a:lnTo>
                    <a:lnTo>
                      <a:pt x="507" y="251"/>
                    </a:lnTo>
                    <a:lnTo>
                      <a:pt x="515" y="249"/>
                    </a:lnTo>
                    <a:lnTo>
                      <a:pt x="519" y="243"/>
                    </a:lnTo>
                    <a:lnTo>
                      <a:pt x="519" y="239"/>
                    </a:lnTo>
                    <a:lnTo>
                      <a:pt x="515" y="234"/>
                    </a:lnTo>
                    <a:lnTo>
                      <a:pt x="510" y="218"/>
                    </a:lnTo>
                    <a:lnTo>
                      <a:pt x="506" y="218"/>
                    </a:lnTo>
                    <a:lnTo>
                      <a:pt x="500" y="208"/>
                    </a:lnTo>
                    <a:lnTo>
                      <a:pt x="499" y="205"/>
                    </a:lnTo>
                    <a:lnTo>
                      <a:pt x="500" y="200"/>
                    </a:lnTo>
                    <a:lnTo>
                      <a:pt x="504" y="197"/>
                    </a:lnTo>
                    <a:lnTo>
                      <a:pt x="508" y="199"/>
                    </a:lnTo>
                    <a:lnTo>
                      <a:pt x="527" y="203"/>
                    </a:lnTo>
                    <a:lnTo>
                      <a:pt x="538" y="205"/>
                    </a:lnTo>
                    <a:lnTo>
                      <a:pt x="549" y="202"/>
                    </a:lnTo>
                    <a:lnTo>
                      <a:pt x="555" y="199"/>
                    </a:lnTo>
                    <a:lnTo>
                      <a:pt x="562" y="189"/>
                    </a:lnTo>
                    <a:lnTo>
                      <a:pt x="562" y="181"/>
                    </a:lnTo>
                    <a:lnTo>
                      <a:pt x="566" y="178"/>
                    </a:lnTo>
                    <a:lnTo>
                      <a:pt x="562" y="175"/>
                    </a:lnTo>
                    <a:lnTo>
                      <a:pt x="558" y="173"/>
                    </a:lnTo>
                    <a:lnTo>
                      <a:pt x="558" y="167"/>
                    </a:lnTo>
                    <a:lnTo>
                      <a:pt x="561" y="163"/>
                    </a:lnTo>
                    <a:lnTo>
                      <a:pt x="565" y="156"/>
                    </a:lnTo>
                    <a:lnTo>
                      <a:pt x="572" y="147"/>
                    </a:lnTo>
                    <a:lnTo>
                      <a:pt x="581" y="141"/>
                    </a:lnTo>
                    <a:lnTo>
                      <a:pt x="587" y="133"/>
                    </a:lnTo>
                    <a:lnTo>
                      <a:pt x="591" y="126"/>
                    </a:lnTo>
                    <a:lnTo>
                      <a:pt x="591" y="120"/>
                    </a:lnTo>
                    <a:lnTo>
                      <a:pt x="588" y="116"/>
                    </a:lnTo>
                    <a:lnTo>
                      <a:pt x="588" y="114"/>
                    </a:lnTo>
                    <a:lnTo>
                      <a:pt x="593" y="105"/>
                    </a:lnTo>
                    <a:lnTo>
                      <a:pt x="593" y="104"/>
                    </a:lnTo>
                    <a:lnTo>
                      <a:pt x="588" y="94"/>
                    </a:lnTo>
                    <a:lnTo>
                      <a:pt x="585" y="81"/>
                    </a:lnTo>
                    <a:lnTo>
                      <a:pt x="578" y="73"/>
                    </a:lnTo>
                    <a:lnTo>
                      <a:pt x="570" y="67"/>
                    </a:lnTo>
                    <a:lnTo>
                      <a:pt x="569" y="66"/>
                    </a:lnTo>
                    <a:lnTo>
                      <a:pt x="570" y="60"/>
                    </a:lnTo>
                    <a:lnTo>
                      <a:pt x="574" y="56"/>
                    </a:lnTo>
                    <a:lnTo>
                      <a:pt x="591" y="43"/>
                    </a:lnTo>
                    <a:lnTo>
                      <a:pt x="591" y="38"/>
                    </a:lnTo>
                    <a:lnTo>
                      <a:pt x="592" y="36"/>
                    </a:lnTo>
                    <a:lnTo>
                      <a:pt x="597" y="36"/>
                    </a:lnTo>
                    <a:lnTo>
                      <a:pt x="602" y="39"/>
                    </a:lnTo>
                    <a:lnTo>
                      <a:pt x="605" y="38"/>
                    </a:lnTo>
                    <a:lnTo>
                      <a:pt x="604" y="34"/>
                    </a:lnTo>
                    <a:lnTo>
                      <a:pt x="605" y="32"/>
                    </a:lnTo>
                    <a:lnTo>
                      <a:pt x="615" y="29"/>
                    </a:lnTo>
                    <a:lnTo>
                      <a:pt x="619" y="25"/>
                    </a:lnTo>
                    <a:lnTo>
                      <a:pt x="619" y="23"/>
                    </a:lnTo>
                    <a:lnTo>
                      <a:pt x="624" y="22"/>
                    </a:lnTo>
                    <a:lnTo>
                      <a:pt x="628" y="19"/>
                    </a:lnTo>
                    <a:lnTo>
                      <a:pt x="636" y="18"/>
                    </a:lnTo>
                    <a:lnTo>
                      <a:pt x="645" y="12"/>
                    </a:lnTo>
                    <a:lnTo>
                      <a:pt x="652" y="12"/>
                    </a:lnTo>
                    <a:lnTo>
                      <a:pt x="662" y="7"/>
                    </a:lnTo>
                    <a:lnTo>
                      <a:pt x="666" y="8"/>
                    </a:lnTo>
                    <a:lnTo>
                      <a:pt x="701" y="6"/>
                    </a:lnTo>
                    <a:lnTo>
                      <a:pt x="705" y="7"/>
                    </a:lnTo>
                    <a:lnTo>
                      <a:pt x="712" y="6"/>
                    </a:lnTo>
                    <a:lnTo>
                      <a:pt x="726" y="11"/>
                    </a:lnTo>
                    <a:lnTo>
                      <a:pt x="731" y="11"/>
                    </a:lnTo>
                    <a:lnTo>
                      <a:pt x="737" y="6"/>
                    </a:lnTo>
                    <a:lnTo>
                      <a:pt x="741" y="6"/>
                    </a:lnTo>
                    <a:lnTo>
                      <a:pt x="746" y="2"/>
                    </a:lnTo>
                    <a:lnTo>
                      <a:pt x="755" y="4"/>
                    </a:lnTo>
                    <a:lnTo>
                      <a:pt x="757" y="0"/>
                    </a:lnTo>
                    <a:lnTo>
                      <a:pt x="755" y="1"/>
                    </a:lnTo>
                    <a:lnTo>
                      <a:pt x="766" y="4"/>
                    </a:lnTo>
                    <a:lnTo>
                      <a:pt x="780" y="2"/>
                    </a:lnTo>
                    <a:lnTo>
                      <a:pt x="784" y="3"/>
                    </a:lnTo>
                    <a:lnTo>
                      <a:pt x="789" y="6"/>
                    </a:lnTo>
                    <a:lnTo>
                      <a:pt x="796" y="4"/>
                    </a:lnTo>
                    <a:lnTo>
                      <a:pt x="798" y="7"/>
                    </a:lnTo>
                    <a:lnTo>
                      <a:pt x="798" y="19"/>
                    </a:lnTo>
                    <a:lnTo>
                      <a:pt x="800" y="20"/>
                    </a:lnTo>
                    <a:lnTo>
                      <a:pt x="806" y="16"/>
                    </a:lnTo>
                    <a:lnTo>
                      <a:pt x="811" y="16"/>
                    </a:lnTo>
                    <a:lnTo>
                      <a:pt x="822" y="23"/>
                    </a:lnTo>
                    <a:lnTo>
                      <a:pt x="828" y="29"/>
                    </a:lnTo>
                    <a:lnTo>
                      <a:pt x="830" y="35"/>
                    </a:lnTo>
                    <a:lnTo>
                      <a:pt x="830" y="41"/>
                    </a:lnTo>
                    <a:lnTo>
                      <a:pt x="828" y="47"/>
                    </a:lnTo>
                    <a:lnTo>
                      <a:pt x="830" y="50"/>
                    </a:lnTo>
                    <a:lnTo>
                      <a:pt x="832" y="55"/>
                    </a:lnTo>
                    <a:lnTo>
                      <a:pt x="830" y="59"/>
                    </a:lnTo>
                    <a:lnTo>
                      <a:pt x="825" y="60"/>
                    </a:lnTo>
                    <a:lnTo>
                      <a:pt x="825" y="62"/>
                    </a:lnTo>
                    <a:lnTo>
                      <a:pt x="827" y="66"/>
                    </a:lnTo>
                    <a:lnTo>
                      <a:pt x="834" y="67"/>
                    </a:lnTo>
                    <a:lnTo>
                      <a:pt x="840" y="78"/>
                    </a:lnTo>
                    <a:lnTo>
                      <a:pt x="844" y="79"/>
                    </a:lnTo>
                    <a:lnTo>
                      <a:pt x="849" y="78"/>
                    </a:lnTo>
                    <a:lnTo>
                      <a:pt x="852" y="78"/>
                    </a:lnTo>
                    <a:lnTo>
                      <a:pt x="857" y="74"/>
                    </a:lnTo>
                    <a:lnTo>
                      <a:pt x="861" y="73"/>
                    </a:lnTo>
                    <a:lnTo>
                      <a:pt x="862" y="77"/>
                    </a:lnTo>
                    <a:lnTo>
                      <a:pt x="862" y="83"/>
                    </a:lnTo>
                    <a:lnTo>
                      <a:pt x="872" y="89"/>
                    </a:lnTo>
                    <a:lnTo>
                      <a:pt x="889" y="95"/>
                    </a:lnTo>
                    <a:lnTo>
                      <a:pt x="897" y="100"/>
                    </a:lnTo>
                    <a:lnTo>
                      <a:pt x="903" y="99"/>
                    </a:lnTo>
                    <a:lnTo>
                      <a:pt x="910" y="104"/>
                    </a:lnTo>
                    <a:lnTo>
                      <a:pt x="921" y="105"/>
                    </a:lnTo>
                    <a:lnTo>
                      <a:pt x="887" y="130"/>
                    </a:lnTo>
                    <a:lnTo>
                      <a:pt x="883" y="136"/>
                    </a:lnTo>
                    <a:lnTo>
                      <a:pt x="884" y="138"/>
                    </a:lnTo>
                    <a:lnTo>
                      <a:pt x="884" y="141"/>
                    </a:lnTo>
                    <a:lnTo>
                      <a:pt x="881" y="149"/>
                    </a:lnTo>
                    <a:lnTo>
                      <a:pt x="877" y="153"/>
                    </a:lnTo>
                    <a:lnTo>
                      <a:pt x="873" y="152"/>
                    </a:lnTo>
                    <a:lnTo>
                      <a:pt x="870" y="148"/>
                    </a:lnTo>
                    <a:lnTo>
                      <a:pt x="851" y="149"/>
                    </a:lnTo>
                    <a:lnTo>
                      <a:pt x="849" y="151"/>
                    </a:lnTo>
                    <a:lnTo>
                      <a:pt x="844" y="157"/>
                    </a:lnTo>
                    <a:lnTo>
                      <a:pt x="841" y="158"/>
                    </a:lnTo>
                    <a:lnTo>
                      <a:pt x="835" y="158"/>
                    </a:lnTo>
                    <a:lnTo>
                      <a:pt x="828" y="156"/>
                    </a:lnTo>
                    <a:lnTo>
                      <a:pt x="824" y="158"/>
                    </a:lnTo>
                    <a:lnTo>
                      <a:pt x="822" y="162"/>
                    </a:lnTo>
                    <a:lnTo>
                      <a:pt x="818" y="164"/>
                    </a:lnTo>
                    <a:lnTo>
                      <a:pt x="816" y="165"/>
                    </a:lnTo>
                    <a:lnTo>
                      <a:pt x="809" y="164"/>
                    </a:lnTo>
                    <a:lnTo>
                      <a:pt x="806" y="165"/>
                    </a:lnTo>
                    <a:lnTo>
                      <a:pt x="802" y="163"/>
                    </a:lnTo>
                    <a:lnTo>
                      <a:pt x="790" y="163"/>
                    </a:lnTo>
                    <a:lnTo>
                      <a:pt x="785" y="162"/>
                    </a:lnTo>
                    <a:lnTo>
                      <a:pt x="780" y="162"/>
                    </a:lnTo>
                    <a:lnTo>
                      <a:pt x="765" y="153"/>
                    </a:lnTo>
                    <a:lnTo>
                      <a:pt x="755" y="151"/>
                    </a:lnTo>
                    <a:lnTo>
                      <a:pt x="737" y="143"/>
                    </a:lnTo>
                    <a:lnTo>
                      <a:pt x="732" y="146"/>
                    </a:lnTo>
                    <a:lnTo>
                      <a:pt x="728" y="149"/>
                    </a:lnTo>
                    <a:lnTo>
                      <a:pt x="721" y="148"/>
                    </a:lnTo>
                    <a:lnTo>
                      <a:pt x="717" y="149"/>
                    </a:lnTo>
                    <a:lnTo>
                      <a:pt x="716" y="152"/>
                    </a:lnTo>
                    <a:lnTo>
                      <a:pt x="715" y="160"/>
                    </a:lnTo>
                    <a:lnTo>
                      <a:pt x="707" y="174"/>
                    </a:lnTo>
                    <a:lnTo>
                      <a:pt x="707" y="176"/>
                    </a:lnTo>
                    <a:lnTo>
                      <a:pt x="716" y="176"/>
                    </a:lnTo>
                    <a:lnTo>
                      <a:pt x="718" y="181"/>
                    </a:lnTo>
                    <a:lnTo>
                      <a:pt x="718" y="185"/>
                    </a:lnTo>
                    <a:lnTo>
                      <a:pt x="714" y="187"/>
                    </a:lnTo>
                    <a:lnTo>
                      <a:pt x="712" y="189"/>
                    </a:lnTo>
                    <a:lnTo>
                      <a:pt x="712" y="192"/>
                    </a:lnTo>
                    <a:lnTo>
                      <a:pt x="715" y="196"/>
                    </a:lnTo>
                    <a:lnTo>
                      <a:pt x="717" y="197"/>
                    </a:lnTo>
                    <a:lnTo>
                      <a:pt x="728" y="196"/>
                    </a:lnTo>
                    <a:lnTo>
                      <a:pt x="731" y="199"/>
                    </a:lnTo>
                    <a:lnTo>
                      <a:pt x="732" y="202"/>
                    </a:lnTo>
                    <a:lnTo>
                      <a:pt x="732" y="203"/>
                    </a:lnTo>
                    <a:lnTo>
                      <a:pt x="727" y="208"/>
                    </a:lnTo>
                    <a:lnTo>
                      <a:pt x="721" y="211"/>
                    </a:lnTo>
                    <a:lnTo>
                      <a:pt x="720" y="217"/>
                    </a:lnTo>
                    <a:lnTo>
                      <a:pt x="732" y="228"/>
                    </a:lnTo>
                    <a:lnTo>
                      <a:pt x="732" y="234"/>
                    </a:lnTo>
                    <a:lnTo>
                      <a:pt x="731" y="239"/>
                    </a:lnTo>
                    <a:lnTo>
                      <a:pt x="717" y="248"/>
                    </a:lnTo>
                    <a:lnTo>
                      <a:pt x="716" y="251"/>
                    </a:lnTo>
                    <a:lnTo>
                      <a:pt x="725" y="255"/>
                    </a:lnTo>
                    <a:lnTo>
                      <a:pt x="728" y="264"/>
                    </a:lnTo>
                    <a:lnTo>
                      <a:pt x="738" y="270"/>
                    </a:lnTo>
                    <a:lnTo>
                      <a:pt x="737" y="277"/>
                    </a:lnTo>
                    <a:lnTo>
                      <a:pt x="744" y="278"/>
                    </a:lnTo>
                    <a:lnTo>
                      <a:pt x="747" y="282"/>
                    </a:lnTo>
                    <a:lnTo>
                      <a:pt x="753" y="280"/>
                    </a:lnTo>
                    <a:lnTo>
                      <a:pt x="758" y="281"/>
                    </a:lnTo>
                    <a:lnTo>
                      <a:pt x="758" y="286"/>
                    </a:lnTo>
                    <a:lnTo>
                      <a:pt x="757" y="292"/>
                    </a:lnTo>
                    <a:lnTo>
                      <a:pt x="760" y="299"/>
                    </a:lnTo>
                    <a:lnTo>
                      <a:pt x="761" y="300"/>
                    </a:lnTo>
                    <a:lnTo>
                      <a:pt x="779" y="302"/>
                    </a:lnTo>
                    <a:lnTo>
                      <a:pt x="784" y="305"/>
                    </a:lnTo>
                    <a:lnTo>
                      <a:pt x="789" y="304"/>
                    </a:lnTo>
                    <a:lnTo>
                      <a:pt x="795" y="312"/>
                    </a:lnTo>
                    <a:lnTo>
                      <a:pt x="793" y="316"/>
                    </a:lnTo>
                    <a:lnTo>
                      <a:pt x="796" y="320"/>
                    </a:lnTo>
                    <a:lnTo>
                      <a:pt x="791" y="325"/>
                    </a:lnTo>
                    <a:lnTo>
                      <a:pt x="789" y="329"/>
                    </a:lnTo>
                    <a:lnTo>
                      <a:pt x="781" y="330"/>
                    </a:lnTo>
                    <a:lnTo>
                      <a:pt x="777" y="330"/>
                    </a:lnTo>
                    <a:lnTo>
                      <a:pt x="775" y="329"/>
                    </a:lnTo>
                    <a:lnTo>
                      <a:pt x="770" y="330"/>
                    </a:lnTo>
                    <a:lnTo>
                      <a:pt x="768" y="332"/>
                    </a:lnTo>
                    <a:lnTo>
                      <a:pt x="757" y="337"/>
                    </a:lnTo>
                    <a:lnTo>
                      <a:pt x="753" y="345"/>
                    </a:lnTo>
                    <a:lnTo>
                      <a:pt x="752" y="356"/>
                    </a:lnTo>
                    <a:lnTo>
                      <a:pt x="757" y="362"/>
                    </a:lnTo>
                    <a:lnTo>
                      <a:pt x="755" y="367"/>
                    </a:lnTo>
                    <a:lnTo>
                      <a:pt x="758" y="368"/>
                    </a:lnTo>
                    <a:lnTo>
                      <a:pt x="759" y="371"/>
                    </a:lnTo>
                    <a:lnTo>
                      <a:pt x="758" y="374"/>
                    </a:lnTo>
                    <a:lnTo>
                      <a:pt x="753" y="378"/>
                    </a:lnTo>
                    <a:lnTo>
                      <a:pt x="752" y="384"/>
                    </a:lnTo>
                    <a:lnTo>
                      <a:pt x="752" y="386"/>
                    </a:lnTo>
                    <a:lnTo>
                      <a:pt x="754" y="388"/>
                    </a:lnTo>
                    <a:lnTo>
                      <a:pt x="764" y="388"/>
                    </a:lnTo>
                    <a:lnTo>
                      <a:pt x="766" y="394"/>
                    </a:lnTo>
                    <a:lnTo>
                      <a:pt x="764" y="396"/>
                    </a:lnTo>
                    <a:lnTo>
                      <a:pt x="760" y="398"/>
                    </a:lnTo>
                    <a:lnTo>
                      <a:pt x="757" y="396"/>
                    </a:lnTo>
                    <a:lnTo>
                      <a:pt x="754" y="394"/>
                    </a:lnTo>
                    <a:lnTo>
                      <a:pt x="752" y="401"/>
                    </a:lnTo>
                    <a:lnTo>
                      <a:pt x="738" y="406"/>
                    </a:lnTo>
                    <a:lnTo>
                      <a:pt x="726" y="422"/>
                    </a:lnTo>
                    <a:lnTo>
                      <a:pt x="721" y="425"/>
                    </a:lnTo>
                    <a:lnTo>
                      <a:pt x="716" y="431"/>
                    </a:lnTo>
                    <a:lnTo>
                      <a:pt x="712" y="436"/>
                    </a:lnTo>
                    <a:lnTo>
                      <a:pt x="711" y="442"/>
                    </a:lnTo>
                    <a:lnTo>
                      <a:pt x="712" y="450"/>
                    </a:lnTo>
                    <a:lnTo>
                      <a:pt x="709" y="458"/>
                    </a:lnTo>
                    <a:lnTo>
                      <a:pt x="700" y="463"/>
                    </a:lnTo>
                    <a:lnTo>
                      <a:pt x="693" y="463"/>
                    </a:lnTo>
                    <a:lnTo>
                      <a:pt x="687" y="468"/>
                    </a:lnTo>
                    <a:lnTo>
                      <a:pt x="682" y="476"/>
                    </a:lnTo>
                    <a:lnTo>
                      <a:pt x="678" y="487"/>
                    </a:lnTo>
                    <a:lnTo>
                      <a:pt x="672" y="498"/>
                    </a:lnTo>
                    <a:lnTo>
                      <a:pt x="657" y="520"/>
                    </a:lnTo>
                    <a:lnTo>
                      <a:pt x="651" y="527"/>
                    </a:lnTo>
                    <a:lnTo>
                      <a:pt x="639" y="534"/>
                    </a:lnTo>
                    <a:lnTo>
                      <a:pt x="628" y="544"/>
                    </a:lnTo>
                    <a:lnTo>
                      <a:pt x="624" y="549"/>
                    </a:lnTo>
                    <a:lnTo>
                      <a:pt x="614" y="565"/>
                    </a:lnTo>
                    <a:lnTo>
                      <a:pt x="607" y="574"/>
                    </a:lnTo>
                    <a:lnTo>
                      <a:pt x="599" y="589"/>
                    </a:lnTo>
                    <a:lnTo>
                      <a:pt x="594" y="592"/>
                    </a:lnTo>
                    <a:lnTo>
                      <a:pt x="590" y="593"/>
                    </a:lnTo>
                    <a:lnTo>
                      <a:pt x="567" y="593"/>
                    </a:lnTo>
                    <a:lnTo>
                      <a:pt x="564" y="594"/>
                    </a:lnTo>
                    <a:lnTo>
                      <a:pt x="556" y="597"/>
                    </a:lnTo>
                    <a:lnTo>
                      <a:pt x="551" y="603"/>
                    </a:lnTo>
                    <a:lnTo>
                      <a:pt x="547" y="604"/>
                    </a:lnTo>
                    <a:lnTo>
                      <a:pt x="544" y="603"/>
                    </a:lnTo>
                    <a:lnTo>
                      <a:pt x="542" y="598"/>
                    </a:lnTo>
                    <a:lnTo>
                      <a:pt x="534" y="584"/>
                    </a:lnTo>
                    <a:lnTo>
                      <a:pt x="531" y="582"/>
                    </a:lnTo>
                    <a:lnTo>
                      <a:pt x="527" y="583"/>
                    </a:lnTo>
                    <a:lnTo>
                      <a:pt x="517" y="592"/>
                    </a:lnTo>
                    <a:lnTo>
                      <a:pt x="513" y="598"/>
                    </a:lnTo>
                    <a:lnTo>
                      <a:pt x="502" y="608"/>
                    </a:lnTo>
                    <a:lnTo>
                      <a:pt x="488" y="626"/>
                    </a:lnTo>
                    <a:lnTo>
                      <a:pt x="480" y="633"/>
                    </a:lnTo>
                    <a:lnTo>
                      <a:pt x="478" y="640"/>
                    </a:lnTo>
                    <a:lnTo>
                      <a:pt x="474" y="658"/>
                    </a:lnTo>
                    <a:lnTo>
                      <a:pt x="474" y="663"/>
                    </a:lnTo>
                    <a:lnTo>
                      <a:pt x="476" y="668"/>
                    </a:lnTo>
                    <a:lnTo>
                      <a:pt x="483" y="671"/>
                    </a:lnTo>
                    <a:lnTo>
                      <a:pt x="489" y="670"/>
                    </a:lnTo>
                    <a:lnTo>
                      <a:pt x="496" y="673"/>
                    </a:lnTo>
                    <a:lnTo>
                      <a:pt x="506" y="673"/>
                    </a:lnTo>
                    <a:lnTo>
                      <a:pt x="508" y="674"/>
                    </a:lnTo>
                    <a:lnTo>
                      <a:pt x="512" y="678"/>
                    </a:lnTo>
                    <a:lnTo>
                      <a:pt x="513" y="681"/>
                    </a:lnTo>
                    <a:lnTo>
                      <a:pt x="513" y="686"/>
                    </a:lnTo>
                    <a:lnTo>
                      <a:pt x="507" y="706"/>
                    </a:lnTo>
                    <a:lnTo>
                      <a:pt x="507" y="711"/>
                    </a:lnTo>
                    <a:lnTo>
                      <a:pt x="508" y="716"/>
                    </a:lnTo>
                    <a:lnTo>
                      <a:pt x="518" y="727"/>
                    </a:lnTo>
                    <a:lnTo>
                      <a:pt x="522" y="728"/>
                    </a:lnTo>
                    <a:lnTo>
                      <a:pt x="532" y="724"/>
                    </a:lnTo>
                    <a:lnTo>
                      <a:pt x="534" y="725"/>
                    </a:lnTo>
                    <a:lnTo>
                      <a:pt x="537" y="728"/>
                    </a:lnTo>
                    <a:lnTo>
                      <a:pt x="537" y="739"/>
                    </a:lnTo>
                    <a:lnTo>
                      <a:pt x="538" y="748"/>
                    </a:lnTo>
                    <a:lnTo>
                      <a:pt x="543" y="755"/>
                    </a:lnTo>
                    <a:lnTo>
                      <a:pt x="545" y="762"/>
                    </a:lnTo>
                    <a:lnTo>
                      <a:pt x="550" y="768"/>
                    </a:lnTo>
                    <a:lnTo>
                      <a:pt x="555" y="773"/>
                    </a:lnTo>
                    <a:lnTo>
                      <a:pt x="555" y="776"/>
                    </a:lnTo>
                    <a:lnTo>
                      <a:pt x="559" y="781"/>
                    </a:lnTo>
                    <a:lnTo>
                      <a:pt x="560" y="784"/>
                    </a:lnTo>
                    <a:lnTo>
                      <a:pt x="555" y="786"/>
                    </a:lnTo>
                    <a:lnTo>
                      <a:pt x="555" y="788"/>
                    </a:lnTo>
                    <a:lnTo>
                      <a:pt x="555" y="798"/>
                    </a:lnTo>
                    <a:lnTo>
                      <a:pt x="554" y="802"/>
                    </a:lnTo>
                    <a:lnTo>
                      <a:pt x="561" y="803"/>
                    </a:lnTo>
                    <a:lnTo>
                      <a:pt x="561" y="805"/>
                    </a:lnTo>
                    <a:lnTo>
                      <a:pt x="554" y="805"/>
                    </a:lnTo>
                    <a:lnTo>
                      <a:pt x="549" y="809"/>
                    </a:lnTo>
                    <a:lnTo>
                      <a:pt x="549" y="811"/>
                    </a:lnTo>
                    <a:lnTo>
                      <a:pt x="545" y="813"/>
                    </a:lnTo>
                    <a:lnTo>
                      <a:pt x="542" y="813"/>
                    </a:lnTo>
                    <a:lnTo>
                      <a:pt x="535" y="813"/>
                    </a:lnTo>
                    <a:lnTo>
                      <a:pt x="534" y="810"/>
                    </a:lnTo>
                    <a:lnTo>
                      <a:pt x="533" y="809"/>
                    </a:lnTo>
                    <a:lnTo>
                      <a:pt x="534" y="803"/>
                    </a:lnTo>
                    <a:lnTo>
                      <a:pt x="534" y="802"/>
                    </a:lnTo>
                    <a:lnTo>
                      <a:pt x="527" y="800"/>
                    </a:lnTo>
                    <a:lnTo>
                      <a:pt x="522" y="804"/>
                    </a:lnTo>
                    <a:lnTo>
                      <a:pt x="510" y="808"/>
                    </a:lnTo>
                    <a:lnTo>
                      <a:pt x="506" y="815"/>
                    </a:lnTo>
                    <a:lnTo>
                      <a:pt x="505" y="816"/>
                    </a:lnTo>
                    <a:lnTo>
                      <a:pt x="502" y="816"/>
                    </a:lnTo>
                    <a:lnTo>
                      <a:pt x="488" y="816"/>
                    </a:lnTo>
                    <a:lnTo>
                      <a:pt x="479" y="809"/>
                    </a:lnTo>
                    <a:lnTo>
                      <a:pt x="473" y="811"/>
                    </a:lnTo>
                    <a:lnTo>
                      <a:pt x="469" y="809"/>
                    </a:lnTo>
                    <a:lnTo>
                      <a:pt x="457" y="810"/>
                    </a:lnTo>
                    <a:lnTo>
                      <a:pt x="453" y="809"/>
                    </a:lnTo>
                    <a:lnTo>
                      <a:pt x="447" y="810"/>
                    </a:lnTo>
                    <a:lnTo>
                      <a:pt x="443" y="809"/>
                    </a:lnTo>
                    <a:lnTo>
                      <a:pt x="442" y="810"/>
                    </a:lnTo>
                    <a:lnTo>
                      <a:pt x="441" y="810"/>
                    </a:lnTo>
                    <a:lnTo>
                      <a:pt x="438" y="805"/>
                    </a:lnTo>
                    <a:lnTo>
                      <a:pt x="436" y="805"/>
                    </a:lnTo>
                    <a:lnTo>
                      <a:pt x="435" y="810"/>
                    </a:lnTo>
                    <a:lnTo>
                      <a:pt x="435" y="827"/>
                    </a:lnTo>
                    <a:lnTo>
                      <a:pt x="415" y="827"/>
                    </a:lnTo>
                    <a:lnTo>
                      <a:pt x="411" y="829"/>
                    </a:lnTo>
                    <a:lnTo>
                      <a:pt x="406" y="827"/>
                    </a:lnTo>
                    <a:lnTo>
                      <a:pt x="404" y="832"/>
                    </a:lnTo>
                    <a:lnTo>
                      <a:pt x="402" y="834"/>
                    </a:lnTo>
                    <a:lnTo>
                      <a:pt x="400" y="837"/>
                    </a:lnTo>
                    <a:lnTo>
                      <a:pt x="395" y="841"/>
                    </a:lnTo>
                    <a:lnTo>
                      <a:pt x="391" y="842"/>
                    </a:lnTo>
                    <a:lnTo>
                      <a:pt x="378" y="837"/>
                    </a:lnTo>
                    <a:lnTo>
                      <a:pt x="367" y="836"/>
                    </a:lnTo>
                    <a:lnTo>
                      <a:pt x="363" y="834"/>
                    </a:lnTo>
                    <a:lnTo>
                      <a:pt x="362" y="827"/>
                    </a:lnTo>
                    <a:lnTo>
                      <a:pt x="360" y="824"/>
                    </a:lnTo>
                    <a:lnTo>
                      <a:pt x="355" y="820"/>
                    </a:lnTo>
                    <a:lnTo>
                      <a:pt x="350" y="808"/>
                    </a:lnTo>
                    <a:lnTo>
                      <a:pt x="344" y="791"/>
                    </a:lnTo>
                    <a:lnTo>
                      <a:pt x="344" y="784"/>
                    </a:lnTo>
                    <a:lnTo>
                      <a:pt x="340" y="784"/>
                    </a:lnTo>
                    <a:lnTo>
                      <a:pt x="329" y="781"/>
                    </a:lnTo>
                    <a:lnTo>
                      <a:pt x="322" y="776"/>
                    </a:lnTo>
                    <a:lnTo>
                      <a:pt x="318" y="756"/>
                    </a:lnTo>
                    <a:lnTo>
                      <a:pt x="316" y="751"/>
                    </a:lnTo>
                    <a:lnTo>
                      <a:pt x="308" y="745"/>
                    </a:lnTo>
                    <a:lnTo>
                      <a:pt x="302" y="741"/>
                    </a:lnTo>
                    <a:lnTo>
                      <a:pt x="292" y="740"/>
                    </a:lnTo>
                    <a:lnTo>
                      <a:pt x="271" y="744"/>
                    </a:lnTo>
                    <a:lnTo>
                      <a:pt x="250" y="744"/>
                    </a:lnTo>
                    <a:lnTo>
                      <a:pt x="236" y="750"/>
                    </a:lnTo>
                    <a:lnTo>
                      <a:pt x="227" y="748"/>
                    </a:lnTo>
                    <a:lnTo>
                      <a:pt x="212" y="746"/>
                    </a:lnTo>
                    <a:lnTo>
                      <a:pt x="205" y="759"/>
                    </a:lnTo>
                    <a:lnTo>
                      <a:pt x="200" y="753"/>
                    </a:lnTo>
                    <a:lnTo>
                      <a:pt x="188" y="753"/>
                    </a:lnTo>
                    <a:lnTo>
                      <a:pt x="178" y="745"/>
                    </a:lnTo>
                    <a:lnTo>
                      <a:pt x="164" y="746"/>
                    </a:lnTo>
                    <a:lnTo>
                      <a:pt x="151" y="745"/>
                    </a:lnTo>
                    <a:lnTo>
                      <a:pt x="144" y="753"/>
                    </a:lnTo>
                    <a:lnTo>
                      <a:pt x="130" y="755"/>
                    </a:lnTo>
                    <a:lnTo>
                      <a:pt x="102" y="751"/>
                    </a:lnTo>
                    <a:lnTo>
                      <a:pt x="91" y="751"/>
                    </a:lnTo>
                    <a:lnTo>
                      <a:pt x="76" y="759"/>
                    </a:lnTo>
                    <a:lnTo>
                      <a:pt x="69" y="755"/>
                    </a:lnTo>
                    <a:lnTo>
                      <a:pt x="61" y="761"/>
                    </a:lnTo>
                    <a:lnTo>
                      <a:pt x="53" y="761"/>
                    </a:lnTo>
                    <a:lnTo>
                      <a:pt x="48" y="765"/>
                    </a:lnTo>
                    <a:lnTo>
                      <a:pt x="45" y="759"/>
                    </a:lnTo>
                    <a:lnTo>
                      <a:pt x="42" y="75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08" name="Freeform 150">
                <a:extLst>
                  <a:ext uri="{FF2B5EF4-FFF2-40B4-BE49-F238E27FC236}">
                    <a16:creationId xmlns:a16="http://schemas.microsoft.com/office/drawing/2014/main" id="{B3BBF75B-5FF8-808F-2E76-4B6B316DBC3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89" y="2165"/>
                <a:ext cx="37" cy="20"/>
              </a:xfrm>
              <a:custGeom>
                <a:avLst/>
                <a:gdLst>
                  <a:gd name="T0" fmla="*/ 6 w 187"/>
                  <a:gd name="T1" fmla="*/ 1 h 98"/>
                  <a:gd name="T2" fmla="*/ 6 w 187"/>
                  <a:gd name="T3" fmla="*/ 1 h 98"/>
                  <a:gd name="T4" fmla="*/ 6 w 187"/>
                  <a:gd name="T5" fmla="*/ 1 h 98"/>
                  <a:gd name="T6" fmla="*/ 6 w 187"/>
                  <a:gd name="T7" fmla="*/ 1 h 98"/>
                  <a:gd name="T8" fmla="*/ 6 w 187"/>
                  <a:gd name="T9" fmla="*/ 1 h 98"/>
                  <a:gd name="T10" fmla="*/ 5 w 187"/>
                  <a:gd name="T11" fmla="*/ 1 h 98"/>
                  <a:gd name="T12" fmla="*/ 5 w 187"/>
                  <a:gd name="T13" fmla="*/ 1 h 98"/>
                  <a:gd name="T14" fmla="*/ 4 w 187"/>
                  <a:gd name="T15" fmla="*/ 1 h 98"/>
                  <a:gd name="T16" fmla="*/ 4 w 187"/>
                  <a:gd name="T17" fmla="*/ 1 h 98"/>
                  <a:gd name="T18" fmla="*/ 4 w 187"/>
                  <a:gd name="T19" fmla="*/ 0 h 98"/>
                  <a:gd name="T20" fmla="*/ 4 w 187"/>
                  <a:gd name="T21" fmla="*/ 0 h 98"/>
                  <a:gd name="T22" fmla="*/ 3 w 187"/>
                  <a:gd name="T23" fmla="*/ 0 h 98"/>
                  <a:gd name="T24" fmla="*/ 3 w 187"/>
                  <a:gd name="T25" fmla="*/ 0 h 98"/>
                  <a:gd name="T26" fmla="*/ 3 w 187"/>
                  <a:gd name="T27" fmla="*/ 0 h 98"/>
                  <a:gd name="T28" fmla="*/ 2 w 187"/>
                  <a:gd name="T29" fmla="*/ 0 h 98"/>
                  <a:gd name="T30" fmla="*/ 2 w 187"/>
                  <a:gd name="T31" fmla="*/ 1 h 98"/>
                  <a:gd name="T32" fmla="*/ 1 w 187"/>
                  <a:gd name="T33" fmla="*/ 1 h 98"/>
                  <a:gd name="T34" fmla="*/ 0 w 187"/>
                  <a:gd name="T35" fmla="*/ 2 h 98"/>
                  <a:gd name="T36" fmla="*/ 0 w 187"/>
                  <a:gd name="T37" fmla="*/ 2 h 98"/>
                  <a:gd name="T38" fmla="*/ 0 w 187"/>
                  <a:gd name="T39" fmla="*/ 3 h 98"/>
                  <a:gd name="T40" fmla="*/ 0 w 187"/>
                  <a:gd name="T41" fmla="*/ 3 h 98"/>
                  <a:gd name="T42" fmla="*/ 0 w 187"/>
                  <a:gd name="T43" fmla="*/ 3 h 98"/>
                  <a:gd name="T44" fmla="*/ 0 w 187"/>
                  <a:gd name="T45" fmla="*/ 3 h 98"/>
                  <a:gd name="T46" fmla="*/ 0 w 187"/>
                  <a:gd name="T47" fmla="*/ 3 h 98"/>
                  <a:gd name="T48" fmla="*/ 0 w 187"/>
                  <a:gd name="T49" fmla="*/ 4 h 98"/>
                  <a:gd name="T50" fmla="*/ 0 w 187"/>
                  <a:gd name="T51" fmla="*/ 4 h 98"/>
                  <a:gd name="T52" fmla="*/ 0 w 187"/>
                  <a:gd name="T53" fmla="*/ 4 h 98"/>
                  <a:gd name="T54" fmla="*/ 1 w 187"/>
                  <a:gd name="T55" fmla="*/ 4 h 98"/>
                  <a:gd name="T56" fmla="*/ 1 w 187"/>
                  <a:gd name="T57" fmla="*/ 4 h 98"/>
                  <a:gd name="T58" fmla="*/ 2 w 187"/>
                  <a:gd name="T59" fmla="*/ 4 h 98"/>
                  <a:gd name="T60" fmla="*/ 3 w 187"/>
                  <a:gd name="T61" fmla="*/ 4 h 98"/>
                  <a:gd name="T62" fmla="*/ 4 w 187"/>
                  <a:gd name="T63" fmla="*/ 4 h 98"/>
                  <a:gd name="T64" fmla="*/ 4 w 187"/>
                  <a:gd name="T65" fmla="*/ 4 h 98"/>
                  <a:gd name="T66" fmla="*/ 4 w 187"/>
                  <a:gd name="T67" fmla="*/ 4 h 98"/>
                  <a:gd name="T68" fmla="*/ 5 w 187"/>
                  <a:gd name="T69" fmla="*/ 4 h 98"/>
                  <a:gd name="T70" fmla="*/ 5 w 187"/>
                  <a:gd name="T71" fmla="*/ 4 h 98"/>
                  <a:gd name="T72" fmla="*/ 6 w 187"/>
                  <a:gd name="T73" fmla="*/ 4 h 98"/>
                  <a:gd name="T74" fmla="*/ 6 w 187"/>
                  <a:gd name="T75" fmla="*/ 4 h 98"/>
                  <a:gd name="T76" fmla="*/ 7 w 187"/>
                  <a:gd name="T77" fmla="*/ 3 h 98"/>
                  <a:gd name="T78" fmla="*/ 7 w 187"/>
                  <a:gd name="T79" fmla="*/ 3 h 98"/>
                  <a:gd name="T80" fmla="*/ 7 w 187"/>
                  <a:gd name="T81" fmla="*/ 3 h 98"/>
                  <a:gd name="T82" fmla="*/ 7 w 187"/>
                  <a:gd name="T83" fmla="*/ 3 h 98"/>
                  <a:gd name="T84" fmla="*/ 7 w 187"/>
                  <a:gd name="T85" fmla="*/ 2 h 98"/>
                  <a:gd name="T86" fmla="*/ 7 w 187"/>
                  <a:gd name="T87" fmla="*/ 2 h 98"/>
                  <a:gd name="T88" fmla="*/ 6 w 187"/>
                  <a:gd name="T89" fmla="*/ 2 h 98"/>
                  <a:gd name="T90" fmla="*/ 6 w 187"/>
                  <a:gd name="T91" fmla="*/ 2 h 98"/>
                  <a:gd name="T92" fmla="*/ 6 w 187"/>
                  <a:gd name="T93" fmla="*/ 2 h 98"/>
                  <a:gd name="T94" fmla="*/ 6 w 187"/>
                  <a:gd name="T95" fmla="*/ 1 h 98"/>
                  <a:gd name="T96" fmla="*/ 6 w 187"/>
                  <a:gd name="T97" fmla="*/ 1 h 98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187"/>
                  <a:gd name="T148" fmla="*/ 0 h 98"/>
                  <a:gd name="T149" fmla="*/ 187 w 187"/>
                  <a:gd name="T150" fmla="*/ 98 h 98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187" h="98">
                    <a:moveTo>
                      <a:pt x="164" y="32"/>
                    </a:moveTo>
                    <a:lnTo>
                      <a:pt x="164" y="30"/>
                    </a:lnTo>
                    <a:lnTo>
                      <a:pt x="150" y="22"/>
                    </a:lnTo>
                    <a:lnTo>
                      <a:pt x="148" y="18"/>
                    </a:lnTo>
                    <a:lnTo>
                      <a:pt x="145" y="17"/>
                    </a:lnTo>
                    <a:lnTo>
                      <a:pt x="130" y="21"/>
                    </a:lnTo>
                    <a:lnTo>
                      <a:pt x="126" y="21"/>
                    </a:lnTo>
                    <a:lnTo>
                      <a:pt x="112" y="16"/>
                    </a:lnTo>
                    <a:lnTo>
                      <a:pt x="96" y="15"/>
                    </a:lnTo>
                    <a:lnTo>
                      <a:pt x="89" y="10"/>
                    </a:lnTo>
                    <a:lnTo>
                      <a:pt x="89" y="7"/>
                    </a:lnTo>
                    <a:lnTo>
                      <a:pt x="85" y="1"/>
                    </a:lnTo>
                    <a:lnTo>
                      <a:pt x="79" y="0"/>
                    </a:lnTo>
                    <a:lnTo>
                      <a:pt x="65" y="1"/>
                    </a:lnTo>
                    <a:lnTo>
                      <a:pt x="53" y="6"/>
                    </a:lnTo>
                    <a:lnTo>
                      <a:pt x="42" y="17"/>
                    </a:lnTo>
                    <a:lnTo>
                      <a:pt x="32" y="33"/>
                    </a:lnTo>
                    <a:lnTo>
                      <a:pt x="11" y="53"/>
                    </a:lnTo>
                    <a:lnTo>
                      <a:pt x="10" y="59"/>
                    </a:lnTo>
                    <a:lnTo>
                      <a:pt x="9" y="63"/>
                    </a:lnTo>
                    <a:lnTo>
                      <a:pt x="0" y="71"/>
                    </a:lnTo>
                    <a:lnTo>
                      <a:pt x="0" y="76"/>
                    </a:lnTo>
                    <a:lnTo>
                      <a:pt x="5" y="77"/>
                    </a:lnTo>
                    <a:lnTo>
                      <a:pt x="6" y="80"/>
                    </a:lnTo>
                    <a:lnTo>
                      <a:pt x="6" y="87"/>
                    </a:lnTo>
                    <a:lnTo>
                      <a:pt x="8" y="88"/>
                    </a:lnTo>
                    <a:lnTo>
                      <a:pt x="11" y="88"/>
                    </a:lnTo>
                    <a:lnTo>
                      <a:pt x="15" y="91"/>
                    </a:lnTo>
                    <a:lnTo>
                      <a:pt x="26" y="95"/>
                    </a:lnTo>
                    <a:lnTo>
                      <a:pt x="49" y="98"/>
                    </a:lnTo>
                    <a:lnTo>
                      <a:pt x="68" y="98"/>
                    </a:lnTo>
                    <a:lnTo>
                      <a:pt x="91" y="90"/>
                    </a:lnTo>
                    <a:lnTo>
                      <a:pt x="96" y="90"/>
                    </a:lnTo>
                    <a:lnTo>
                      <a:pt x="106" y="93"/>
                    </a:lnTo>
                    <a:lnTo>
                      <a:pt x="115" y="93"/>
                    </a:lnTo>
                    <a:lnTo>
                      <a:pt x="123" y="92"/>
                    </a:lnTo>
                    <a:lnTo>
                      <a:pt x="144" y="88"/>
                    </a:lnTo>
                    <a:lnTo>
                      <a:pt x="158" y="87"/>
                    </a:lnTo>
                    <a:lnTo>
                      <a:pt x="178" y="84"/>
                    </a:lnTo>
                    <a:lnTo>
                      <a:pt x="186" y="80"/>
                    </a:lnTo>
                    <a:lnTo>
                      <a:pt x="186" y="77"/>
                    </a:lnTo>
                    <a:lnTo>
                      <a:pt x="185" y="73"/>
                    </a:lnTo>
                    <a:lnTo>
                      <a:pt x="187" y="59"/>
                    </a:lnTo>
                    <a:lnTo>
                      <a:pt x="181" y="53"/>
                    </a:lnTo>
                    <a:lnTo>
                      <a:pt x="162" y="45"/>
                    </a:lnTo>
                    <a:lnTo>
                      <a:pt x="161" y="43"/>
                    </a:lnTo>
                    <a:lnTo>
                      <a:pt x="161" y="41"/>
                    </a:lnTo>
                    <a:lnTo>
                      <a:pt x="164" y="34"/>
                    </a:lnTo>
                    <a:lnTo>
                      <a:pt x="164" y="3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09" name="Freeform 151">
                <a:extLst>
                  <a:ext uri="{FF2B5EF4-FFF2-40B4-BE49-F238E27FC236}">
                    <a16:creationId xmlns:a16="http://schemas.microsoft.com/office/drawing/2014/main" id="{D620F066-546E-72A0-42E0-DBDD2D45E28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94" y="2140"/>
                <a:ext cx="88" cy="49"/>
              </a:xfrm>
              <a:custGeom>
                <a:avLst/>
                <a:gdLst>
                  <a:gd name="T0" fmla="*/ 17 w 441"/>
                  <a:gd name="T1" fmla="*/ 7 h 244"/>
                  <a:gd name="T2" fmla="*/ 17 w 441"/>
                  <a:gd name="T3" fmla="*/ 8 h 244"/>
                  <a:gd name="T4" fmla="*/ 18 w 441"/>
                  <a:gd name="T5" fmla="*/ 9 h 244"/>
                  <a:gd name="T6" fmla="*/ 17 w 441"/>
                  <a:gd name="T7" fmla="*/ 10 h 244"/>
                  <a:gd name="T8" fmla="*/ 16 w 441"/>
                  <a:gd name="T9" fmla="*/ 10 h 244"/>
                  <a:gd name="T10" fmla="*/ 15 w 441"/>
                  <a:gd name="T11" fmla="*/ 10 h 244"/>
                  <a:gd name="T12" fmla="*/ 12 w 441"/>
                  <a:gd name="T13" fmla="*/ 9 h 244"/>
                  <a:gd name="T14" fmla="*/ 11 w 441"/>
                  <a:gd name="T15" fmla="*/ 9 h 244"/>
                  <a:gd name="T16" fmla="*/ 10 w 441"/>
                  <a:gd name="T17" fmla="*/ 8 h 244"/>
                  <a:gd name="T18" fmla="*/ 8 w 441"/>
                  <a:gd name="T19" fmla="*/ 7 h 244"/>
                  <a:gd name="T20" fmla="*/ 8 w 441"/>
                  <a:gd name="T21" fmla="*/ 7 h 244"/>
                  <a:gd name="T22" fmla="*/ 7 w 441"/>
                  <a:gd name="T23" fmla="*/ 8 h 244"/>
                  <a:gd name="T24" fmla="*/ 5 w 441"/>
                  <a:gd name="T25" fmla="*/ 7 h 244"/>
                  <a:gd name="T26" fmla="*/ 5 w 441"/>
                  <a:gd name="T27" fmla="*/ 6 h 244"/>
                  <a:gd name="T28" fmla="*/ 3 w 441"/>
                  <a:gd name="T29" fmla="*/ 6 h 244"/>
                  <a:gd name="T30" fmla="*/ 2 w 441"/>
                  <a:gd name="T31" fmla="*/ 5 h 244"/>
                  <a:gd name="T32" fmla="*/ 1 w 441"/>
                  <a:gd name="T33" fmla="*/ 4 h 244"/>
                  <a:gd name="T34" fmla="*/ 1 w 441"/>
                  <a:gd name="T35" fmla="*/ 5 h 244"/>
                  <a:gd name="T36" fmla="*/ 0 w 441"/>
                  <a:gd name="T37" fmla="*/ 4 h 244"/>
                  <a:gd name="T38" fmla="*/ 0 w 441"/>
                  <a:gd name="T39" fmla="*/ 3 h 244"/>
                  <a:gd name="T40" fmla="*/ 0 w 441"/>
                  <a:gd name="T41" fmla="*/ 3 h 244"/>
                  <a:gd name="T42" fmla="*/ 1 w 441"/>
                  <a:gd name="T43" fmla="*/ 2 h 244"/>
                  <a:gd name="T44" fmla="*/ 1 w 441"/>
                  <a:gd name="T45" fmla="*/ 1 h 244"/>
                  <a:gd name="T46" fmla="*/ 1 w 441"/>
                  <a:gd name="T47" fmla="*/ 1 h 244"/>
                  <a:gd name="T48" fmla="*/ 2 w 441"/>
                  <a:gd name="T49" fmla="*/ 0 h 244"/>
                  <a:gd name="T50" fmla="*/ 2 w 441"/>
                  <a:gd name="T51" fmla="*/ 0 h 244"/>
                  <a:gd name="T52" fmla="*/ 3 w 441"/>
                  <a:gd name="T53" fmla="*/ 1 h 244"/>
                  <a:gd name="T54" fmla="*/ 3 w 441"/>
                  <a:gd name="T55" fmla="*/ 0 h 244"/>
                  <a:gd name="T56" fmla="*/ 3 w 441"/>
                  <a:gd name="T57" fmla="*/ 0 h 244"/>
                  <a:gd name="T58" fmla="*/ 4 w 441"/>
                  <a:gd name="T59" fmla="*/ 0 h 244"/>
                  <a:gd name="T60" fmla="*/ 6 w 441"/>
                  <a:gd name="T61" fmla="*/ 1 h 244"/>
                  <a:gd name="T62" fmla="*/ 7 w 441"/>
                  <a:gd name="T63" fmla="*/ 2 h 244"/>
                  <a:gd name="T64" fmla="*/ 7 w 441"/>
                  <a:gd name="T65" fmla="*/ 3 h 244"/>
                  <a:gd name="T66" fmla="*/ 8 w 441"/>
                  <a:gd name="T67" fmla="*/ 3 h 244"/>
                  <a:gd name="T68" fmla="*/ 8 w 441"/>
                  <a:gd name="T69" fmla="*/ 3 h 244"/>
                  <a:gd name="T70" fmla="*/ 9 w 441"/>
                  <a:gd name="T71" fmla="*/ 3 h 244"/>
                  <a:gd name="T72" fmla="*/ 9 w 441"/>
                  <a:gd name="T73" fmla="*/ 3 h 244"/>
                  <a:gd name="T74" fmla="*/ 9 w 441"/>
                  <a:gd name="T75" fmla="*/ 4 h 244"/>
                  <a:gd name="T76" fmla="*/ 9 w 441"/>
                  <a:gd name="T77" fmla="*/ 4 h 244"/>
                  <a:gd name="T78" fmla="*/ 10 w 441"/>
                  <a:gd name="T79" fmla="*/ 4 h 244"/>
                  <a:gd name="T80" fmla="*/ 11 w 441"/>
                  <a:gd name="T81" fmla="*/ 4 h 244"/>
                  <a:gd name="T82" fmla="*/ 11 w 441"/>
                  <a:gd name="T83" fmla="*/ 5 h 244"/>
                  <a:gd name="T84" fmla="*/ 12 w 441"/>
                  <a:gd name="T85" fmla="*/ 5 h 244"/>
                  <a:gd name="T86" fmla="*/ 13 w 441"/>
                  <a:gd name="T87" fmla="*/ 6 h 244"/>
                  <a:gd name="T88" fmla="*/ 13 w 441"/>
                  <a:gd name="T89" fmla="*/ 6 h 244"/>
                  <a:gd name="T90" fmla="*/ 14 w 441"/>
                  <a:gd name="T91" fmla="*/ 6 h 244"/>
                  <a:gd name="T92" fmla="*/ 14 w 441"/>
                  <a:gd name="T93" fmla="*/ 6 h 244"/>
                  <a:gd name="T94" fmla="*/ 15 w 441"/>
                  <a:gd name="T95" fmla="*/ 6 h 244"/>
                  <a:gd name="T96" fmla="*/ 16 w 441"/>
                  <a:gd name="T97" fmla="*/ 6 h 244"/>
                  <a:gd name="T98" fmla="*/ 17 w 441"/>
                  <a:gd name="T99" fmla="*/ 6 h 244"/>
                  <a:gd name="T100" fmla="*/ 18 w 441"/>
                  <a:gd name="T101" fmla="*/ 6 h 244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441"/>
                  <a:gd name="T154" fmla="*/ 0 h 244"/>
                  <a:gd name="T155" fmla="*/ 441 w 441"/>
                  <a:gd name="T156" fmla="*/ 244 h 244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441" h="244">
                    <a:moveTo>
                      <a:pt x="439" y="151"/>
                    </a:moveTo>
                    <a:lnTo>
                      <a:pt x="436" y="158"/>
                    </a:lnTo>
                    <a:lnTo>
                      <a:pt x="432" y="170"/>
                    </a:lnTo>
                    <a:lnTo>
                      <a:pt x="433" y="185"/>
                    </a:lnTo>
                    <a:lnTo>
                      <a:pt x="432" y="199"/>
                    </a:lnTo>
                    <a:lnTo>
                      <a:pt x="428" y="203"/>
                    </a:lnTo>
                    <a:lnTo>
                      <a:pt x="428" y="207"/>
                    </a:lnTo>
                    <a:lnTo>
                      <a:pt x="436" y="211"/>
                    </a:lnTo>
                    <a:lnTo>
                      <a:pt x="441" y="221"/>
                    </a:lnTo>
                    <a:lnTo>
                      <a:pt x="441" y="228"/>
                    </a:lnTo>
                    <a:lnTo>
                      <a:pt x="434" y="239"/>
                    </a:lnTo>
                    <a:lnTo>
                      <a:pt x="434" y="242"/>
                    </a:lnTo>
                    <a:lnTo>
                      <a:pt x="422" y="240"/>
                    </a:lnTo>
                    <a:lnTo>
                      <a:pt x="411" y="243"/>
                    </a:lnTo>
                    <a:lnTo>
                      <a:pt x="396" y="242"/>
                    </a:lnTo>
                    <a:lnTo>
                      <a:pt x="388" y="244"/>
                    </a:lnTo>
                    <a:lnTo>
                      <a:pt x="378" y="239"/>
                    </a:lnTo>
                    <a:lnTo>
                      <a:pt x="368" y="238"/>
                    </a:lnTo>
                    <a:lnTo>
                      <a:pt x="362" y="238"/>
                    </a:lnTo>
                    <a:lnTo>
                      <a:pt x="315" y="230"/>
                    </a:lnTo>
                    <a:lnTo>
                      <a:pt x="308" y="224"/>
                    </a:lnTo>
                    <a:lnTo>
                      <a:pt x="299" y="221"/>
                    </a:lnTo>
                    <a:lnTo>
                      <a:pt x="287" y="222"/>
                    </a:lnTo>
                    <a:lnTo>
                      <a:pt x="267" y="218"/>
                    </a:lnTo>
                    <a:lnTo>
                      <a:pt x="255" y="210"/>
                    </a:lnTo>
                    <a:lnTo>
                      <a:pt x="249" y="205"/>
                    </a:lnTo>
                    <a:lnTo>
                      <a:pt x="239" y="191"/>
                    </a:lnTo>
                    <a:lnTo>
                      <a:pt x="232" y="187"/>
                    </a:lnTo>
                    <a:lnTo>
                      <a:pt x="213" y="184"/>
                    </a:lnTo>
                    <a:lnTo>
                      <a:pt x="211" y="184"/>
                    </a:lnTo>
                    <a:lnTo>
                      <a:pt x="208" y="187"/>
                    </a:lnTo>
                    <a:lnTo>
                      <a:pt x="202" y="186"/>
                    </a:lnTo>
                    <a:lnTo>
                      <a:pt x="192" y="184"/>
                    </a:lnTo>
                    <a:lnTo>
                      <a:pt x="183" y="183"/>
                    </a:lnTo>
                    <a:lnTo>
                      <a:pt x="173" y="187"/>
                    </a:lnTo>
                    <a:lnTo>
                      <a:pt x="168" y="187"/>
                    </a:lnTo>
                    <a:lnTo>
                      <a:pt x="148" y="183"/>
                    </a:lnTo>
                    <a:lnTo>
                      <a:pt x="138" y="170"/>
                    </a:lnTo>
                    <a:lnTo>
                      <a:pt x="136" y="168"/>
                    </a:lnTo>
                    <a:lnTo>
                      <a:pt x="127" y="167"/>
                    </a:lnTo>
                    <a:lnTo>
                      <a:pt x="124" y="167"/>
                    </a:lnTo>
                    <a:lnTo>
                      <a:pt x="114" y="159"/>
                    </a:lnTo>
                    <a:lnTo>
                      <a:pt x="103" y="154"/>
                    </a:lnTo>
                    <a:lnTo>
                      <a:pt x="93" y="153"/>
                    </a:lnTo>
                    <a:lnTo>
                      <a:pt x="83" y="148"/>
                    </a:lnTo>
                    <a:lnTo>
                      <a:pt x="78" y="144"/>
                    </a:lnTo>
                    <a:lnTo>
                      <a:pt x="66" y="130"/>
                    </a:lnTo>
                    <a:lnTo>
                      <a:pt x="57" y="124"/>
                    </a:lnTo>
                    <a:lnTo>
                      <a:pt x="49" y="120"/>
                    </a:lnTo>
                    <a:lnTo>
                      <a:pt x="45" y="116"/>
                    </a:lnTo>
                    <a:lnTo>
                      <a:pt x="32" y="109"/>
                    </a:lnTo>
                    <a:lnTo>
                      <a:pt x="28" y="109"/>
                    </a:lnTo>
                    <a:lnTo>
                      <a:pt x="28" y="113"/>
                    </a:lnTo>
                    <a:lnTo>
                      <a:pt x="23" y="113"/>
                    </a:lnTo>
                    <a:lnTo>
                      <a:pt x="18" y="109"/>
                    </a:lnTo>
                    <a:lnTo>
                      <a:pt x="17" y="103"/>
                    </a:lnTo>
                    <a:lnTo>
                      <a:pt x="12" y="98"/>
                    </a:lnTo>
                    <a:lnTo>
                      <a:pt x="1" y="97"/>
                    </a:lnTo>
                    <a:lnTo>
                      <a:pt x="0" y="94"/>
                    </a:lnTo>
                    <a:lnTo>
                      <a:pt x="1" y="87"/>
                    </a:lnTo>
                    <a:lnTo>
                      <a:pt x="6" y="79"/>
                    </a:lnTo>
                    <a:lnTo>
                      <a:pt x="9" y="78"/>
                    </a:lnTo>
                    <a:lnTo>
                      <a:pt x="11" y="71"/>
                    </a:lnTo>
                    <a:lnTo>
                      <a:pt x="14" y="67"/>
                    </a:lnTo>
                    <a:lnTo>
                      <a:pt x="11" y="58"/>
                    </a:lnTo>
                    <a:lnTo>
                      <a:pt x="14" y="51"/>
                    </a:lnTo>
                    <a:lnTo>
                      <a:pt x="19" y="45"/>
                    </a:lnTo>
                    <a:lnTo>
                      <a:pt x="17" y="38"/>
                    </a:lnTo>
                    <a:lnTo>
                      <a:pt x="17" y="34"/>
                    </a:lnTo>
                    <a:lnTo>
                      <a:pt x="21" y="29"/>
                    </a:lnTo>
                    <a:lnTo>
                      <a:pt x="27" y="29"/>
                    </a:lnTo>
                    <a:lnTo>
                      <a:pt x="30" y="22"/>
                    </a:lnTo>
                    <a:lnTo>
                      <a:pt x="38" y="17"/>
                    </a:lnTo>
                    <a:lnTo>
                      <a:pt x="41" y="11"/>
                    </a:lnTo>
                    <a:lnTo>
                      <a:pt x="43" y="6"/>
                    </a:lnTo>
                    <a:lnTo>
                      <a:pt x="45" y="4"/>
                    </a:lnTo>
                    <a:lnTo>
                      <a:pt x="48" y="7"/>
                    </a:lnTo>
                    <a:lnTo>
                      <a:pt x="54" y="4"/>
                    </a:lnTo>
                    <a:lnTo>
                      <a:pt x="56" y="6"/>
                    </a:lnTo>
                    <a:lnTo>
                      <a:pt x="59" y="11"/>
                    </a:lnTo>
                    <a:lnTo>
                      <a:pt x="67" y="18"/>
                    </a:lnTo>
                    <a:lnTo>
                      <a:pt x="68" y="14"/>
                    </a:lnTo>
                    <a:lnTo>
                      <a:pt x="67" y="12"/>
                    </a:lnTo>
                    <a:lnTo>
                      <a:pt x="71" y="8"/>
                    </a:lnTo>
                    <a:lnTo>
                      <a:pt x="71" y="2"/>
                    </a:lnTo>
                    <a:lnTo>
                      <a:pt x="71" y="1"/>
                    </a:lnTo>
                    <a:lnTo>
                      <a:pt x="73" y="0"/>
                    </a:lnTo>
                    <a:lnTo>
                      <a:pt x="89" y="2"/>
                    </a:lnTo>
                    <a:lnTo>
                      <a:pt x="92" y="3"/>
                    </a:lnTo>
                    <a:lnTo>
                      <a:pt x="110" y="7"/>
                    </a:lnTo>
                    <a:lnTo>
                      <a:pt x="130" y="13"/>
                    </a:lnTo>
                    <a:lnTo>
                      <a:pt x="135" y="15"/>
                    </a:lnTo>
                    <a:lnTo>
                      <a:pt x="141" y="24"/>
                    </a:lnTo>
                    <a:lnTo>
                      <a:pt x="151" y="33"/>
                    </a:lnTo>
                    <a:lnTo>
                      <a:pt x="163" y="36"/>
                    </a:lnTo>
                    <a:lnTo>
                      <a:pt x="174" y="46"/>
                    </a:lnTo>
                    <a:lnTo>
                      <a:pt x="181" y="55"/>
                    </a:lnTo>
                    <a:lnTo>
                      <a:pt x="184" y="72"/>
                    </a:lnTo>
                    <a:lnTo>
                      <a:pt x="186" y="77"/>
                    </a:lnTo>
                    <a:lnTo>
                      <a:pt x="192" y="79"/>
                    </a:lnTo>
                    <a:lnTo>
                      <a:pt x="196" y="79"/>
                    </a:lnTo>
                    <a:lnTo>
                      <a:pt x="200" y="74"/>
                    </a:lnTo>
                    <a:lnTo>
                      <a:pt x="204" y="73"/>
                    </a:lnTo>
                    <a:lnTo>
                      <a:pt x="207" y="70"/>
                    </a:lnTo>
                    <a:lnTo>
                      <a:pt x="207" y="67"/>
                    </a:lnTo>
                    <a:lnTo>
                      <a:pt x="211" y="63"/>
                    </a:lnTo>
                    <a:lnTo>
                      <a:pt x="215" y="65"/>
                    </a:lnTo>
                    <a:lnTo>
                      <a:pt x="221" y="63"/>
                    </a:lnTo>
                    <a:lnTo>
                      <a:pt x="227" y="65"/>
                    </a:lnTo>
                    <a:lnTo>
                      <a:pt x="229" y="67"/>
                    </a:lnTo>
                    <a:lnTo>
                      <a:pt x="226" y="73"/>
                    </a:lnTo>
                    <a:lnTo>
                      <a:pt x="227" y="79"/>
                    </a:lnTo>
                    <a:lnTo>
                      <a:pt x="224" y="92"/>
                    </a:lnTo>
                    <a:lnTo>
                      <a:pt x="226" y="95"/>
                    </a:lnTo>
                    <a:lnTo>
                      <a:pt x="231" y="93"/>
                    </a:lnTo>
                    <a:lnTo>
                      <a:pt x="233" y="98"/>
                    </a:lnTo>
                    <a:lnTo>
                      <a:pt x="235" y="101"/>
                    </a:lnTo>
                    <a:lnTo>
                      <a:pt x="240" y="101"/>
                    </a:lnTo>
                    <a:lnTo>
                      <a:pt x="245" y="105"/>
                    </a:lnTo>
                    <a:lnTo>
                      <a:pt x="251" y="104"/>
                    </a:lnTo>
                    <a:lnTo>
                      <a:pt x="259" y="106"/>
                    </a:lnTo>
                    <a:lnTo>
                      <a:pt x="267" y="108"/>
                    </a:lnTo>
                    <a:lnTo>
                      <a:pt x="272" y="106"/>
                    </a:lnTo>
                    <a:lnTo>
                      <a:pt x="277" y="103"/>
                    </a:lnTo>
                    <a:lnTo>
                      <a:pt x="280" y="104"/>
                    </a:lnTo>
                    <a:lnTo>
                      <a:pt x="277" y="117"/>
                    </a:lnTo>
                    <a:lnTo>
                      <a:pt x="278" y="124"/>
                    </a:lnTo>
                    <a:lnTo>
                      <a:pt x="293" y="133"/>
                    </a:lnTo>
                    <a:lnTo>
                      <a:pt x="301" y="131"/>
                    </a:lnTo>
                    <a:lnTo>
                      <a:pt x="308" y="132"/>
                    </a:lnTo>
                    <a:lnTo>
                      <a:pt x="314" y="138"/>
                    </a:lnTo>
                    <a:lnTo>
                      <a:pt x="315" y="142"/>
                    </a:lnTo>
                    <a:lnTo>
                      <a:pt x="319" y="148"/>
                    </a:lnTo>
                    <a:lnTo>
                      <a:pt x="323" y="151"/>
                    </a:lnTo>
                    <a:lnTo>
                      <a:pt x="329" y="149"/>
                    </a:lnTo>
                    <a:lnTo>
                      <a:pt x="333" y="147"/>
                    </a:lnTo>
                    <a:lnTo>
                      <a:pt x="339" y="151"/>
                    </a:lnTo>
                    <a:lnTo>
                      <a:pt x="344" y="149"/>
                    </a:lnTo>
                    <a:lnTo>
                      <a:pt x="350" y="152"/>
                    </a:lnTo>
                    <a:lnTo>
                      <a:pt x="352" y="151"/>
                    </a:lnTo>
                    <a:lnTo>
                      <a:pt x="356" y="144"/>
                    </a:lnTo>
                    <a:lnTo>
                      <a:pt x="361" y="143"/>
                    </a:lnTo>
                    <a:lnTo>
                      <a:pt x="369" y="144"/>
                    </a:lnTo>
                    <a:lnTo>
                      <a:pt x="377" y="151"/>
                    </a:lnTo>
                    <a:lnTo>
                      <a:pt x="387" y="153"/>
                    </a:lnTo>
                    <a:lnTo>
                      <a:pt x="394" y="157"/>
                    </a:lnTo>
                    <a:lnTo>
                      <a:pt x="398" y="158"/>
                    </a:lnTo>
                    <a:lnTo>
                      <a:pt x="405" y="156"/>
                    </a:lnTo>
                    <a:lnTo>
                      <a:pt x="419" y="159"/>
                    </a:lnTo>
                    <a:lnTo>
                      <a:pt x="422" y="159"/>
                    </a:lnTo>
                    <a:lnTo>
                      <a:pt x="428" y="151"/>
                    </a:lnTo>
                    <a:lnTo>
                      <a:pt x="436" y="149"/>
                    </a:lnTo>
                    <a:lnTo>
                      <a:pt x="439" y="15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10" name="Freeform 152">
                <a:extLst>
                  <a:ext uri="{FF2B5EF4-FFF2-40B4-BE49-F238E27FC236}">
                    <a16:creationId xmlns:a16="http://schemas.microsoft.com/office/drawing/2014/main" id="{E8F5FD8C-5715-5CC3-2A5D-F4E73FC9BCB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79" y="2187"/>
                <a:ext cx="52" cy="67"/>
              </a:xfrm>
              <a:custGeom>
                <a:avLst/>
                <a:gdLst>
                  <a:gd name="T0" fmla="*/ 10 w 262"/>
                  <a:gd name="T1" fmla="*/ 13 h 337"/>
                  <a:gd name="T2" fmla="*/ 9 w 262"/>
                  <a:gd name="T3" fmla="*/ 12 h 337"/>
                  <a:gd name="T4" fmla="*/ 9 w 262"/>
                  <a:gd name="T5" fmla="*/ 10 h 337"/>
                  <a:gd name="T6" fmla="*/ 8 w 262"/>
                  <a:gd name="T7" fmla="*/ 9 h 337"/>
                  <a:gd name="T8" fmla="*/ 7 w 262"/>
                  <a:gd name="T9" fmla="*/ 9 h 337"/>
                  <a:gd name="T10" fmla="*/ 6 w 262"/>
                  <a:gd name="T11" fmla="*/ 9 h 337"/>
                  <a:gd name="T12" fmla="*/ 6 w 262"/>
                  <a:gd name="T13" fmla="*/ 9 h 337"/>
                  <a:gd name="T14" fmla="*/ 6 w 262"/>
                  <a:gd name="T15" fmla="*/ 10 h 337"/>
                  <a:gd name="T16" fmla="*/ 5 w 262"/>
                  <a:gd name="T17" fmla="*/ 11 h 337"/>
                  <a:gd name="T18" fmla="*/ 5 w 262"/>
                  <a:gd name="T19" fmla="*/ 11 h 337"/>
                  <a:gd name="T20" fmla="*/ 4 w 262"/>
                  <a:gd name="T21" fmla="*/ 11 h 337"/>
                  <a:gd name="T22" fmla="*/ 4 w 262"/>
                  <a:gd name="T23" fmla="*/ 11 h 337"/>
                  <a:gd name="T24" fmla="*/ 3 w 262"/>
                  <a:gd name="T25" fmla="*/ 11 h 337"/>
                  <a:gd name="T26" fmla="*/ 3 w 262"/>
                  <a:gd name="T27" fmla="*/ 11 h 337"/>
                  <a:gd name="T28" fmla="*/ 3 w 262"/>
                  <a:gd name="T29" fmla="*/ 12 h 337"/>
                  <a:gd name="T30" fmla="*/ 2 w 262"/>
                  <a:gd name="T31" fmla="*/ 12 h 337"/>
                  <a:gd name="T32" fmla="*/ 2 w 262"/>
                  <a:gd name="T33" fmla="*/ 11 h 337"/>
                  <a:gd name="T34" fmla="*/ 2 w 262"/>
                  <a:gd name="T35" fmla="*/ 10 h 337"/>
                  <a:gd name="T36" fmla="*/ 2 w 262"/>
                  <a:gd name="T37" fmla="*/ 10 h 337"/>
                  <a:gd name="T38" fmla="*/ 2 w 262"/>
                  <a:gd name="T39" fmla="*/ 9 h 337"/>
                  <a:gd name="T40" fmla="*/ 2 w 262"/>
                  <a:gd name="T41" fmla="*/ 9 h 337"/>
                  <a:gd name="T42" fmla="*/ 2 w 262"/>
                  <a:gd name="T43" fmla="*/ 8 h 337"/>
                  <a:gd name="T44" fmla="*/ 2 w 262"/>
                  <a:gd name="T45" fmla="*/ 7 h 337"/>
                  <a:gd name="T46" fmla="*/ 1 w 262"/>
                  <a:gd name="T47" fmla="*/ 7 h 337"/>
                  <a:gd name="T48" fmla="*/ 1 w 262"/>
                  <a:gd name="T49" fmla="*/ 5 h 337"/>
                  <a:gd name="T50" fmla="*/ 1 w 262"/>
                  <a:gd name="T51" fmla="*/ 5 h 337"/>
                  <a:gd name="T52" fmla="*/ 0 w 262"/>
                  <a:gd name="T53" fmla="*/ 4 h 337"/>
                  <a:gd name="T54" fmla="*/ 0 w 262"/>
                  <a:gd name="T55" fmla="*/ 4 h 337"/>
                  <a:gd name="T56" fmla="*/ 1 w 262"/>
                  <a:gd name="T57" fmla="*/ 4 h 337"/>
                  <a:gd name="T58" fmla="*/ 1 w 262"/>
                  <a:gd name="T59" fmla="*/ 3 h 337"/>
                  <a:gd name="T60" fmla="*/ 2 w 262"/>
                  <a:gd name="T61" fmla="*/ 3 h 337"/>
                  <a:gd name="T62" fmla="*/ 2 w 262"/>
                  <a:gd name="T63" fmla="*/ 2 h 337"/>
                  <a:gd name="T64" fmla="*/ 1 w 262"/>
                  <a:gd name="T65" fmla="*/ 2 h 337"/>
                  <a:gd name="T66" fmla="*/ 0 w 262"/>
                  <a:gd name="T67" fmla="*/ 2 h 337"/>
                  <a:gd name="T68" fmla="*/ 1 w 262"/>
                  <a:gd name="T69" fmla="*/ 0 h 337"/>
                  <a:gd name="T70" fmla="*/ 2 w 262"/>
                  <a:gd name="T71" fmla="*/ 1 h 337"/>
                  <a:gd name="T72" fmla="*/ 2 w 262"/>
                  <a:gd name="T73" fmla="*/ 1 h 337"/>
                  <a:gd name="T74" fmla="*/ 2 w 262"/>
                  <a:gd name="T75" fmla="*/ 0 h 337"/>
                  <a:gd name="T76" fmla="*/ 3 w 262"/>
                  <a:gd name="T77" fmla="*/ 1 h 337"/>
                  <a:gd name="T78" fmla="*/ 3 w 262"/>
                  <a:gd name="T79" fmla="*/ 1 h 337"/>
                  <a:gd name="T80" fmla="*/ 4 w 262"/>
                  <a:gd name="T81" fmla="*/ 1 h 337"/>
                  <a:gd name="T82" fmla="*/ 4 w 262"/>
                  <a:gd name="T83" fmla="*/ 2 h 337"/>
                  <a:gd name="T84" fmla="*/ 5 w 262"/>
                  <a:gd name="T85" fmla="*/ 3 h 337"/>
                  <a:gd name="T86" fmla="*/ 7 w 262"/>
                  <a:gd name="T87" fmla="*/ 3 h 337"/>
                  <a:gd name="T88" fmla="*/ 8 w 262"/>
                  <a:gd name="T89" fmla="*/ 3 h 337"/>
                  <a:gd name="T90" fmla="*/ 10 w 262"/>
                  <a:gd name="T91" fmla="*/ 3 h 337"/>
                  <a:gd name="T92" fmla="*/ 9 w 262"/>
                  <a:gd name="T93" fmla="*/ 4 h 337"/>
                  <a:gd name="T94" fmla="*/ 8 w 262"/>
                  <a:gd name="T95" fmla="*/ 5 h 337"/>
                  <a:gd name="T96" fmla="*/ 8 w 262"/>
                  <a:gd name="T97" fmla="*/ 6 h 337"/>
                  <a:gd name="T98" fmla="*/ 7 w 262"/>
                  <a:gd name="T99" fmla="*/ 6 h 337"/>
                  <a:gd name="T100" fmla="*/ 7 w 262"/>
                  <a:gd name="T101" fmla="*/ 8 h 337"/>
                  <a:gd name="T102" fmla="*/ 8 w 262"/>
                  <a:gd name="T103" fmla="*/ 8 h 337"/>
                  <a:gd name="T104" fmla="*/ 8 w 262"/>
                  <a:gd name="T105" fmla="*/ 8 h 337"/>
                  <a:gd name="T106" fmla="*/ 9 w 262"/>
                  <a:gd name="T107" fmla="*/ 7 h 337"/>
                  <a:gd name="T108" fmla="*/ 10 w 262"/>
                  <a:gd name="T109" fmla="*/ 7 h 337"/>
                  <a:gd name="T110" fmla="*/ 10 w 262"/>
                  <a:gd name="T111" fmla="*/ 8 h 337"/>
                  <a:gd name="T112" fmla="*/ 10 w 262"/>
                  <a:gd name="T113" fmla="*/ 10 h 337"/>
                  <a:gd name="T114" fmla="*/ 10 w 262"/>
                  <a:gd name="T115" fmla="*/ 11 h 337"/>
                  <a:gd name="T116" fmla="*/ 10 w 262"/>
                  <a:gd name="T117" fmla="*/ 12 h 337"/>
                  <a:gd name="T118" fmla="*/ 10 w 262"/>
                  <a:gd name="T119" fmla="*/ 13 h 337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262"/>
                  <a:gd name="T181" fmla="*/ 0 h 337"/>
                  <a:gd name="T182" fmla="*/ 262 w 262"/>
                  <a:gd name="T183" fmla="*/ 337 h 337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262" h="337">
                    <a:moveTo>
                      <a:pt x="243" y="335"/>
                    </a:moveTo>
                    <a:lnTo>
                      <a:pt x="241" y="337"/>
                    </a:lnTo>
                    <a:lnTo>
                      <a:pt x="233" y="319"/>
                    </a:lnTo>
                    <a:lnTo>
                      <a:pt x="226" y="291"/>
                    </a:lnTo>
                    <a:lnTo>
                      <a:pt x="225" y="276"/>
                    </a:lnTo>
                    <a:lnTo>
                      <a:pt x="221" y="257"/>
                    </a:lnTo>
                    <a:lnTo>
                      <a:pt x="204" y="230"/>
                    </a:lnTo>
                    <a:lnTo>
                      <a:pt x="198" y="225"/>
                    </a:lnTo>
                    <a:lnTo>
                      <a:pt x="187" y="229"/>
                    </a:lnTo>
                    <a:lnTo>
                      <a:pt x="174" y="230"/>
                    </a:lnTo>
                    <a:lnTo>
                      <a:pt x="166" y="225"/>
                    </a:lnTo>
                    <a:lnTo>
                      <a:pt x="161" y="215"/>
                    </a:lnTo>
                    <a:lnTo>
                      <a:pt x="157" y="218"/>
                    </a:lnTo>
                    <a:lnTo>
                      <a:pt x="153" y="227"/>
                    </a:lnTo>
                    <a:lnTo>
                      <a:pt x="146" y="234"/>
                    </a:lnTo>
                    <a:lnTo>
                      <a:pt x="149" y="246"/>
                    </a:lnTo>
                    <a:lnTo>
                      <a:pt x="149" y="257"/>
                    </a:lnTo>
                    <a:lnTo>
                      <a:pt x="129" y="283"/>
                    </a:lnTo>
                    <a:lnTo>
                      <a:pt x="125" y="280"/>
                    </a:lnTo>
                    <a:lnTo>
                      <a:pt x="115" y="267"/>
                    </a:lnTo>
                    <a:lnTo>
                      <a:pt x="110" y="274"/>
                    </a:lnTo>
                    <a:lnTo>
                      <a:pt x="108" y="279"/>
                    </a:lnTo>
                    <a:lnTo>
                      <a:pt x="99" y="288"/>
                    </a:lnTo>
                    <a:lnTo>
                      <a:pt x="96" y="280"/>
                    </a:lnTo>
                    <a:lnTo>
                      <a:pt x="91" y="285"/>
                    </a:lnTo>
                    <a:lnTo>
                      <a:pt x="80" y="284"/>
                    </a:lnTo>
                    <a:lnTo>
                      <a:pt x="79" y="289"/>
                    </a:lnTo>
                    <a:lnTo>
                      <a:pt x="75" y="286"/>
                    </a:lnTo>
                    <a:lnTo>
                      <a:pt x="71" y="288"/>
                    </a:lnTo>
                    <a:lnTo>
                      <a:pt x="69" y="291"/>
                    </a:lnTo>
                    <a:lnTo>
                      <a:pt x="65" y="294"/>
                    </a:lnTo>
                    <a:lnTo>
                      <a:pt x="58" y="292"/>
                    </a:lnTo>
                    <a:lnTo>
                      <a:pt x="51" y="279"/>
                    </a:lnTo>
                    <a:lnTo>
                      <a:pt x="53" y="273"/>
                    </a:lnTo>
                    <a:lnTo>
                      <a:pt x="51" y="269"/>
                    </a:lnTo>
                    <a:lnTo>
                      <a:pt x="49" y="258"/>
                    </a:lnTo>
                    <a:lnTo>
                      <a:pt x="50" y="251"/>
                    </a:lnTo>
                    <a:lnTo>
                      <a:pt x="48" y="241"/>
                    </a:lnTo>
                    <a:lnTo>
                      <a:pt x="43" y="236"/>
                    </a:lnTo>
                    <a:lnTo>
                      <a:pt x="40" y="227"/>
                    </a:lnTo>
                    <a:lnTo>
                      <a:pt x="40" y="218"/>
                    </a:lnTo>
                    <a:lnTo>
                      <a:pt x="42" y="215"/>
                    </a:lnTo>
                    <a:lnTo>
                      <a:pt x="43" y="199"/>
                    </a:lnTo>
                    <a:lnTo>
                      <a:pt x="42" y="195"/>
                    </a:lnTo>
                    <a:lnTo>
                      <a:pt x="38" y="194"/>
                    </a:lnTo>
                    <a:lnTo>
                      <a:pt x="38" y="179"/>
                    </a:lnTo>
                    <a:lnTo>
                      <a:pt x="32" y="173"/>
                    </a:lnTo>
                    <a:lnTo>
                      <a:pt x="32" y="165"/>
                    </a:lnTo>
                    <a:lnTo>
                      <a:pt x="34" y="154"/>
                    </a:lnTo>
                    <a:lnTo>
                      <a:pt x="36" y="133"/>
                    </a:lnTo>
                    <a:lnTo>
                      <a:pt x="27" y="123"/>
                    </a:lnTo>
                    <a:lnTo>
                      <a:pt x="21" y="118"/>
                    </a:lnTo>
                    <a:lnTo>
                      <a:pt x="10" y="113"/>
                    </a:lnTo>
                    <a:lnTo>
                      <a:pt x="1" y="109"/>
                    </a:lnTo>
                    <a:lnTo>
                      <a:pt x="0" y="103"/>
                    </a:lnTo>
                    <a:lnTo>
                      <a:pt x="1" y="98"/>
                    </a:lnTo>
                    <a:lnTo>
                      <a:pt x="6" y="90"/>
                    </a:lnTo>
                    <a:lnTo>
                      <a:pt x="13" y="89"/>
                    </a:lnTo>
                    <a:lnTo>
                      <a:pt x="20" y="85"/>
                    </a:lnTo>
                    <a:lnTo>
                      <a:pt x="22" y="78"/>
                    </a:lnTo>
                    <a:lnTo>
                      <a:pt x="42" y="76"/>
                    </a:lnTo>
                    <a:lnTo>
                      <a:pt x="42" y="68"/>
                    </a:lnTo>
                    <a:lnTo>
                      <a:pt x="38" y="64"/>
                    </a:lnTo>
                    <a:lnTo>
                      <a:pt x="39" y="60"/>
                    </a:lnTo>
                    <a:lnTo>
                      <a:pt x="24" y="62"/>
                    </a:lnTo>
                    <a:lnTo>
                      <a:pt x="17" y="57"/>
                    </a:lnTo>
                    <a:lnTo>
                      <a:pt x="15" y="43"/>
                    </a:lnTo>
                    <a:lnTo>
                      <a:pt x="11" y="39"/>
                    </a:lnTo>
                    <a:lnTo>
                      <a:pt x="26" y="15"/>
                    </a:lnTo>
                    <a:lnTo>
                      <a:pt x="28" y="3"/>
                    </a:lnTo>
                    <a:lnTo>
                      <a:pt x="32" y="0"/>
                    </a:lnTo>
                    <a:lnTo>
                      <a:pt x="42" y="17"/>
                    </a:lnTo>
                    <a:lnTo>
                      <a:pt x="48" y="25"/>
                    </a:lnTo>
                    <a:lnTo>
                      <a:pt x="49" y="17"/>
                    </a:lnTo>
                    <a:lnTo>
                      <a:pt x="53" y="5"/>
                    </a:lnTo>
                    <a:lnTo>
                      <a:pt x="59" y="8"/>
                    </a:lnTo>
                    <a:lnTo>
                      <a:pt x="61" y="22"/>
                    </a:lnTo>
                    <a:lnTo>
                      <a:pt x="69" y="31"/>
                    </a:lnTo>
                    <a:lnTo>
                      <a:pt x="74" y="27"/>
                    </a:lnTo>
                    <a:lnTo>
                      <a:pt x="82" y="33"/>
                    </a:lnTo>
                    <a:lnTo>
                      <a:pt x="91" y="19"/>
                    </a:lnTo>
                    <a:lnTo>
                      <a:pt x="93" y="23"/>
                    </a:lnTo>
                    <a:lnTo>
                      <a:pt x="96" y="43"/>
                    </a:lnTo>
                    <a:lnTo>
                      <a:pt x="101" y="62"/>
                    </a:lnTo>
                    <a:lnTo>
                      <a:pt x="107" y="70"/>
                    </a:lnTo>
                    <a:lnTo>
                      <a:pt x="118" y="75"/>
                    </a:lnTo>
                    <a:lnTo>
                      <a:pt x="162" y="79"/>
                    </a:lnTo>
                    <a:lnTo>
                      <a:pt x="166" y="76"/>
                    </a:lnTo>
                    <a:lnTo>
                      <a:pt x="180" y="74"/>
                    </a:lnTo>
                    <a:lnTo>
                      <a:pt x="203" y="76"/>
                    </a:lnTo>
                    <a:lnTo>
                      <a:pt x="227" y="80"/>
                    </a:lnTo>
                    <a:lnTo>
                      <a:pt x="242" y="86"/>
                    </a:lnTo>
                    <a:lnTo>
                      <a:pt x="239" y="91"/>
                    </a:lnTo>
                    <a:lnTo>
                      <a:pt x="231" y="96"/>
                    </a:lnTo>
                    <a:lnTo>
                      <a:pt x="226" y="109"/>
                    </a:lnTo>
                    <a:lnTo>
                      <a:pt x="214" y="124"/>
                    </a:lnTo>
                    <a:lnTo>
                      <a:pt x="203" y="134"/>
                    </a:lnTo>
                    <a:lnTo>
                      <a:pt x="192" y="140"/>
                    </a:lnTo>
                    <a:lnTo>
                      <a:pt x="178" y="149"/>
                    </a:lnTo>
                    <a:lnTo>
                      <a:pt x="176" y="157"/>
                    </a:lnTo>
                    <a:lnTo>
                      <a:pt x="177" y="173"/>
                    </a:lnTo>
                    <a:lnTo>
                      <a:pt x="184" y="193"/>
                    </a:lnTo>
                    <a:lnTo>
                      <a:pt x="194" y="194"/>
                    </a:lnTo>
                    <a:lnTo>
                      <a:pt x="199" y="204"/>
                    </a:lnTo>
                    <a:lnTo>
                      <a:pt x="206" y="210"/>
                    </a:lnTo>
                    <a:lnTo>
                      <a:pt x="211" y="202"/>
                    </a:lnTo>
                    <a:lnTo>
                      <a:pt x="217" y="181"/>
                    </a:lnTo>
                    <a:lnTo>
                      <a:pt x="228" y="166"/>
                    </a:lnTo>
                    <a:lnTo>
                      <a:pt x="233" y="167"/>
                    </a:lnTo>
                    <a:lnTo>
                      <a:pt x="241" y="181"/>
                    </a:lnTo>
                    <a:lnTo>
                      <a:pt x="246" y="198"/>
                    </a:lnTo>
                    <a:lnTo>
                      <a:pt x="249" y="206"/>
                    </a:lnTo>
                    <a:lnTo>
                      <a:pt x="252" y="215"/>
                    </a:lnTo>
                    <a:lnTo>
                      <a:pt x="258" y="243"/>
                    </a:lnTo>
                    <a:lnTo>
                      <a:pt x="262" y="276"/>
                    </a:lnTo>
                    <a:lnTo>
                      <a:pt x="260" y="279"/>
                    </a:lnTo>
                    <a:lnTo>
                      <a:pt x="262" y="308"/>
                    </a:lnTo>
                    <a:lnTo>
                      <a:pt x="250" y="305"/>
                    </a:lnTo>
                    <a:lnTo>
                      <a:pt x="244" y="310"/>
                    </a:lnTo>
                    <a:lnTo>
                      <a:pt x="243" y="318"/>
                    </a:lnTo>
                    <a:lnTo>
                      <a:pt x="243" y="33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11" name="Freeform 153">
                <a:extLst>
                  <a:ext uri="{FF2B5EF4-FFF2-40B4-BE49-F238E27FC236}">
                    <a16:creationId xmlns:a16="http://schemas.microsoft.com/office/drawing/2014/main" id="{D6656D0D-2E9C-EC8D-E3A0-8243C750DDE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90" y="2379"/>
                <a:ext cx="23" cy="43"/>
              </a:xfrm>
              <a:custGeom>
                <a:avLst/>
                <a:gdLst>
                  <a:gd name="T0" fmla="*/ 1 w 116"/>
                  <a:gd name="T1" fmla="*/ 0 h 211"/>
                  <a:gd name="T2" fmla="*/ 1 w 116"/>
                  <a:gd name="T3" fmla="*/ 0 h 211"/>
                  <a:gd name="T4" fmla="*/ 1 w 116"/>
                  <a:gd name="T5" fmla="*/ 0 h 211"/>
                  <a:gd name="T6" fmla="*/ 1 w 116"/>
                  <a:gd name="T7" fmla="*/ 0 h 211"/>
                  <a:gd name="T8" fmla="*/ 1 w 116"/>
                  <a:gd name="T9" fmla="*/ 1 h 211"/>
                  <a:gd name="T10" fmla="*/ 1 w 116"/>
                  <a:gd name="T11" fmla="*/ 1 h 211"/>
                  <a:gd name="T12" fmla="*/ 1 w 116"/>
                  <a:gd name="T13" fmla="*/ 1 h 211"/>
                  <a:gd name="T14" fmla="*/ 1 w 116"/>
                  <a:gd name="T15" fmla="*/ 2 h 211"/>
                  <a:gd name="T16" fmla="*/ 1 w 116"/>
                  <a:gd name="T17" fmla="*/ 2 h 211"/>
                  <a:gd name="T18" fmla="*/ 0 w 116"/>
                  <a:gd name="T19" fmla="*/ 4 h 211"/>
                  <a:gd name="T20" fmla="*/ 0 w 116"/>
                  <a:gd name="T21" fmla="*/ 4 h 211"/>
                  <a:gd name="T22" fmla="*/ 0 w 116"/>
                  <a:gd name="T23" fmla="*/ 4 h 211"/>
                  <a:gd name="T24" fmla="*/ 0 w 116"/>
                  <a:gd name="T25" fmla="*/ 5 h 211"/>
                  <a:gd name="T26" fmla="*/ 0 w 116"/>
                  <a:gd name="T27" fmla="*/ 7 h 211"/>
                  <a:gd name="T28" fmla="*/ 0 w 116"/>
                  <a:gd name="T29" fmla="*/ 8 h 211"/>
                  <a:gd name="T30" fmla="*/ 1 w 116"/>
                  <a:gd name="T31" fmla="*/ 8 h 211"/>
                  <a:gd name="T32" fmla="*/ 1 w 116"/>
                  <a:gd name="T33" fmla="*/ 9 h 211"/>
                  <a:gd name="T34" fmla="*/ 2 w 116"/>
                  <a:gd name="T35" fmla="*/ 9 h 211"/>
                  <a:gd name="T36" fmla="*/ 2 w 116"/>
                  <a:gd name="T37" fmla="*/ 9 h 211"/>
                  <a:gd name="T38" fmla="*/ 3 w 116"/>
                  <a:gd name="T39" fmla="*/ 8 h 211"/>
                  <a:gd name="T40" fmla="*/ 4 w 116"/>
                  <a:gd name="T41" fmla="*/ 8 h 211"/>
                  <a:gd name="T42" fmla="*/ 4 w 116"/>
                  <a:gd name="T43" fmla="*/ 7 h 211"/>
                  <a:gd name="T44" fmla="*/ 5 w 116"/>
                  <a:gd name="T45" fmla="*/ 6 h 211"/>
                  <a:gd name="T46" fmla="*/ 5 w 116"/>
                  <a:gd name="T47" fmla="*/ 5 h 211"/>
                  <a:gd name="T48" fmla="*/ 5 w 116"/>
                  <a:gd name="T49" fmla="*/ 5 h 211"/>
                  <a:gd name="T50" fmla="*/ 4 w 116"/>
                  <a:gd name="T51" fmla="*/ 5 h 211"/>
                  <a:gd name="T52" fmla="*/ 4 w 116"/>
                  <a:gd name="T53" fmla="*/ 4 h 211"/>
                  <a:gd name="T54" fmla="*/ 4 w 116"/>
                  <a:gd name="T55" fmla="*/ 3 h 211"/>
                  <a:gd name="T56" fmla="*/ 3 w 116"/>
                  <a:gd name="T57" fmla="*/ 3 h 211"/>
                  <a:gd name="T58" fmla="*/ 3 w 116"/>
                  <a:gd name="T59" fmla="*/ 3 h 211"/>
                  <a:gd name="T60" fmla="*/ 3 w 116"/>
                  <a:gd name="T61" fmla="*/ 2 h 211"/>
                  <a:gd name="T62" fmla="*/ 3 w 116"/>
                  <a:gd name="T63" fmla="*/ 2 h 211"/>
                  <a:gd name="T64" fmla="*/ 3 w 116"/>
                  <a:gd name="T65" fmla="*/ 1 h 211"/>
                  <a:gd name="T66" fmla="*/ 2 w 116"/>
                  <a:gd name="T67" fmla="*/ 0 h 211"/>
                  <a:gd name="T68" fmla="*/ 1 w 116"/>
                  <a:gd name="T69" fmla="*/ 0 h 211"/>
                  <a:gd name="T70" fmla="*/ 1 w 116"/>
                  <a:gd name="T71" fmla="*/ 0 h 211"/>
                  <a:gd name="T72" fmla="*/ 1 w 116"/>
                  <a:gd name="T73" fmla="*/ 0 h 211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116"/>
                  <a:gd name="T112" fmla="*/ 0 h 211"/>
                  <a:gd name="T113" fmla="*/ 116 w 116"/>
                  <a:gd name="T114" fmla="*/ 211 h 211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116" h="211">
                    <a:moveTo>
                      <a:pt x="18" y="0"/>
                    </a:moveTo>
                    <a:lnTo>
                      <a:pt x="13" y="4"/>
                    </a:lnTo>
                    <a:lnTo>
                      <a:pt x="19" y="9"/>
                    </a:lnTo>
                    <a:lnTo>
                      <a:pt x="28" y="12"/>
                    </a:lnTo>
                    <a:lnTo>
                      <a:pt x="33" y="19"/>
                    </a:lnTo>
                    <a:lnTo>
                      <a:pt x="28" y="19"/>
                    </a:lnTo>
                    <a:lnTo>
                      <a:pt x="22" y="25"/>
                    </a:lnTo>
                    <a:lnTo>
                      <a:pt x="19" y="38"/>
                    </a:lnTo>
                    <a:lnTo>
                      <a:pt x="13" y="47"/>
                    </a:lnTo>
                    <a:lnTo>
                      <a:pt x="7" y="95"/>
                    </a:lnTo>
                    <a:lnTo>
                      <a:pt x="2" y="91"/>
                    </a:lnTo>
                    <a:lnTo>
                      <a:pt x="0" y="95"/>
                    </a:lnTo>
                    <a:lnTo>
                      <a:pt x="0" y="111"/>
                    </a:lnTo>
                    <a:lnTo>
                      <a:pt x="7" y="166"/>
                    </a:lnTo>
                    <a:lnTo>
                      <a:pt x="11" y="182"/>
                    </a:lnTo>
                    <a:lnTo>
                      <a:pt x="19" y="198"/>
                    </a:lnTo>
                    <a:lnTo>
                      <a:pt x="29" y="209"/>
                    </a:lnTo>
                    <a:lnTo>
                      <a:pt x="45" y="211"/>
                    </a:lnTo>
                    <a:lnTo>
                      <a:pt x="59" y="211"/>
                    </a:lnTo>
                    <a:lnTo>
                      <a:pt x="86" y="197"/>
                    </a:lnTo>
                    <a:lnTo>
                      <a:pt x="100" y="187"/>
                    </a:lnTo>
                    <a:lnTo>
                      <a:pt x="113" y="170"/>
                    </a:lnTo>
                    <a:lnTo>
                      <a:pt x="115" y="145"/>
                    </a:lnTo>
                    <a:lnTo>
                      <a:pt x="116" y="125"/>
                    </a:lnTo>
                    <a:lnTo>
                      <a:pt x="115" y="117"/>
                    </a:lnTo>
                    <a:lnTo>
                      <a:pt x="108" y="114"/>
                    </a:lnTo>
                    <a:lnTo>
                      <a:pt x="98" y="87"/>
                    </a:lnTo>
                    <a:lnTo>
                      <a:pt x="92" y="75"/>
                    </a:lnTo>
                    <a:lnTo>
                      <a:pt x="86" y="69"/>
                    </a:lnTo>
                    <a:lnTo>
                      <a:pt x="83" y="62"/>
                    </a:lnTo>
                    <a:lnTo>
                      <a:pt x="80" y="55"/>
                    </a:lnTo>
                    <a:lnTo>
                      <a:pt x="67" y="44"/>
                    </a:lnTo>
                    <a:lnTo>
                      <a:pt x="64" y="33"/>
                    </a:lnTo>
                    <a:lnTo>
                      <a:pt x="45" y="12"/>
                    </a:lnTo>
                    <a:lnTo>
                      <a:pt x="35" y="4"/>
                    </a:lnTo>
                    <a:lnTo>
                      <a:pt x="27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sp>
          <p:nvSpPr>
            <p:cNvPr id="28" name="Freeform 154">
              <a:extLst>
                <a:ext uri="{FF2B5EF4-FFF2-40B4-BE49-F238E27FC236}">
                  <a16:creationId xmlns:a16="http://schemas.microsoft.com/office/drawing/2014/main" id="{C8B6A47B-7B70-FF22-B5A4-E006B90B84F6}"/>
                </a:ext>
              </a:extLst>
            </p:cNvPr>
            <p:cNvSpPr>
              <a:spLocks/>
            </p:cNvSpPr>
            <p:nvPr/>
          </p:nvSpPr>
          <p:spPr bwMode="gray">
            <a:xfrm>
              <a:off x="6678437" y="2526286"/>
              <a:ext cx="32648" cy="69307"/>
            </a:xfrm>
            <a:custGeom>
              <a:avLst/>
              <a:gdLst>
                <a:gd name="T0" fmla="*/ 6544 w 97"/>
                <a:gd name="T1" fmla="*/ 0 h 199"/>
                <a:gd name="T2" fmla="*/ 6980 w 97"/>
                <a:gd name="T3" fmla="*/ 413 h 199"/>
                <a:gd name="T4" fmla="*/ 7416 w 97"/>
                <a:gd name="T5" fmla="*/ 827 h 199"/>
                <a:gd name="T6" fmla="*/ 7853 w 97"/>
                <a:gd name="T7" fmla="*/ 827 h 199"/>
                <a:gd name="T8" fmla="*/ 7853 w 97"/>
                <a:gd name="T9" fmla="*/ 827 h 199"/>
                <a:gd name="T10" fmla="*/ 8289 w 97"/>
                <a:gd name="T11" fmla="*/ 1240 h 199"/>
                <a:gd name="T12" fmla="*/ 8289 w 97"/>
                <a:gd name="T13" fmla="*/ 1653 h 199"/>
                <a:gd name="T14" fmla="*/ 7853 w 97"/>
                <a:gd name="T15" fmla="*/ 2066 h 199"/>
                <a:gd name="T16" fmla="*/ 7853 w 97"/>
                <a:gd name="T17" fmla="*/ 2480 h 199"/>
                <a:gd name="T18" fmla="*/ 7853 w 97"/>
                <a:gd name="T19" fmla="*/ 3306 h 199"/>
                <a:gd name="T20" fmla="*/ 7853 w 97"/>
                <a:gd name="T21" fmla="*/ 4133 h 199"/>
                <a:gd name="T22" fmla="*/ 6980 w 97"/>
                <a:gd name="T23" fmla="*/ 5786 h 199"/>
                <a:gd name="T24" fmla="*/ 6544 w 97"/>
                <a:gd name="T25" fmla="*/ 7852 h 199"/>
                <a:gd name="T26" fmla="*/ 6544 w 97"/>
                <a:gd name="T27" fmla="*/ 9505 h 199"/>
                <a:gd name="T28" fmla="*/ 5671 w 97"/>
                <a:gd name="T29" fmla="*/ 10745 h 199"/>
                <a:gd name="T30" fmla="*/ 4799 w 97"/>
                <a:gd name="T31" fmla="*/ 12398 h 199"/>
                <a:gd name="T32" fmla="*/ 4363 w 97"/>
                <a:gd name="T33" fmla="*/ 13225 h 199"/>
                <a:gd name="T34" fmla="*/ 3926 w 97"/>
                <a:gd name="T35" fmla="*/ 14051 h 199"/>
                <a:gd name="T36" fmla="*/ 3490 w 97"/>
                <a:gd name="T37" fmla="*/ 16531 h 199"/>
                <a:gd name="T38" fmla="*/ 3054 w 97"/>
                <a:gd name="T39" fmla="*/ 16117 h 199"/>
                <a:gd name="T40" fmla="*/ 2618 w 97"/>
                <a:gd name="T41" fmla="*/ 15291 h 199"/>
                <a:gd name="T42" fmla="*/ 2181 w 97"/>
                <a:gd name="T43" fmla="*/ 14051 h 199"/>
                <a:gd name="T44" fmla="*/ 1309 w 97"/>
                <a:gd name="T45" fmla="*/ 13638 h 199"/>
                <a:gd name="T46" fmla="*/ 436 w 97"/>
                <a:gd name="T47" fmla="*/ 12398 h 199"/>
                <a:gd name="T48" fmla="*/ 0 w 97"/>
                <a:gd name="T49" fmla="*/ 10332 h 199"/>
                <a:gd name="T50" fmla="*/ 0 w 97"/>
                <a:gd name="T51" fmla="*/ 8679 h 199"/>
                <a:gd name="T52" fmla="*/ 0 w 97"/>
                <a:gd name="T53" fmla="*/ 7439 h 199"/>
                <a:gd name="T54" fmla="*/ 873 w 97"/>
                <a:gd name="T55" fmla="*/ 6199 h 199"/>
                <a:gd name="T56" fmla="*/ 3926 w 97"/>
                <a:gd name="T57" fmla="*/ 1240 h 199"/>
                <a:gd name="T58" fmla="*/ 5671 w 97"/>
                <a:gd name="T59" fmla="*/ 413 h 199"/>
                <a:gd name="T60" fmla="*/ 5671 w 97"/>
                <a:gd name="T61" fmla="*/ 413 h 199"/>
                <a:gd name="T62" fmla="*/ 6544 w 97"/>
                <a:gd name="T63" fmla="*/ 0 h 19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97"/>
                <a:gd name="T97" fmla="*/ 0 h 199"/>
                <a:gd name="T98" fmla="*/ 97 w 97"/>
                <a:gd name="T99" fmla="*/ 199 h 199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97" h="199">
                  <a:moveTo>
                    <a:pt x="75" y="0"/>
                  </a:moveTo>
                  <a:lnTo>
                    <a:pt x="82" y="4"/>
                  </a:lnTo>
                  <a:lnTo>
                    <a:pt x="87" y="9"/>
                  </a:lnTo>
                  <a:lnTo>
                    <a:pt x="92" y="9"/>
                  </a:lnTo>
                  <a:lnTo>
                    <a:pt x="94" y="10"/>
                  </a:lnTo>
                  <a:lnTo>
                    <a:pt x="97" y="15"/>
                  </a:lnTo>
                  <a:lnTo>
                    <a:pt x="97" y="18"/>
                  </a:lnTo>
                  <a:lnTo>
                    <a:pt x="93" y="26"/>
                  </a:lnTo>
                  <a:lnTo>
                    <a:pt x="93" y="32"/>
                  </a:lnTo>
                  <a:lnTo>
                    <a:pt x="94" y="41"/>
                  </a:lnTo>
                  <a:lnTo>
                    <a:pt x="92" y="50"/>
                  </a:lnTo>
                  <a:lnTo>
                    <a:pt x="83" y="69"/>
                  </a:lnTo>
                  <a:lnTo>
                    <a:pt x="79" y="95"/>
                  </a:lnTo>
                  <a:lnTo>
                    <a:pt x="76" y="114"/>
                  </a:lnTo>
                  <a:lnTo>
                    <a:pt x="68" y="131"/>
                  </a:lnTo>
                  <a:lnTo>
                    <a:pt x="57" y="150"/>
                  </a:lnTo>
                  <a:lnTo>
                    <a:pt x="51" y="159"/>
                  </a:lnTo>
                  <a:lnTo>
                    <a:pt x="48" y="168"/>
                  </a:lnTo>
                  <a:lnTo>
                    <a:pt x="40" y="199"/>
                  </a:lnTo>
                  <a:lnTo>
                    <a:pt x="36" y="195"/>
                  </a:lnTo>
                  <a:lnTo>
                    <a:pt x="33" y="182"/>
                  </a:lnTo>
                  <a:lnTo>
                    <a:pt x="25" y="170"/>
                  </a:lnTo>
                  <a:lnTo>
                    <a:pt x="16" y="163"/>
                  </a:lnTo>
                  <a:lnTo>
                    <a:pt x="6" y="147"/>
                  </a:lnTo>
                  <a:lnTo>
                    <a:pt x="1" y="122"/>
                  </a:lnTo>
                  <a:lnTo>
                    <a:pt x="0" y="102"/>
                  </a:lnTo>
                  <a:lnTo>
                    <a:pt x="2" y="92"/>
                  </a:lnTo>
                  <a:lnTo>
                    <a:pt x="9" y="76"/>
                  </a:lnTo>
                  <a:lnTo>
                    <a:pt x="48" y="17"/>
                  </a:lnTo>
                  <a:lnTo>
                    <a:pt x="65" y="7"/>
                  </a:lnTo>
                  <a:lnTo>
                    <a:pt x="68" y="3"/>
                  </a:lnTo>
                  <a:lnTo>
                    <a:pt x="75" y="0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grpSp>
          <p:nvGrpSpPr>
            <p:cNvPr id="29" name="Group 155">
              <a:extLst>
                <a:ext uri="{FF2B5EF4-FFF2-40B4-BE49-F238E27FC236}">
                  <a16:creationId xmlns:a16="http://schemas.microsoft.com/office/drawing/2014/main" id="{DC77117B-A8D5-D3BE-FCD2-F556EA278AA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863025" y="2045215"/>
              <a:ext cx="313925" cy="356047"/>
              <a:chOff x="3938" y="1929"/>
              <a:chExt cx="178" cy="202"/>
            </a:xfrm>
            <a:grpFill/>
          </p:grpSpPr>
          <p:sp>
            <p:nvSpPr>
              <p:cNvPr id="101" name="Freeform 156">
                <a:extLst>
                  <a:ext uri="{FF2B5EF4-FFF2-40B4-BE49-F238E27FC236}">
                    <a16:creationId xmlns:a16="http://schemas.microsoft.com/office/drawing/2014/main" id="{8D9AD6DD-9B8D-4622-8BF3-64F472FF3E1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050" y="1929"/>
                <a:ext cx="66" cy="61"/>
              </a:xfrm>
              <a:custGeom>
                <a:avLst/>
                <a:gdLst>
                  <a:gd name="T0" fmla="*/ 12 w 330"/>
                  <a:gd name="T1" fmla="*/ 4 h 307"/>
                  <a:gd name="T2" fmla="*/ 12 w 330"/>
                  <a:gd name="T3" fmla="*/ 4 h 307"/>
                  <a:gd name="T4" fmla="*/ 12 w 330"/>
                  <a:gd name="T5" fmla="*/ 6 h 307"/>
                  <a:gd name="T6" fmla="*/ 12 w 330"/>
                  <a:gd name="T7" fmla="*/ 7 h 307"/>
                  <a:gd name="T8" fmla="*/ 13 w 330"/>
                  <a:gd name="T9" fmla="*/ 6 h 307"/>
                  <a:gd name="T10" fmla="*/ 12 w 330"/>
                  <a:gd name="T11" fmla="*/ 7 h 307"/>
                  <a:gd name="T12" fmla="*/ 11 w 330"/>
                  <a:gd name="T13" fmla="*/ 8 h 307"/>
                  <a:gd name="T14" fmla="*/ 11 w 330"/>
                  <a:gd name="T15" fmla="*/ 8 h 307"/>
                  <a:gd name="T16" fmla="*/ 10 w 330"/>
                  <a:gd name="T17" fmla="*/ 8 h 307"/>
                  <a:gd name="T18" fmla="*/ 8 w 330"/>
                  <a:gd name="T19" fmla="*/ 9 h 307"/>
                  <a:gd name="T20" fmla="*/ 8 w 330"/>
                  <a:gd name="T21" fmla="*/ 10 h 307"/>
                  <a:gd name="T22" fmla="*/ 6 w 330"/>
                  <a:gd name="T23" fmla="*/ 10 h 307"/>
                  <a:gd name="T24" fmla="*/ 5 w 330"/>
                  <a:gd name="T25" fmla="*/ 9 h 307"/>
                  <a:gd name="T26" fmla="*/ 3 w 330"/>
                  <a:gd name="T27" fmla="*/ 9 h 307"/>
                  <a:gd name="T28" fmla="*/ 3 w 330"/>
                  <a:gd name="T29" fmla="*/ 9 h 307"/>
                  <a:gd name="T30" fmla="*/ 1 w 330"/>
                  <a:gd name="T31" fmla="*/ 9 h 307"/>
                  <a:gd name="T32" fmla="*/ 1 w 330"/>
                  <a:gd name="T33" fmla="*/ 10 h 307"/>
                  <a:gd name="T34" fmla="*/ 3 w 330"/>
                  <a:gd name="T35" fmla="*/ 11 h 307"/>
                  <a:gd name="T36" fmla="*/ 2 w 330"/>
                  <a:gd name="T37" fmla="*/ 11 h 307"/>
                  <a:gd name="T38" fmla="*/ 2 w 330"/>
                  <a:gd name="T39" fmla="*/ 11 h 307"/>
                  <a:gd name="T40" fmla="*/ 1 w 330"/>
                  <a:gd name="T41" fmla="*/ 12 h 307"/>
                  <a:gd name="T42" fmla="*/ 0 w 330"/>
                  <a:gd name="T43" fmla="*/ 12 h 307"/>
                  <a:gd name="T44" fmla="*/ 0 w 330"/>
                  <a:gd name="T45" fmla="*/ 10 h 307"/>
                  <a:gd name="T46" fmla="*/ 0 w 330"/>
                  <a:gd name="T47" fmla="*/ 9 h 307"/>
                  <a:gd name="T48" fmla="*/ 1 w 330"/>
                  <a:gd name="T49" fmla="*/ 8 h 307"/>
                  <a:gd name="T50" fmla="*/ 1 w 330"/>
                  <a:gd name="T51" fmla="*/ 7 h 307"/>
                  <a:gd name="T52" fmla="*/ 2 w 330"/>
                  <a:gd name="T53" fmla="*/ 7 h 307"/>
                  <a:gd name="T54" fmla="*/ 3 w 330"/>
                  <a:gd name="T55" fmla="*/ 7 h 307"/>
                  <a:gd name="T56" fmla="*/ 3 w 330"/>
                  <a:gd name="T57" fmla="*/ 6 h 307"/>
                  <a:gd name="T58" fmla="*/ 4 w 330"/>
                  <a:gd name="T59" fmla="*/ 5 h 307"/>
                  <a:gd name="T60" fmla="*/ 4 w 330"/>
                  <a:gd name="T61" fmla="*/ 4 h 307"/>
                  <a:gd name="T62" fmla="*/ 4 w 330"/>
                  <a:gd name="T63" fmla="*/ 1 h 307"/>
                  <a:gd name="T64" fmla="*/ 4 w 330"/>
                  <a:gd name="T65" fmla="*/ 0 h 307"/>
                  <a:gd name="T66" fmla="*/ 5 w 330"/>
                  <a:gd name="T67" fmla="*/ 0 h 307"/>
                  <a:gd name="T68" fmla="*/ 5 w 330"/>
                  <a:gd name="T69" fmla="*/ 1 h 307"/>
                  <a:gd name="T70" fmla="*/ 7 w 330"/>
                  <a:gd name="T71" fmla="*/ 3 h 307"/>
                  <a:gd name="T72" fmla="*/ 9 w 330"/>
                  <a:gd name="T73" fmla="*/ 4 h 307"/>
                  <a:gd name="T74" fmla="*/ 10 w 330"/>
                  <a:gd name="T75" fmla="*/ 5 h 307"/>
                  <a:gd name="T76" fmla="*/ 11 w 330"/>
                  <a:gd name="T77" fmla="*/ 5 h 307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330"/>
                  <a:gd name="T118" fmla="*/ 0 h 307"/>
                  <a:gd name="T119" fmla="*/ 330 w 330"/>
                  <a:gd name="T120" fmla="*/ 307 h 307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330" h="307">
                    <a:moveTo>
                      <a:pt x="285" y="108"/>
                    </a:moveTo>
                    <a:lnTo>
                      <a:pt x="301" y="94"/>
                    </a:lnTo>
                    <a:lnTo>
                      <a:pt x="305" y="97"/>
                    </a:lnTo>
                    <a:lnTo>
                      <a:pt x="299" y="113"/>
                    </a:lnTo>
                    <a:lnTo>
                      <a:pt x="291" y="129"/>
                    </a:lnTo>
                    <a:lnTo>
                      <a:pt x="294" y="141"/>
                    </a:lnTo>
                    <a:lnTo>
                      <a:pt x="304" y="148"/>
                    </a:lnTo>
                    <a:lnTo>
                      <a:pt x="304" y="164"/>
                    </a:lnTo>
                    <a:lnTo>
                      <a:pt x="315" y="164"/>
                    </a:lnTo>
                    <a:lnTo>
                      <a:pt x="330" y="159"/>
                    </a:lnTo>
                    <a:lnTo>
                      <a:pt x="325" y="170"/>
                    </a:lnTo>
                    <a:lnTo>
                      <a:pt x="308" y="177"/>
                    </a:lnTo>
                    <a:lnTo>
                      <a:pt x="293" y="188"/>
                    </a:lnTo>
                    <a:lnTo>
                      <a:pt x="283" y="191"/>
                    </a:lnTo>
                    <a:lnTo>
                      <a:pt x="277" y="187"/>
                    </a:lnTo>
                    <a:lnTo>
                      <a:pt x="271" y="195"/>
                    </a:lnTo>
                    <a:lnTo>
                      <a:pt x="254" y="193"/>
                    </a:lnTo>
                    <a:lnTo>
                      <a:pt x="238" y="195"/>
                    </a:lnTo>
                    <a:lnTo>
                      <a:pt x="223" y="204"/>
                    </a:lnTo>
                    <a:lnTo>
                      <a:pt x="208" y="223"/>
                    </a:lnTo>
                    <a:lnTo>
                      <a:pt x="199" y="241"/>
                    </a:lnTo>
                    <a:lnTo>
                      <a:pt x="195" y="259"/>
                    </a:lnTo>
                    <a:lnTo>
                      <a:pt x="189" y="268"/>
                    </a:lnTo>
                    <a:lnTo>
                      <a:pt x="162" y="248"/>
                    </a:lnTo>
                    <a:lnTo>
                      <a:pt x="142" y="241"/>
                    </a:lnTo>
                    <a:lnTo>
                      <a:pt x="114" y="224"/>
                    </a:lnTo>
                    <a:lnTo>
                      <a:pt x="97" y="221"/>
                    </a:lnTo>
                    <a:lnTo>
                      <a:pt x="84" y="227"/>
                    </a:lnTo>
                    <a:lnTo>
                      <a:pt x="74" y="236"/>
                    </a:lnTo>
                    <a:lnTo>
                      <a:pt x="63" y="235"/>
                    </a:lnTo>
                    <a:lnTo>
                      <a:pt x="52" y="225"/>
                    </a:lnTo>
                    <a:lnTo>
                      <a:pt x="36" y="226"/>
                    </a:lnTo>
                    <a:lnTo>
                      <a:pt x="28" y="240"/>
                    </a:lnTo>
                    <a:lnTo>
                      <a:pt x="34" y="251"/>
                    </a:lnTo>
                    <a:lnTo>
                      <a:pt x="57" y="262"/>
                    </a:lnTo>
                    <a:lnTo>
                      <a:pt x="74" y="277"/>
                    </a:lnTo>
                    <a:lnTo>
                      <a:pt x="71" y="284"/>
                    </a:lnTo>
                    <a:lnTo>
                      <a:pt x="59" y="283"/>
                    </a:lnTo>
                    <a:lnTo>
                      <a:pt x="50" y="283"/>
                    </a:lnTo>
                    <a:lnTo>
                      <a:pt x="40" y="289"/>
                    </a:lnTo>
                    <a:lnTo>
                      <a:pt x="35" y="297"/>
                    </a:lnTo>
                    <a:lnTo>
                      <a:pt x="22" y="307"/>
                    </a:lnTo>
                    <a:lnTo>
                      <a:pt x="14" y="305"/>
                    </a:lnTo>
                    <a:lnTo>
                      <a:pt x="11" y="295"/>
                    </a:lnTo>
                    <a:lnTo>
                      <a:pt x="18" y="264"/>
                    </a:lnTo>
                    <a:lnTo>
                      <a:pt x="0" y="247"/>
                    </a:lnTo>
                    <a:lnTo>
                      <a:pt x="2" y="224"/>
                    </a:lnTo>
                    <a:lnTo>
                      <a:pt x="11" y="214"/>
                    </a:lnTo>
                    <a:lnTo>
                      <a:pt x="24" y="207"/>
                    </a:lnTo>
                    <a:lnTo>
                      <a:pt x="34" y="195"/>
                    </a:lnTo>
                    <a:lnTo>
                      <a:pt x="38" y="184"/>
                    </a:lnTo>
                    <a:lnTo>
                      <a:pt x="31" y="176"/>
                    </a:lnTo>
                    <a:lnTo>
                      <a:pt x="34" y="167"/>
                    </a:lnTo>
                    <a:lnTo>
                      <a:pt x="47" y="171"/>
                    </a:lnTo>
                    <a:lnTo>
                      <a:pt x="60" y="175"/>
                    </a:lnTo>
                    <a:lnTo>
                      <a:pt x="81" y="175"/>
                    </a:lnTo>
                    <a:lnTo>
                      <a:pt x="88" y="160"/>
                    </a:lnTo>
                    <a:lnTo>
                      <a:pt x="87" y="146"/>
                    </a:lnTo>
                    <a:lnTo>
                      <a:pt x="87" y="135"/>
                    </a:lnTo>
                    <a:lnTo>
                      <a:pt x="94" y="127"/>
                    </a:lnTo>
                    <a:lnTo>
                      <a:pt x="100" y="110"/>
                    </a:lnTo>
                    <a:lnTo>
                      <a:pt x="102" y="90"/>
                    </a:lnTo>
                    <a:lnTo>
                      <a:pt x="109" y="58"/>
                    </a:lnTo>
                    <a:lnTo>
                      <a:pt x="99" y="25"/>
                    </a:lnTo>
                    <a:lnTo>
                      <a:pt x="99" y="15"/>
                    </a:lnTo>
                    <a:lnTo>
                      <a:pt x="110" y="3"/>
                    </a:lnTo>
                    <a:lnTo>
                      <a:pt x="115" y="0"/>
                    </a:lnTo>
                    <a:lnTo>
                      <a:pt x="122" y="8"/>
                    </a:lnTo>
                    <a:lnTo>
                      <a:pt x="126" y="15"/>
                    </a:lnTo>
                    <a:lnTo>
                      <a:pt x="135" y="22"/>
                    </a:lnTo>
                    <a:lnTo>
                      <a:pt x="158" y="54"/>
                    </a:lnTo>
                    <a:lnTo>
                      <a:pt x="179" y="75"/>
                    </a:lnTo>
                    <a:lnTo>
                      <a:pt x="199" y="92"/>
                    </a:lnTo>
                    <a:lnTo>
                      <a:pt x="222" y="103"/>
                    </a:lnTo>
                    <a:lnTo>
                      <a:pt x="244" y="108"/>
                    </a:lnTo>
                    <a:lnTo>
                      <a:pt x="250" y="116"/>
                    </a:lnTo>
                    <a:lnTo>
                      <a:pt x="261" y="121"/>
                    </a:lnTo>
                    <a:lnTo>
                      <a:pt x="272" y="118"/>
                    </a:lnTo>
                    <a:lnTo>
                      <a:pt x="285" y="10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02" name="Freeform 157">
                <a:extLst>
                  <a:ext uri="{FF2B5EF4-FFF2-40B4-BE49-F238E27FC236}">
                    <a16:creationId xmlns:a16="http://schemas.microsoft.com/office/drawing/2014/main" id="{FD252D48-26FE-44C6-9050-C8A032F3B7C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952" y="1989"/>
                <a:ext cx="123" cy="110"/>
              </a:xfrm>
              <a:custGeom>
                <a:avLst/>
                <a:gdLst>
                  <a:gd name="T0" fmla="*/ 23 w 613"/>
                  <a:gd name="T1" fmla="*/ 1 h 552"/>
                  <a:gd name="T2" fmla="*/ 23 w 613"/>
                  <a:gd name="T3" fmla="*/ 3 h 552"/>
                  <a:gd name="T4" fmla="*/ 24 w 613"/>
                  <a:gd name="T5" fmla="*/ 5 h 552"/>
                  <a:gd name="T6" fmla="*/ 24 w 613"/>
                  <a:gd name="T7" fmla="*/ 6 h 552"/>
                  <a:gd name="T8" fmla="*/ 24 w 613"/>
                  <a:gd name="T9" fmla="*/ 7 h 552"/>
                  <a:gd name="T10" fmla="*/ 23 w 613"/>
                  <a:gd name="T11" fmla="*/ 9 h 552"/>
                  <a:gd name="T12" fmla="*/ 22 w 613"/>
                  <a:gd name="T13" fmla="*/ 11 h 552"/>
                  <a:gd name="T14" fmla="*/ 22 w 613"/>
                  <a:gd name="T15" fmla="*/ 13 h 552"/>
                  <a:gd name="T16" fmla="*/ 21 w 613"/>
                  <a:gd name="T17" fmla="*/ 15 h 552"/>
                  <a:gd name="T18" fmla="*/ 22 w 613"/>
                  <a:gd name="T19" fmla="*/ 16 h 552"/>
                  <a:gd name="T20" fmla="*/ 21 w 613"/>
                  <a:gd name="T21" fmla="*/ 17 h 552"/>
                  <a:gd name="T22" fmla="*/ 20 w 613"/>
                  <a:gd name="T23" fmla="*/ 17 h 552"/>
                  <a:gd name="T24" fmla="*/ 20 w 613"/>
                  <a:gd name="T25" fmla="*/ 16 h 552"/>
                  <a:gd name="T26" fmla="*/ 19 w 613"/>
                  <a:gd name="T27" fmla="*/ 18 h 552"/>
                  <a:gd name="T28" fmla="*/ 18 w 613"/>
                  <a:gd name="T29" fmla="*/ 18 h 552"/>
                  <a:gd name="T30" fmla="*/ 18 w 613"/>
                  <a:gd name="T31" fmla="*/ 19 h 552"/>
                  <a:gd name="T32" fmla="*/ 17 w 613"/>
                  <a:gd name="T33" fmla="*/ 18 h 552"/>
                  <a:gd name="T34" fmla="*/ 16 w 613"/>
                  <a:gd name="T35" fmla="*/ 19 h 552"/>
                  <a:gd name="T36" fmla="*/ 14 w 613"/>
                  <a:gd name="T37" fmla="*/ 19 h 552"/>
                  <a:gd name="T38" fmla="*/ 14 w 613"/>
                  <a:gd name="T39" fmla="*/ 19 h 552"/>
                  <a:gd name="T40" fmla="*/ 13 w 613"/>
                  <a:gd name="T41" fmla="*/ 19 h 552"/>
                  <a:gd name="T42" fmla="*/ 13 w 613"/>
                  <a:gd name="T43" fmla="*/ 18 h 552"/>
                  <a:gd name="T44" fmla="*/ 13 w 613"/>
                  <a:gd name="T45" fmla="*/ 20 h 552"/>
                  <a:gd name="T46" fmla="*/ 12 w 613"/>
                  <a:gd name="T47" fmla="*/ 20 h 552"/>
                  <a:gd name="T48" fmla="*/ 12 w 613"/>
                  <a:gd name="T49" fmla="*/ 21 h 552"/>
                  <a:gd name="T50" fmla="*/ 10 w 613"/>
                  <a:gd name="T51" fmla="*/ 22 h 552"/>
                  <a:gd name="T52" fmla="*/ 9 w 613"/>
                  <a:gd name="T53" fmla="*/ 21 h 552"/>
                  <a:gd name="T54" fmla="*/ 10 w 613"/>
                  <a:gd name="T55" fmla="*/ 19 h 552"/>
                  <a:gd name="T56" fmla="*/ 9 w 613"/>
                  <a:gd name="T57" fmla="*/ 19 h 552"/>
                  <a:gd name="T58" fmla="*/ 8 w 613"/>
                  <a:gd name="T59" fmla="*/ 19 h 552"/>
                  <a:gd name="T60" fmla="*/ 6 w 613"/>
                  <a:gd name="T61" fmla="*/ 19 h 552"/>
                  <a:gd name="T62" fmla="*/ 5 w 613"/>
                  <a:gd name="T63" fmla="*/ 20 h 552"/>
                  <a:gd name="T64" fmla="*/ 4 w 613"/>
                  <a:gd name="T65" fmla="*/ 20 h 552"/>
                  <a:gd name="T66" fmla="*/ 3 w 613"/>
                  <a:gd name="T67" fmla="*/ 21 h 552"/>
                  <a:gd name="T68" fmla="*/ 2 w 613"/>
                  <a:gd name="T69" fmla="*/ 21 h 552"/>
                  <a:gd name="T70" fmla="*/ 1 w 613"/>
                  <a:gd name="T71" fmla="*/ 21 h 552"/>
                  <a:gd name="T72" fmla="*/ 0 w 613"/>
                  <a:gd name="T73" fmla="*/ 20 h 552"/>
                  <a:gd name="T74" fmla="*/ 1 w 613"/>
                  <a:gd name="T75" fmla="*/ 19 h 552"/>
                  <a:gd name="T76" fmla="*/ 3 w 613"/>
                  <a:gd name="T77" fmla="*/ 18 h 552"/>
                  <a:gd name="T78" fmla="*/ 4 w 613"/>
                  <a:gd name="T79" fmla="*/ 17 h 552"/>
                  <a:gd name="T80" fmla="*/ 6 w 613"/>
                  <a:gd name="T81" fmla="*/ 17 h 552"/>
                  <a:gd name="T82" fmla="*/ 9 w 613"/>
                  <a:gd name="T83" fmla="*/ 16 h 552"/>
                  <a:gd name="T84" fmla="*/ 10 w 613"/>
                  <a:gd name="T85" fmla="*/ 16 h 552"/>
                  <a:gd name="T86" fmla="*/ 11 w 613"/>
                  <a:gd name="T87" fmla="*/ 16 h 552"/>
                  <a:gd name="T88" fmla="*/ 12 w 613"/>
                  <a:gd name="T89" fmla="*/ 14 h 552"/>
                  <a:gd name="T90" fmla="*/ 13 w 613"/>
                  <a:gd name="T91" fmla="*/ 12 h 552"/>
                  <a:gd name="T92" fmla="*/ 14 w 613"/>
                  <a:gd name="T93" fmla="*/ 11 h 552"/>
                  <a:gd name="T94" fmla="*/ 13 w 613"/>
                  <a:gd name="T95" fmla="*/ 12 h 552"/>
                  <a:gd name="T96" fmla="*/ 13 w 613"/>
                  <a:gd name="T97" fmla="*/ 13 h 552"/>
                  <a:gd name="T98" fmla="*/ 15 w 613"/>
                  <a:gd name="T99" fmla="*/ 13 h 552"/>
                  <a:gd name="T100" fmla="*/ 16 w 613"/>
                  <a:gd name="T101" fmla="*/ 12 h 552"/>
                  <a:gd name="T102" fmla="*/ 18 w 613"/>
                  <a:gd name="T103" fmla="*/ 10 h 552"/>
                  <a:gd name="T104" fmla="*/ 19 w 613"/>
                  <a:gd name="T105" fmla="*/ 9 h 552"/>
                  <a:gd name="T106" fmla="*/ 20 w 613"/>
                  <a:gd name="T107" fmla="*/ 7 h 552"/>
                  <a:gd name="T108" fmla="*/ 20 w 613"/>
                  <a:gd name="T109" fmla="*/ 6 h 552"/>
                  <a:gd name="T110" fmla="*/ 20 w 613"/>
                  <a:gd name="T111" fmla="*/ 5 h 552"/>
                  <a:gd name="T112" fmla="*/ 20 w 613"/>
                  <a:gd name="T113" fmla="*/ 4 h 552"/>
                  <a:gd name="T114" fmla="*/ 21 w 613"/>
                  <a:gd name="T115" fmla="*/ 2 h 552"/>
                  <a:gd name="T116" fmla="*/ 21 w 613"/>
                  <a:gd name="T117" fmla="*/ 1 h 552"/>
                  <a:gd name="T118" fmla="*/ 22 w 613"/>
                  <a:gd name="T119" fmla="*/ 2 h 552"/>
                  <a:gd name="T120" fmla="*/ 22 w 613"/>
                  <a:gd name="T121" fmla="*/ 2 h 552"/>
                  <a:gd name="T122" fmla="*/ 22 w 613"/>
                  <a:gd name="T123" fmla="*/ 1 h 552"/>
                  <a:gd name="T124" fmla="*/ 22 w 613"/>
                  <a:gd name="T125" fmla="*/ 0 h 552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613"/>
                  <a:gd name="T190" fmla="*/ 0 h 552"/>
                  <a:gd name="T191" fmla="*/ 613 w 613"/>
                  <a:gd name="T192" fmla="*/ 552 h 552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613" h="552">
                    <a:moveTo>
                      <a:pt x="560" y="6"/>
                    </a:moveTo>
                    <a:lnTo>
                      <a:pt x="576" y="6"/>
                    </a:lnTo>
                    <a:lnTo>
                      <a:pt x="578" y="13"/>
                    </a:lnTo>
                    <a:lnTo>
                      <a:pt x="576" y="37"/>
                    </a:lnTo>
                    <a:lnTo>
                      <a:pt x="577" y="53"/>
                    </a:lnTo>
                    <a:lnTo>
                      <a:pt x="582" y="69"/>
                    </a:lnTo>
                    <a:lnTo>
                      <a:pt x="592" y="83"/>
                    </a:lnTo>
                    <a:lnTo>
                      <a:pt x="598" y="96"/>
                    </a:lnTo>
                    <a:lnTo>
                      <a:pt x="607" y="118"/>
                    </a:lnTo>
                    <a:lnTo>
                      <a:pt x="613" y="143"/>
                    </a:lnTo>
                    <a:lnTo>
                      <a:pt x="612" y="153"/>
                    </a:lnTo>
                    <a:lnTo>
                      <a:pt x="608" y="160"/>
                    </a:lnTo>
                    <a:lnTo>
                      <a:pt x="607" y="171"/>
                    </a:lnTo>
                    <a:lnTo>
                      <a:pt x="599" y="180"/>
                    </a:lnTo>
                    <a:lnTo>
                      <a:pt x="593" y="180"/>
                    </a:lnTo>
                    <a:lnTo>
                      <a:pt x="585" y="208"/>
                    </a:lnTo>
                    <a:lnTo>
                      <a:pt x="583" y="224"/>
                    </a:lnTo>
                    <a:lnTo>
                      <a:pt x="571" y="223"/>
                    </a:lnTo>
                    <a:lnTo>
                      <a:pt x="556" y="232"/>
                    </a:lnTo>
                    <a:lnTo>
                      <a:pt x="551" y="251"/>
                    </a:lnTo>
                    <a:lnTo>
                      <a:pt x="554" y="268"/>
                    </a:lnTo>
                    <a:lnTo>
                      <a:pt x="556" y="284"/>
                    </a:lnTo>
                    <a:lnTo>
                      <a:pt x="556" y="305"/>
                    </a:lnTo>
                    <a:lnTo>
                      <a:pt x="558" y="317"/>
                    </a:lnTo>
                    <a:lnTo>
                      <a:pt x="548" y="327"/>
                    </a:lnTo>
                    <a:lnTo>
                      <a:pt x="539" y="347"/>
                    </a:lnTo>
                    <a:lnTo>
                      <a:pt x="535" y="365"/>
                    </a:lnTo>
                    <a:lnTo>
                      <a:pt x="535" y="386"/>
                    </a:lnTo>
                    <a:lnTo>
                      <a:pt x="543" y="397"/>
                    </a:lnTo>
                    <a:lnTo>
                      <a:pt x="545" y="404"/>
                    </a:lnTo>
                    <a:lnTo>
                      <a:pt x="537" y="409"/>
                    </a:lnTo>
                    <a:lnTo>
                      <a:pt x="527" y="425"/>
                    </a:lnTo>
                    <a:lnTo>
                      <a:pt x="521" y="439"/>
                    </a:lnTo>
                    <a:lnTo>
                      <a:pt x="494" y="459"/>
                    </a:lnTo>
                    <a:lnTo>
                      <a:pt x="491" y="449"/>
                    </a:lnTo>
                    <a:lnTo>
                      <a:pt x="495" y="425"/>
                    </a:lnTo>
                    <a:lnTo>
                      <a:pt x="502" y="417"/>
                    </a:lnTo>
                    <a:lnTo>
                      <a:pt x="505" y="408"/>
                    </a:lnTo>
                    <a:lnTo>
                      <a:pt x="491" y="408"/>
                    </a:lnTo>
                    <a:lnTo>
                      <a:pt x="489" y="419"/>
                    </a:lnTo>
                    <a:lnTo>
                      <a:pt x="484" y="429"/>
                    </a:lnTo>
                    <a:lnTo>
                      <a:pt x="483" y="440"/>
                    </a:lnTo>
                    <a:lnTo>
                      <a:pt x="475" y="434"/>
                    </a:lnTo>
                    <a:lnTo>
                      <a:pt x="462" y="433"/>
                    </a:lnTo>
                    <a:lnTo>
                      <a:pt x="456" y="443"/>
                    </a:lnTo>
                    <a:lnTo>
                      <a:pt x="451" y="468"/>
                    </a:lnTo>
                    <a:lnTo>
                      <a:pt x="445" y="476"/>
                    </a:lnTo>
                    <a:lnTo>
                      <a:pt x="437" y="474"/>
                    </a:lnTo>
                    <a:lnTo>
                      <a:pt x="435" y="459"/>
                    </a:lnTo>
                    <a:lnTo>
                      <a:pt x="436" y="447"/>
                    </a:lnTo>
                    <a:lnTo>
                      <a:pt x="427" y="446"/>
                    </a:lnTo>
                    <a:lnTo>
                      <a:pt x="419" y="455"/>
                    </a:lnTo>
                    <a:lnTo>
                      <a:pt x="410" y="466"/>
                    </a:lnTo>
                    <a:lnTo>
                      <a:pt x="404" y="478"/>
                    </a:lnTo>
                    <a:lnTo>
                      <a:pt x="402" y="479"/>
                    </a:lnTo>
                    <a:lnTo>
                      <a:pt x="384" y="476"/>
                    </a:lnTo>
                    <a:lnTo>
                      <a:pt x="356" y="476"/>
                    </a:lnTo>
                    <a:lnTo>
                      <a:pt x="341" y="479"/>
                    </a:lnTo>
                    <a:lnTo>
                      <a:pt x="345" y="474"/>
                    </a:lnTo>
                    <a:lnTo>
                      <a:pt x="351" y="470"/>
                    </a:lnTo>
                    <a:lnTo>
                      <a:pt x="339" y="467"/>
                    </a:lnTo>
                    <a:lnTo>
                      <a:pt x="336" y="463"/>
                    </a:lnTo>
                    <a:lnTo>
                      <a:pt x="333" y="470"/>
                    </a:lnTo>
                    <a:lnTo>
                      <a:pt x="327" y="462"/>
                    </a:lnTo>
                    <a:lnTo>
                      <a:pt x="325" y="449"/>
                    </a:lnTo>
                    <a:lnTo>
                      <a:pt x="320" y="451"/>
                    </a:lnTo>
                    <a:lnTo>
                      <a:pt x="309" y="476"/>
                    </a:lnTo>
                    <a:lnTo>
                      <a:pt x="328" y="488"/>
                    </a:lnTo>
                    <a:lnTo>
                      <a:pt x="328" y="504"/>
                    </a:lnTo>
                    <a:lnTo>
                      <a:pt x="320" y="498"/>
                    </a:lnTo>
                    <a:lnTo>
                      <a:pt x="314" y="501"/>
                    </a:lnTo>
                    <a:lnTo>
                      <a:pt x="307" y="503"/>
                    </a:lnTo>
                    <a:lnTo>
                      <a:pt x="300" y="508"/>
                    </a:lnTo>
                    <a:lnTo>
                      <a:pt x="296" y="514"/>
                    </a:lnTo>
                    <a:lnTo>
                      <a:pt x="295" y="517"/>
                    </a:lnTo>
                    <a:lnTo>
                      <a:pt x="279" y="546"/>
                    </a:lnTo>
                    <a:lnTo>
                      <a:pt x="268" y="552"/>
                    </a:lnTo>
                    <a:lnTo>
                      <a:pt x="252" y="546"/>
                    </a:lnTo>
                    <a:lnTo>
                      <a:pt x="247" y="536"/>
                    </a:lnTo>
                    <a:lnTo>
                      <a:pt x="236" y="529"/>
                    </a:lnTo>
                    <a:lnTo>
                      <a:pt x="233" y="517"/>
                    </a:lnTo>
                    <a:lnTo>
                      <a:pt x="233" y="499"/>
                    </a:lnTo>
                    <a:lnTo>
                      <a:pt x="238" y="494"/>
                    </a:lnTo>
                    <a:lnTo>
                      <a:pt x="248" y="479"/>
                    </a:lnTo>
                    <a:lnTo>
                      <a:pt x="249" y="474"/>
                    </a:lnTo>
                    <a:lnTo>
                      <a:pt x="247" y="472"/>
                    </a:lnTo>
                    <a:lnTo>
                      <a:pt x="228" y="476"/>
                    </a:lnTo>
                    <a:lnTo>
                      <a:pt x="216" y="471"/>
                    </a:lnTo>
                    <a:lnTo>
                      <a:pt x="203" y="468"/>
                    </a:lnTo>
                    <a:lnTo>
                      <a:pt x="190" y="468"/>
                    </a:lnTo>
                    <a:lnTo>
                      <a:pt x="179" y="478"/>
                    </a:lnTo>
                    <a:lnTo>
                      <a:pt x="163" y="488"/>
                    </a:lnTo>
                    <a:lnTo>
                      <a:pt x="156" y="483"/>
                    </a:lnTo>
                    <a:lnTo>
                      <a:pt x="147" y="487"/>
                    </a:lnTo>
                    <a:lnTo>
                      <a:pt x="142" y="487"/>
                    </a:lnTo>
                    <a:lnTo>
                      <a:pt x="133" y="492"/>
                    </a:lnTo>
                    <a:lnTo>
                      <a:pt x="126" y="492"/>
                    </a:lnTo>
                    <a:lnTo>
                      <a:pt x="119" y="495"/>
                    </a:lnTo>
                    <a:lnTo>
                      <a:pt x="92" y="503"/>
                    </a:lnTo>
                    <a:lnTo>
                      <a:pt x="85" y="497"/>
                    </a:lnTo>
                    <a:lnTo>
                      <a:pt x="78" y="498"/>
                    </a:lnTo>
                    <a:lnTo>
                      <a:pt x="69" y="524"/>
                    </a:lnTo>
                    <a:lnTo>
                      <a:pt x="64" y="525"/>
                    </a:lnTo>
                    <a:lnTo>
                      <a:pt x="51" y="520"/>
                    </a:lnTo>
                    <a:lnTo>
                      <a:pt x="43" y="515"/>
                    </a:lnTo>
                    <a:lnTo>
                      <a:pt x="32" y="519"/>
                    </a:lnTo>
                    <a:lnTo>
                      <a:pt x="24" y="519"/>
                    </a:lnTo>
                    <a:lnTo>
                      <a:pt x="20" y="521"/>
                    </a:lnTo>
                    <a:lnTo>
                      <a:pt x="10" y="517"/>
                    </a:lnTo>
                    <a:lnTo>
                      <a:pt x="0" y="516"/>
                    </a:lnTo>
                    <a:lnTo>
                      <a:pt x="0" y="503"/>
                    </a:lnTo>
                    <a:lnTo>
                      <a:pt x="1" y="495"/>
                    </a:lnTo>
                    <a:lnTo>
                      <a:pt x="26" y="488"/>
                    </a:lnTo>
                    <a:lnTo>
                      <a:pt x="35" y="478"/>
                    </a:lnTo>
                    <a:lnTo>
                      <a:pt x="45" y="471"/>
                    </a:lnTo>
                    <a:lnTo>
                      <a:pt x="63" y="461"/>
                    </a:lnTo>
                    <a:lnTo>
                      <a:pt x="74" y="446"/>
                    </a:lnTo>
                    <a:lnTo>
                      <a:pt x="87" y="438"/>
                    </a:lnTo>
                    <a:lnTo>
                      <a:pt x="94" y="424"/>
                    </a:lnTo>
                    <a:lnTo>
                      <a:pt x="106" y="417"/>
                    </a:lnTo>
                    <a:lnTo>
                      <a:pt x="118" y="413"/>
                    </a:lnTo>
                    <a:lnTo>
                      <a:pt x="136" y="418"/>
                    </a:lnTo>
                    <a:lnTo>
                      <a:pt x="155" y="416"/>
                    </a:lnTo>
                    <a:lnTo>
                      <a:pt x="169" y="417"/>
                    </a:lnTo>
                    <a:lnTo>
                      <a:pt x="209" y="408"/>
                    </a:lnTo>
                    <a:lnTo>
                      <a:pt x="219" y="407"/>
                    </a:lnTo>
                    <a:lnTo>
                      <a:pt x="228" y="403"/>
                    </a:lnTo>
                    <a:lnTo>
                      <a:pt x="238" y="403"/>
                    </a:lnTo>
                    <a:lnTo>
                      <a:pt x="237" y="412"/>
                    </a:lnTo>
                    <a:lnTo>
                      <a:pt x="260" y="418"/>
                    </a:lnTo>
                    <a:lnTo>
                      <a:pt x="265" y="417"/>
                    </a:lnTo>
                    <a:lnTo>
                      <a:pt x="270" y="412"/>
                    </a:lnTo>
                    <a:lnTo>
                      <a:pt x="282" y="403"/>
                    </a:lnTo>
                    <a:lnTo>
                      <a:pt x="284" y="371"/>
                    </a:lnTo>
                    <a:lnTo>
                      <a:pt x="300" y="357"/>
                    </a:lnTo>
                    <a:lnTo>
                      <a:pt x="312" y="339"/>
                    </a:lnTo>
                    <a:lnTo>
                      <a:pt x="320" y="320"/>
                    </a:lnTo>
                    <a:lnTo>
                      <a:pt x="322" y="305"/>
                    </a:lnTo>
                    <a:lnTo>
                      <a:pt x="324" y="294"/>
                    </a:lnTo>
                    <a:lnTo>
                      <a:pt x="343" y="283"/>
                    </a:lnTo>
                    <a:lnTo>
                      <a:pt x="351" y="284"/>
                    </a:lnTo>
                    <a:lnTo>
                      <a:pt x="350" y="294"/>
                    </a:lnTo>
                    <a:lnTo>
                      <a:pt x="341" y="298"/>
                    </a:lnTo>
                    <a:lnTo>
                      <a:pt x="333" y="306"/>
                    </a:lnTo>
                    <a:lnTo>
                      <a:pt x="332" y="309"/>
                    </a:lnTo>
                    <a:lnTo>
                      <a:pt x="336" y="321"/>
                    </a:lnTo>
                    <a:lnTo>
                      <a:pt x="336" y="333"/>
                    </a:lnTo>
                    <a:lnTo>
                      <a:pt x="341" y="333"/>
                    </a:lnTo>
                    <a:lnTo>
                      <a:pt x="354" y="332"/>
                    </a:lnTo>
                    <a:lnTo>
                      <a:pt x="363" y="321"/>
                    </a:lnTo>
                    <a:lnTo>
                      <a:pt x="377" y="314"/>
                    </a:lnTo>
                    <a:lnTo>
                      <a:pt x="393" y="309"/>
                    </a:lnTo>
                    <a:lnTo>
                      <a:pt x="410" y="295"/>
                    </a:lnTo>
                    <a:lnTo>
                      <a:pt x="422" y="284"/>
                    </a:lnTo>
                    <a:lnTo>
                      <a:pt x="430" y="269"/>
                    </a:lnTo>
                    <a:lnTo>
                      <a:pt x="440" y="257"/>
                    </a:lnTo>
                    <a:lnTo>
                      <a:pt x="453" y="247"/>
                    </a:lnTo>
                    <a:lnTo>
                      <a:pt x="459" y="247"/>
                    </a:lnTo>
                    <a:lnTo>
                      <a:pt x="467" y="235"/>
                    </a:lnTo>
                    <a:lnTo>
                      <a:pt x="468" y="225"/>
                    </a:lnTo>
                    <a:lnTo>
                      <a:pt x="470" y="215"/>
                    </a:lnTo>
                    <a:lnTo>
                      <a:pt x="486" y="188"/>
                    </a:lnTo>
                    <a:lnTo>
                      <a:pt x="490" y="176"/>
                    </a:lnTo>
                    <a:lnTo>
                      <a:pt x="492" y="165"/>
                    </a:lnTo>
                    <a:lnTo>
                      <a:pt x="499" y="154"/>
                    </a:lnTo>
                    <a:lnTo>
                      <a:pt x="502" y="139"/>
                    </a:lnTo>
                    <a:lnTo>
                      <a:pt x="502" y="123"/>
                    </a:lnTo>
                    <a:lnTo>
                      <a:pt x="495" y="117"/>
                    </a:lnTo>
                    <a:lnTo>
                      <a:pt x="484" y="112"/>
                    </a:lnTo>
                    <a:lnTo>
                      <a:pt x="489" y="107"/>
                    </a:lnTo>
                    <a:lnTo>
                      <a:pt x="499" y="92"/>
                    </a:lnTo>
                    <a:lnTo>
                      <a:pt x="497" y="62"/>
                    </a:lnTo>
                    <a:lnTo>
                      <a:pt x="502" y="53"/>
                    </a:lnTo>
                    <a:lnTo>
                      <a:pt x="512" y="49"/>
                    </a:lnTo>
                    <a:lnTo>
                      <a:pt x="513" y="32"/>
                    </a:lnTo>
                    <a:lnTo>
                      <a:pt x="517" y="24"/>
                    </a:lnTo>
                    <a:lnTo>
                      <a:pt x="524" y="20"/>
                    </a:lnTo>
                    <a:lnTo>
                      <a:pt x="531" y="29"/>
                    </a:lnTo>
                    <a:lnTo>
                      <a:pt x="535" y="42"/>
                    </a:lnTo>
                    <a:lnTo>
                      <a:pt x="539" y="48"/>
                    </a:lnTo>
                    <a:lnTo>
                      <a:pt x="547" y="38"/>
                    </a:lnTo>
                    <a:lnTo>
                      <a:pt x="553" y="42"/>
                    </a:lnTo>
                    <a:lnTo>
                      <a:pt x="560" y="41"/>
                    </a:lnTo>
                    <a:lnTo>
                      <a:pt x="566" y="27"/>
                    </a:lnTo>
                    <a:lnTo>
                      <a:pt x="567" y="15"/>
                    </a:lnTo>
                    <a:lnTo>
                      <a:pt x="559" y="22"/>
                    </a:lnTo>
                    <a:lnTo>
                      <a:pt x="547" y="26"/>
                    </a:lnTo>
                    <a:lnTo>
                      <a:pt x="543" y="14"/>
                    </a:lnTo>
                    <a:lnTo>
                      <a:pt x="547" y="3"/>
                    </a:lnTo>
                    <a:lnTo>
                      <a:pt x="551" y="0"/>
                    </a:lnTo>
                    <a:lnTo>
                      <a:pt x="560" y="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03" name="Freeform 158">
                <a:extLst>
                  <a:ext uri="{FF2B5EF4-FFF2-40B4-BE49-F238E27FC236}">
                    <a16:creationId xmlns:a16="http://schemas.microsoft.com/office/drawing/2014/main" id="{B71CBF8E-01CE-0F8C-A6A4-A4F41FEA785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966" y="2088"/>
                <a:ext cx="28" cy="21"/>
              </a:xfrm>
              <a:custGeom>
                <a:avLst/>
                <a:gdLst>
                  <a:gd name="T0" fmla="*/ 5 w 140"/>
                  <a:gd name="T1" fmla="*/ 3 h 107"/>
                  <a:gd name="T2" fmla="*/ 4 w 140"/>
                  <a:gd name="T3" fmla="*/ 2 h 107"/>
                  <a:gd name="T4" fmla="*/ 4 w 140"/>
                  <a:gd name="T5" fmla="*/ 2 h 107"/>
                  <a:gd name="T6" fmla="*/ 3 w 140"/>
                  <a:gd name="T7" fmla="*/ 2 h 107"/>
                  <a:gd name="T8" fmla="*/ 3 w 140"/>
                  <a:gd name="T9" fmla="*/ 3 h 107"/>
                  <a:gd name="T10" fmla="*/ 2 w 140"/>
                  <a:gd name="T11" fmla="*/ 3 h 107"/>
                  <a:gd name="T12" fmla="*/ 2 w 140"/>
                  <a:gd name="T13" fmla="*/ 4 h 107"/>
                  <a:gd name="T14" fmla="*/ 2 w 140"/>
                  <a:gd name="T15" fmla="*/ 4 h 107"/>
                  <a:gd name="T16" fmla="*/ 2 w 140"/>
                  <a:gd name="T17" fmla="*/ 4 h 107"/>
                  <a:gd name="T18" fmla="*/ 1 w 140"/>
                  <a:gd name="T19" fmla="*/ 4 h 107"/>
                  <a:gd name="T20" fmla="*/ 1 w 140"/>
                  <a:gd name="T21" fmla="*/ 4 h 107"/>
                  <a:gd name="T22" fmla="*/ 1 w 140"/>
                  <a:gd name="T23" fmla="*/ 3 h 107"/>
                  <a:gd name="T24" fmla="*/ 1 w 140"/>
                  <a:gd name="T25" fmla="*/ 3 h 107"/>
                  <a:gd name="T26" fmla="*/ 1 w 140"/>
                  <a:gd name="T27" fmla="*/ 3 h 107"/>
                  <a:gd name="T28" fmla="*/ 0 w 140"/>
                  <a:gd name="T29" fmla="*/ 3 h 107"/>
                  <a:gd name="T30" fmla="*/ 0 w 140"/>
                  <a:gd name="T31" fmla="*/ 3 h 107"/>
                  <a:gd name="T32" fmla="*/ 1 w 140"/>
                  <a:gd name="T33" fmla="*/ 2 h 107"/>
                  <a:gd name="T34" fmla="*/ 1 w 140"/>
                  <a:gd name="T35" fmla="*/ 1 h 107"/>
                  <a:gd name="T36" fmla="*/ 2 w 140"/>
                  <a:gd name="T37" fmla="*/ 1 h 107"/>
                  <a:gd name="T38" fmla="*/ 2 w 140"/>
                  <a:gd name="T39" fmla="*/ 1 h 107"/>
                  <a:gd name="T40" fmla="*/ 3 w 140"/>
                  <a:gd name="T41" fmla="*/ 1 h 107"/>
                  <a:gd name="T42" fmla="*/ 3 w 140"/>
                  <a:gd name="T43" fmla="*/ 1 h 107"/>
                  <a:gd name="T44" fmla="*/ 3 w 140"/>
                  <a:gd name="T45" fmla="*/ 1 h 107"/>
                  <a:gd name="T46" fmla="*/ 4 w 140"/>
                  <a:gd name="T47" fmla="*/ 0 h 107"/>
                  <a:gd name="T48" fmla="*/ 4 w 140"/>
                  <a:gd name="T49" fmla="*/ 0 h 107"/>
                  <a:gd name="T50" fmla="*/ 4 w 140"/>
                  <a:gd name="T51" fmla="*/ 0 h 107"/>
                  <a:gd name="T52" fmla="*/ 5 w 140"/>
                  <a:gd name="T53" fmla="*/ 0 h 107"/>
                  <a:gd name="T54" fmla="*/ 5 w 140"/>
                  <a:gd name="T55" fmla="*/ 0 h 107"/>
                  <a:gd name="T56" fmla="*/ 6 w 140"/>
                  <a:gd name="T57" fmla="*/ 1 h 107"/>
                  <a:gd name="T58" fmla="*/ 6 w 140"/>
                  <a:gd name="T59" fmla="*/ 1 h 107"/>
                  <a:gd name="T60" fmla="*/ 5 w 140"/>
                  <a:gd name="T61" fmla="*/ 2 h 107"/>
                  <a:gd name="T62" fmla="*/ 5 w 140"/>
                  <a:gd name="T63" fmla="*/ 2 h 107"/>
                  <a:gd name="T64" fmla="*/ 5 w 140"/>
                  <a:gd name="T65" fmla="*/ 2 h 107"/>
                  <a:gd name="T66" fmla="*/ 5 w 140"/>
                  <a:gd name="T67" fmla="*/ 2 h 107"/>
                  <a:gd name="T68" fmla="*/ 5 w 140"/>
                  <a:gd name="T69" fmla="*/ 3 h 107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140"/>
                  <a:gd name="T106" fmla="*/ 0 h 107"/>
                  <a:gd name="T107" fmla="*/ 140 w 140"/>
                  <a:gd name="T108" fmla="*/ 107 h 107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140" h="107">
                    <a:moveTo>
                      <a:pt x="113" y="70"/>
                    </a:moveTo>
                    <a:lnTo>
                      <a:pt x="102" y="63"/>
                    </a:lnTo>
                    <a:lnTo>
                      <a:pt x="88" y="58"/>
                    </a:lnTo>
                    <a:lnTo>
                      <a:pt x="74" y="62"/>
                    </a:lnTo>
                    <a:lnTo>
                      <a:pt x="66" y="68"/>
                    </a:lnTo>
                    <a:lnTo>
                      <a:pt x="59" y="80"/>
                    </a:lnTo>
                    <a:lnTo>
                      <a:pt x="50" y="95"/>
                    </a:lnTo>
                    <a:lnTo>
                      <a:pt x="48" y="106"/>
                    </a:lnTo>
                    <a:lnTo>
                      <a:pt x="39" y="107"/>
                    </a:lnTo>
                    <a:lnTo>
                      <a:pt x="30" y="100"/>
                    </a:lnTo>
                    <a:lnTo>
                      <a:pt x="26" y="95"/>
                    </a:lnTo>
                    <a:lnTo>
                      <a:pt x="19" y="82"/>
                    </a:lnTo>
                    <a:lnTo>
                      <a:pt x="20" y="76"/>
                    </a:lnTo>
                    <a:lnTo>
                      <a:pt x="16" y="69"/>
                    </a:lnTo>
                    <a:lnTo>
                      <a:pt x="10" y="64"/>
                    </a:lnTo>
                    <a:lnTo>
                      <a:pt x="0" y="64"/>
                    </a:lnTo>
                    <a:lnTo>
                      <a:pt x="15" y="53"/>
                    </a:lnTo>
                    <a:lnTo>
                      <a:pt x="37" y="23"/>
                    </a:lnTo>
                    <a:lnTo>
                      <a:pt x="50" y="25"/>
                    </a:lnTo>
                    <a:lnTo>
                      <a:pt x="57" y="28"/>
                    </a:lnTo>
                    <a:lnTo>
                      <a:pt x="68" y="26"/>
                    </a:lnTo>
                    <a:lnTo>
                      <a:pt x="78" y="21"/>
                    </a:lnTo>
                    <a:lnTo>
                      <a:pt x="82" y="14"/>
                    </a:lnTo>
                    <a:lnTo>
                      <a:pt x="95" y="1"/>
                    </a:lnTo>
                    <a:lnTo>
                      <a:pt x="102" y="0"/>
                    </a:lnTo>
                    <a:lnTo>
                      <a:pt x="112" y="3"/>
                    </a:lnTo>
                    <a:lnTo>
                      <a:pt x="123" y="9"/>
                    </a:lnTo>
                    <a:lnTo>
                      <a:pt x="132" y="10"/>
                    </a:lnTo>
                    <a:lnTo>
                      <a:pt x="138" y="33"/>
                    </a:lnTo>
                    <a:lnTo>
                      <a:pt x="140" y="36"/>
                    </a:lnTo>
                    <a:lnTo>
                      <a:pt x="134" y="44"/>
                    </a:lnTo>
                    <a:lnTo>
                      <a:pt x="128" y="47"/>
                    </a:lnTo>
                    <a:lnTo>
                      <a:pt x="123" y="54"/>
                    </a:lnTo>
                    <a:lnTo>
                      <a:pt x="118" y="63"/>
                    </a:lnTo>
                    <a:lnTo>
                      <a:pt x="113" y="7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04" name="Freeform 159">
                <a:extLst>
                  <a:ext uri="{FF2B5EF4-FFF2-40B4-BE49-F238E27FC236}">
                    <a16:creationId xmlns:a16="http://schemas.microsoft.com/office/drawing/2014/main" id="{F4940784-46FD-C348-032D-481DDAE56A8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938" y="2093"/>
                <a:ext cx="26" cy="38"/>
              </a:xfrm>
              <a:custGeom>
                <a:avLst/>
                <a:gdLst>
                  <a:gd name="T0" fmla="*/ 3 w 131"/>
                  <a:gd name="T1" fmla="*/ 0 h 187"/>
                  <a:gd name="T2" fmla="*/ 2 w 131"/>
                  <a:gd name="T3" fmla="*/ 0 h 187"/>
                  <a:gd name="T4" fmla="*/ 2 w 131"/>
                  <a:gd name="T5" fmla="*/ 1 h 187"/>
                  <a:gd name="T6" fmla="*/ 1 w 131"/>
                  <a:gd name="T7" fmla="*/ 1 h 187"/>
                  <a:gd name="T8" fmla="*/ 1 w 131"/>
                  <a:gd name="T9" fmla="*/ 1 h 187"/>
                  <a:gd name="T10" fmla="*/ 0 w 131"/>
                  <a:gd name="T11" fmla="*/ 2 h 187"/>
                  <a:gd name="T12" fmla="*/ 1 w 131"/>
                  <a:gd name="T13" fmla="*/ 3 h 187"/>
                  <a:gd name="T14" fmla="*/ 0 w 131"/>
                  <a:gd name="T15" fmla="*/ 3 h 187"/>
                  <a:gd name="T16" fmla="*/ 0 w 131"/>
                  <a:gd name="T17" fmla="*/ 4 h 187"/>
                  <a:gd name="T18" fmla="*/ 1 w 131"/>
                  <a:gd name="T19" fmla="*/ 3 h 187"/>
                  <a:gd name="T20" fmla="*/ 2 w 131"/>
                  <a:gd name="T21" fmla="*/ 3 h 187"/>
                  <a:gd name="T22" fmla="*/ 1 w 131"/>
                  <a:gd name="T23" fmla="*/ 3 h 187"/>
                  <a:gd name="T24" fmla="*/ 1 w 131"/>
                  <a:gd name="T25" fmla="*/ 2 h 187"/>
                  <a:gd name="T26" fmla="*/ 2 w 131"/>
                  <a:gd name="T27" fmla="*/ 3 h 187"/>
                  <a:gd name="T28" fmla="*/ 2 w 131"/>
                  <a:gd name="T29" fmla="*/ 3 h 187"/>
                  <a:gd name="T30" fmla="*/ 2 w 131"/>
                  <a:gd name="T31" fmla="*/ 5 h 187"/>
                  <a:gd name="T32" fmla="*/ 1 w 131"/>
                  <a:gd name="T33" fmla="*/ 5 h 187"/>
                  <a:gd name="T34" fmla="*/ 2 w 131"/>
                  <a:gd name="T35" fmla="*/ 7 h 187"/>
                  <a:gd name="T36" fmla="*/ 2 w 131"/>
                  <a:gd name="T37" fmla="*/ 7 h 187"/>
                  <a:gd name="T38" fmla="*/ 2 w 131"/>
                  <a:gd name="T39" fmla="*/ 7 h 187"/>
                  <a:gd name="T40" fmla="*/ 2 w 131"/>
                  <a:gd name="T41" fmla="*/ 6 h 187"/>
                  <a:gd name="T42" fmla="*/ 2 w 131"/>
                  <a:gd name="T43" fmla="*/ 6 h 187"/>
                  <a:gd name="T44" fmla="*/ 3 w 131"/>
                  <a:gd name="T45" fmla="*/ 7 h 187"/>
                  <a:gd name="T46" fmla="*/ 3 w 131"/>
                  <a:gd name="T47" fmla="*/ 8 h 187"/>
                  <a:gd name="T48" fmla="*/ 3 w 131"/>
                  <a:gd name="T49" fmla="*/ 7 h 187"/>
                  <a:gd name="T50" fmla="*/ 4 w 131"/>
                  <a:gd name="T51" fmla="*/ 7 h 187"/>
                  <a:gd name="T52" fmla="*/ 4 w 131"/>
                  <a:gd name="T53" fmla="*/ 5 h 187"/>
                  <a:gd name="T54" fmla="*/ 5 w 131"/>
                  <a:gd name="T55" fmla="*/ 4 h 187"/>
                  <a:gd name="T56" fmla="*/ 5 w 131"/>
                  <a:gd name="T57" fmla="*/ 3 h 187"/>
                  <a:gd name="T58" fmla="*/ 5 w 131"/>
                  <a:gd name="T59" fmla="*/ 2 h 187"/>
                  <a:gd name="T60" fmla="*/ 4 w 131"/>
                  <a:gd name="T61" fmla="*/ 2 h 187"/>
                  <a:gd name="T62" fmla="*/ 4 w 131"/>
                  <a:gd name="T63" fmla="*/ 1 h 187"/>
                  <a:gd name="T64" fmla="*/ 3 w 131"/>
                  <a:gd name="T65" fmla="*/ 1 h 187"/>
                  <a:gd name="T66" fmla="*/ 3 w 131"/>
                  <a:gd name="T67" fmla="*/ 0 h 187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31"/>
                  <a:gd name="T103" fmla="*/ 0 h 187"/>
                  <a:gd name="T104" fmla="*/ 131 w 131"/>
                  <a:gd name="T105" fmla="*/ 187 h 187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31" h="187">
                    <a:moveTo>
                      <a:pt x="67" y="2"/>
                    </a:moveTo>
                    <a:lnTo>
                      <a:pt x="69" y="2"/>
                    </a:lnTo>
                    <a:lnTo>
                      <a:pt x="64" y="0"/>
                    </a:lnTo>
                    <a:lnTo>
                      <a:pt x="56" y="4"/>
                    </a:lnTo>
                    <a:lnTo>
                      <a:pt x="47" y="13"/>
                    </a:lnTo>
                    <a:lnTo>
                      <a:pt x="42" y="22"/>
                    </a:lnTo>
                    <a:lnTo>
                      <a:pt x="35" y="22"/>
                    </a:lnTo>
                    <a:lnTo>
                      <a:pt x="29" y="29"/>
                    </a:lnTo>
                    <a:lnTo>
                      <a:pt x="21" y="32"/>
                    </a:lnTo>
                    <a:lnTo>
                      <a:pt x="18" y="29"/>
                    </a:lnTo>
                    <a:lnTo>
                      <a:pt x="11" y="34"/>
                    </a:lnTo>
                    <a:lnTo>
                      <a:pt x="0" y="48"/>
                    </a:lnTo>
                    <a:lnTo>
                      <a:pt x="10" y="56"/>
                    </a:lnTo>
                    <a:lnTo>
                      <a:pt x="16" y="64"/>
                    </a:lnTo>
                    <a:lnTo>
                      <a:pt x="16" y="72"/>
                    </a:lnTo>
                    <a:lnTo>
                      <a:pt x="11" y="62"/>
                    </a:lnTo>
                    <a:lnTo>
                      <a:pt x="5" y="62"/>
                    </a:lnTo>
                    <a:lnTo>
                      <a:pt x="9" y="88"/>
                    </a:lnTo>
                    <a:lnTo>
                      <a:pt x="14" y="81"/>
                    </a:lnTo>
                    <a:lnTo>
                      <a:pt x="27" y="78"/>
                    </a:lnTo>
                    <a:lnTo>
                      <a:pt x="37" y="84"/>
                    </a:lnTo>
                    <a:lnTo>
                      <a:pt x="41" y="75"/>
                    </a:lnTo>
                    <a:lnTo>
                      <a:pt x="35" y="72"/>
                    </a:lnTo>
                    <a:lnTo>
                      <a:pt x="32" y="65"/>
                    </a:lnTo>
                    <a:lnTo>
                      <a:pt x="32" y="54"/>
                    </a:lnTo>
                    <a:lnTo>
                      <a:pt x="37" y="50"/>
                    </a:lnTo>
                    <a:lnTo>
                      <a:pt x="43" y="63"/>
                    </a:lnTo>
                    <a:lnTo>
                      <a:pt x="51" y="74"/>
                    </a:lnTo>
                    <a:lnTo>
                      <a:pt x="51" y="85"/>
                    </a:lnTo>
                    <a:lnTo>
                      <a:pt x="53" y="86"/>
                    </a:lnTo>
                    <a:lnTo>
                      <a:pt x="53" y="100"/>
                    </a:lnTo>
                    <a:lnTo>
                      <a:pt x="47" y="112"/>
                    </a:lnTo>
                    <a:lnTo>
                      <a:pt x="41" y="118"/>
                    </a:lnTo>
                    <a:lnTo>
                      <a:pt x="36" y="128"/>
                    </a:lnTo>
                    <a:lnTo>
                      <a:pt x="35" y="143"/>
                    </a:lnTo>
                    <a:lnTo>
                      <a:pt x="38" y="159"/>
                    </a:lnTo>
                    <a:lnTo>
                      <a:pt x="35" y="167"/>
                    </a:lnTo>
                    <a:lnTo>
                      <a:pt x="41" y="174"/>
                    </a:lnTo>
                    <a:lnTo>
                      <a:pt x="54" y="180"/>
                    </a:lnTo>
                    <a:lnTo>
                      <a:pt x="58" y="166"/>
                    </a:lnTo>
                    <a:lnTo>
                      <a:pt x="53" y="155"/>
                    </a:lnTo>
                    <a:lnTo>
                      <a:pt x="57" y="145"/>
                    </a:lnTo>
                    <a:lnTo>
                      <a:pt x="65" y="148"/>
                    </a:lnTo>
                    <a:lnTo>
                      <a:pt x="62" y="151"/>
                    </a:lnTo>
                    <a:lnTo>
                      <a:pt x="61" y="160"/>
                    </a:lnTo>
                    <a:lnTo>
                      <a:pt x="63" y="172"/>
                    </a:lnTo>
                    <a:lnTo>
                      <a:pt x="63" y="187"/>
                    </a:lnTo>
                    <a:lnTo>
                      <a:pt x="70" y="185"/>
                    </a:lnTo>
                    <a:lnTo>
                      <a:pt x="79" y="177"/>
                    </a:lnTo>
                    <a:lnTo>
                      <a:pt x="79" y="169"/>
                    </a:lnTo>
                    <a:lnTo>
                      <a:pt x="88" y="160"/>
                    </a:lnTo>
                    <a:lnTo>
                      <a:pt x="94" y="164"/>
                    </a:lnTo>
                    <a:lnTo>
                      <a:pt x="100" y="148"/>
                    </a:lnTo>
                    <a:lnTo>
                      <a:pt x="107" y="117"/>
                    </a:lnTo>
                    <a:lnTo>
                      <a:pt x="113" y="100"/>
                    </a:lnTo>
                    <a:lnTo>
                      <a:pt x="120" y="89"/>
                    </a:lnTo>
                    <a:lnTo>
                      <a:pt x="127" y="78"/>
                    </a:lnTo>
                    <a:lnTo>
                      <a:pt x="131" y="69"/>
                    </a:lnTo>
                    <a:lnTo>
                      <a:pt x="129" y="59"/>
                    </a:lnTo>
                    <a:lnTo>
                      <a:pt x="124" y="48"/>
                    </a:lnTo>
                    <a:lnTo>
                      <a:pt x="111" y="45"/>
                    </a:lnTo>
                    <a:lnTo>
                      <a:pt x="110" y="40"/>
                    </a:lnTo>
                    <a:lnTo>
                      <a:pt x="115" y="26"/>
                    </a:lnTo>
                    <a:lnTo>
                      <a:pt x="112" y="19"/>
                    </a:lnTo>
                    <a:lnTo>
                      <a:pt x="104" y="21"/>
                    </a:lnTo>
                    <a:lnTo>
                      <a:pt x="86" y="22"/>
                    </a:lnTo>
                    <a:lnTo>
                      <a:pt x="77" y="9"/>
                    </a:lnTo>
                    <a:lnTo>
                      <a:pt x="77" y="3"/>
                    </a:lnTo>
                    <a:lnTo>
                      <a:pt x="67" y="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sp>
          <p:nvSpPr>
            <p:cNvPr id="30" name="Freeform 160">
              <a:extLst>
                <a:ext uri="{FF2B5EF4-FFF2-40B4-BE49-F238E27FC236}">
                  <a16:creationId xmlns:a16="http://schemas.microsoft.com/office/drawing/2014/main" id="{80ABADB3-58D3-5020-D8AF-9C9E86F55D4B}"/>
                </a:ext>
              </a:extLst>
            </p:cNvPr>
            <p:cNvSpPr>
              <a:spLocks/>
            </p:cNvSpPr>
            <p:nvPr/>
          </p:nvSpPr>
          <p:spPr bwMode="gray">
            <a:xfrm>
              <a:off x="6793961" y="2224598"/>
              <a:ext cx="67808" cy="100563"/>
            </a:xfrm>
            <a:custGeom>
              <a:avLst/>
              <a:gdLst>
                <a:gd name="T0" fmla="*/ 11581 w 190"/>
                <a:gd name="T1" fmla="*/ 411 h 285"/>
                <a:gd name="T2" fmla="*/ 13809 w 190"/>
                <a:gd name="T3" fmla="*/ 3701 h 285"/>
                <a:gd name="T4" fmla="*/ 15590 w 190"/>
                <a:gd name="T5" fmla="*/ 6168 h 285"/>
                <a:gd name="T6" fmla="*/ 16481 w 190"/>
                <a:gd name="T7" fmla="*/ 9458 h 285"/>
                <a:gd name="T8" fmla="*/ 16481 w 190"/>
                <a:gd name="T9" fmla="*/ 13981 h 285"/>
                <a:gd name="T10" fmla="*/ 16036 w 190"/>
                <a:gd name="T11" fmla="*/ 16448 h 285"/>
                <a:gd name="T12" fmla="*/ 14699 w 190"/>
                <a:gd name="T13" fmla="*/ 18915 h 285"/>
                <a:gd name="T14" fmla="*/ 12472 w 190"/>
                <a:gd name="T15" fmla="*/ 19326 h 285"/>
                <a:gd name="T16" fmla="*/ 11581 w 190"/>
                <a:gd name="T17" fmla="*/ 19326 h 285"/>
                <a:gd name="T18" fmla="*/ 10690 w 190"/>
                <a:gd name="T19" fmla="*/ 20560 h 285"/>
                <a:gd name="T20" fmla="*/ 9800 w 190"/>
                <a:gd name="T21" fmla="*/ 20149 h 285"/>
                <a:gd name="T22" fmla="*/ 8463 w 190"/>
                <a:gd name="T23" fmla="*/ 19737 h 285"/>
                <a:gd name="T24" fmla="*/ 8018 w 190"/>
                <a:gd name="T25" fmla="*/ 20560 h 285"/>
                <a:gd name="T26" fmla="*/ 7127 w 190"/>
                <a:gd name="T27" fmla="*/ 21793 h 285"/>
                <a:gd name="T28" fmla="*/ 6236 w 190"/>
                <a:gd name="T29" fmla="*/ 20560 h 285"/>
                <a:gd name="T30" fmla="*/ 5791 w 190"/>
                <a:gd name="T31" fmla="*/ 22205 h 285"/>
                <a:gd name="T32" fmla="*/ 4900 w 190"/>
                <a:gd name="T33" fmla="*/ 22205 h 285"/>
                <a:gd name="T34" fmla="*/ 5791 w 190"/>
                <a:gd name="T35" fmla="*/ 20971 h 285"/>
                <a:gd name="T36" fmla="*/ 4454 w 190"/>
                <a:gd name="T37" fmla="*/ 21793 h 285"/>
                <a:gd name="T38" fmla="*/ 3563 w 190"/>
                <a:gd name="T39" fmla="*/ 22616 h 285"/>
                <a:gd name="T40" fmla="*/ 2673 w 190"/>
                <a:gd name="T41" fmla="*/ 22616 h 285"/>
                <a:gd name="T42" fmla="*/ 1782 w 190"/>
                <a:gd name="T43" fmla="*/ 22616 h 285"/>
                <a:gd name="T44" fmla="*/ 891 w 190"/>
                <a:gd name="T45" fmla="*/ 23438 h 285"/>
                <a:gd name="T46" fmla="*/ 891 w 190"/>
                <a:gd name="T47" fmla="*/ 22616 h 285"/>
                <a:gd name="T48" fmla="*/ 1782 w 190"/>
                <a:gd name="T49" fmla="*/ 21793 h 285"/>
                <a:gd name="T50" fmla="*/ 2227 w 190"/>
                <a:gd name="T51" fmla="*/ 20971 h 285"/>
                <a:gd name="T52" fmla="*/ 1336 w 190"/>
                <a:gd name="T53" fmla="*/ 20971 h 285"/>
                <a:gd name="T54" fmla="*/ 1336 w 190"/>
                <a:gd name="T55" fmla="*/ 19326 h 285"/>
                <a:gd name="T56" fmla="*/ 1782 w 190"/>
                <a:gd name="T57" fmla="*/ 17270 h 285"/>
                <a:gd name="T58" fmla="*/ 2227 w 190"/>
                <a:gd name="T59" fmla="*/ 16448 h 285"/>
                <a:gd name="T60" fmla="*/ 3118 w 190"/>
                <a:gd name="T61" fmla="*/ 15214 h 285"/>
                <a:gd name="T62" fmla="*/ 2673 w 190"/>
                <a:gd name="T63" fmla="*/ 14392 h 285"/>
                <a:gd name="T64" fmla="*/ 2227 w 190"/>
                <a:gd name="T65" fmla="*/ 12747 h 285"/>
                <a:gd name="T66" fmla="*/ 1782 w 190"/>
                <a:gd name="T67" fmla="*/ 10691 h 285"/>
                <a:gd name="T68" fmla="*/ 1336 w 190"/>
                <a:gd name="T69" fmla="*/ 11514 h 285"/>
                <a:gd name="T70" fmla="*/ 445 w 190"/>
                <a:gd name="T71" fmla="*/ 10691 h 285"/>
                <a:gd name="T72" fmla="*/ 0 w 190"/>
                <a:gd name="T73" fmla="*/ 10280 h 285"/>
                <a:gd name="T74" fmla="*/ 1336 w 190"/>
                <a:gd name="T75" fmla="*/ 9458 h 285"/>
                <a:gd name="T76" fmla="*/ 3563 w 190"/>
                <a:gd name="T77" fmla="*/ 9458 h 285"/>
                <a:gd name="T78" fmla="*/ 3563 w 190"/>
                <a:gd name="T79" fmla="*/ 9046 h 285"/>
                <a:gd name="T80" fmla="*/ 3118 w 190"/>
                <a:gd name="T81" fmla="*/ 7813 h 285"/>
                <a:gd name="T82" fmla="*/ 3563 w 190"/>
                <a:gd name="T83" fmla="*/ 6990 h 285"/>
                <a:gd name="T84" fmla="*/ 2673 w 190"/>
                <a:gd name="T85" fmla="*/ 6990 h 285"/>
                <a:gd name="T86" fmla="*/ 2227 w 190"/>
                <a:gd name="T87" fmla="*/ 5757 h 285"/>
                <a:gd name="T88" fmla="*/ 1782 w 190"/>
                <a:gd name="T89" fmla="*/ 5346 h 285"/>
                <a:gd name="T90" fmla="*/ 1782 w 190"/>
                <a:gd name="T91" fmla="*/ 4523 h 285"/>
                <a:gd name="T92" fmla="*/ 3118 w 190"/>
                <a:gd name="T93" fmla="*/ 3701 h 285"/>
                <a:gd name="T94" fmla="*/ 6682 w 190"/>
                <a:gd name="T95" fmla="*/ 1645 h 285"/>
                <a:gd name="T96" fmla="*/ 9800 w 190"/>
                <a:gd name="T97" fmla="*/ 1234 h 285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90"/>
                <a:gd name="T148" fmla="*/ 0 h 285"/>
                <a:gd name="T149" fmla="*/ 190 w 190"/>
                <a:gd name="T150" fmla="*/ 285 h 285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90" h="285">
                  <a:moveTo>
                    <a:pt x="125" y="0"/>
                  </a:moveTo>
                  <a:lnTo>
                    <a:pt x="130" y="5"/>
                  </a:lnTo>
                  <a:lnTo>
                    <a:pt x="146" y="36"/>
                  </a:lnTo>
                  <a:lnTo>
                    <a:pt x="156" y="46"/>
                  </a:lnTo>
                  <a:lnTo>
                    <a:pt x="165" y="58"/>
                  </a:lnTo>
                  <a:lnTo>
                    <a:pt x="173" y="73"/>
                  </a:lnTo>
                  <a:lnTo>
                    <a:pt x="180" y="91"/>
                  </a:lnTo>
                  <a:lnTo>
                    <a:pt x="184" y="113"/>
                  </a:lnTo>
                  <a:lnTo>
                    <a:pt x="183" y="150"/>
                  </a:lnTo>
                  <a:lnTo>
                    <a:pt x="184" y="170"/>
                  </a:lnTo>
                  <a:lnTo>
                    <a:pt x="190" y="171"/>
                  </a:lnTo>
                  <a:lnTo>
                    <a:pt x="181" y="201"/>
                  </a:lnTo>
                  <a:lnTo>
                    <a:pt x="174" y="217"/>
                  </a:lnTo>
                  <a:lnTo>
                    <a:pt x="163" y="228"/>
                  </a:lnTo>
                  <a:lnTo>
                    <a:pt x="154" y="230"/>
                  </a:lnTo>
                  <a:lnTo>
                    <a:pt x="142" y="233"/>
                  </a:lnTo>
                  <a:lnTo>
                    <a:pt x="135" y="230"/>
                  </a:lnTo>
                  <a:lnTo>
                    <a:pt x="131" y="235"/>
                  </a:lnTo>
                  <a:lnTo>
                    <a:pt x="127" y="242"/>
                  </a:lnTo>
                  <a:lnTo>
                    <a:pt x="120" y="252"/>
                  </a:lnTo>
                  <a:lnTo>
                    <a:pt x="116" y="245"/>
                  </a:lnTo>
                  <a:lnTo>
                    <a:pt x="111" y="245"/>
                  </a:lnTo>
                  <a:lnTo>
                    <a:pt x="101" y="240"/>
                  </a:lnTo>
                  <a:lnTo>
                    <a:pt x="95" y="241"/>
                  </a:lnTo>
                  <a:lnTo>
                    <a:pt x="83" y="246"/>
                  </a:lnTo>
                  <a:lnTo>
                    <a:pt x="88" y="252"/>
                  </a:lnTo>
                  <a:lnTo>
                    <a:pt x="86" y="260"/>
                  </a:lnTo>
                  <a:lnTo>
                    <a:pt x="79" y="263"/>
                  </a:lnTo>
                  <a:lnTo>
                    <a:pt x="76" y="256"/>
                  </a:lnTo>
                  <a:lnTo>
                    <a:pt x="72" y="252"/>
                  </a:lnTo>
                  <a:lnTo>
                    <a:pt x="71" y="268"/>
                  </a:lnTo>
                  <a:lnTo>
                    <a:pt x="66" y="272"/>
                  </a:lnTo>
                  <a:lnTo>
                    <a:pt x="61" y="273"/>
                  </a:lnTo>
                  <a:lnTo>
                    <a:pt x="57" y="269"/>
                  </a:lnTo>
                  <a:lnTo>
                    <a:pt x="65" y="263"/>
                  </a:lnTo>
                  <a:lnTo>
                    <a:pt x="66" y="257"/>
                  </a:lnTo>
                  <a:lnTo>
                    <a:pt x="60" y="260"/>
                  </a:lnTo>
                  <a:lnTo>
                    <a:pt x="51" y="264"/>
                  </a:lnTo>
                  <a:lnTo>
                    <a:pt x="41" y="276"/>
                  </a:lnTo>
                  <a:lnTo>
                    <a:pt x="38" y="276"/>
                  </a:lnTo>
                  <a:lnTo>
                    <a:pt x="35" y="269"/>
                  </a:lnTo>
                  <a:lnTo>
                    <a:pt x="31" y="274"/>
                  </a:lnTo>
                  <a:lnTo>
                    <a:pt x="22" y="283"/>
                  </a:lnTo>
                  <a:lnTo>
                    <a:pt x="20" y="274"/>
                  </a:lnTo>
                  <a:lnTo>
                    <a:pt x="12" y="277"/>
                  </a:lnTo>
                  <a:lnTo>
                    <a:pt x="8" y="285"/>
                  </a:lnTo>
                  <a:lnTo>
                    <a:pt x="4" y="282"/>
                  </a:lnTo>
                  <a:lnTo>
                    <a:pt x="9" y="273"/>
                  </a:lnTo>
                  <a:lnTo>
                    <a:pt x="11" y="263"/>
                  </a:lnTo>
                  <a:lnTo>
                    <a:pt x="22" y="267"/>
                  </a:lnTo>
                  <a:lnTo>
                    <a:pt x="20" y="261"/>
                  </a:lnTo>
                  <a:lnTo>
                    <a:pt x="24" y="253"/>
                  </a:lnTo>
                  <a:lnTo>
                    <a:pt x="19" y="250"/>
                  </a:lnTo>
                  <a:lnTo>
                    <a:pt x="13" y="256"/>
                  </a:lnTo>
                  <a:lnTo>
                    <a:pt x="11" y="247"/>
                  </a:lnTo>
                  <a:lnTo>
                    <a:pt x="15" y="235"/>
                  </a:lnTo>
                  <a:lnTo>
                    <a:pt x="15" y="225"/>
                  </a:lnTo>
                  <a:lnTo>
                    <a:pt x="20" y="212"/>
                  </a:lnTo>
                  <a:lnTo>
                    <a:pt x="27" y="203"/>
                  </a:lnTo>
                  <a:lnTo>
                    <a:pt x="23" y="199"/>
                  </a:lnTo>
                  <a:lnTo>
                    <a:pt x="31" y="193"/>
                  </a:lnTo>
                  <a:lnTo>
                    <a:pt x="34" y="186"/>
                  </a:lnTo>
                  <a:lnTo>
                    <a:pt x="30" y="180"/>
                  </a:lnTo>
                  <a:lnTo>
                    <a:pt x="30" y="174"/>
                  </a:lnTo>
                  <a:lnTo>
                    <a:pt x="24" y="167"/>
                  </a:lnTo>
                  <a:lnTo>
                    <a:pt x="23" y="155"/>
                  </a:lnTo>
                  <a:lnTo>
                    <a:pt x="20" y="143"/>
                  </a:lnTo>
                  <a:lnTo>
                    <a:pt x="19" y="129"/>
                  </a:lnTo>
                  <a:lnTo>
                    <a:pt x="13" y="127"/>
                  </a:lnTo>
                  <a:lnTo>
                    <a:pt x="15" y="139"/>
                  </a:lnTo>
                  <a:lnTo>
                    <a:pt x="11" y="142"/>
                  </a:lnTo>
                  <a:lnTo>
                    <a:pt x="4" y="132"/>
                  </a:lnTo>
                  <a:lnTo>
                    <a:pt x="0" y="132"/>
                  </a:lnTo>
                  <a:lnTo>
                    <a:pt x="1" y="123"/>
                  </a:lnTo>
                  <a:lnTo>
                    <a:pt x="8" y="115"/>
                  </a:lnTo>
                  <a:lnTo>
                    <a:pt x="17" y="115"/>
                  </a:lnTo>
                  <a:lnTo>
                    <a:pt x="29" y="110"/>
                  </a:lnTo>
                  <a:lnTo>
                    <a:pt x="39" y="117"/>
                  </a:lnTo>
                  <a:lnTo>
                    <a:pt x="43" y="118"/>
                  </a:lnTo>
                  <a:lnTo>
                    <a:pt x="38" y="108"/>
                  </a:lnTo>
                  <a:lnTo>
                    <a:pt x="38" y="100"/>
                  </a:lnTo>
                  <a:lnTo>
                    <a:pt x="34" y="95"/>
                  </a:lnTo>
                  <a:lnTo>
                    <a:pt x="35" y="89"/>
                  </a:lnTo>
                  <a:lnTo>
                    <a:pt x="38" y="86"/>
                  </a:lnTo>
                  <a:lnTo>
                    <a:pt x="31" y="81"/>
                  </a:lnTo>
                  <a:lnTo>
                    <a:pt x="29" y="83"/>
                  </a:lnTo>
                  <a:lnTo>
                    <a:pt x="25" y="77"/>
                  </a:lnTo>
                  <a:lnTo>
                    <a:pt x="24" y="72"/>
                  </a:lnTo>
                  <a:lnTo>
                    <a:pt x="28" y="72"/>
                  </a:lnTo>
                  <a:lnTo>
                    <a:pt x="22" y="64"/>
                  </a:lnTo>
                  <a:lnTo>
                    <a:pt x="19" y="58"/>
                  </a:lnTo>
                  <a:lnTo>
                    <a:pt x="19" y="53"/>
                  </a:lnTo>
                  <a:lnTo>
                    <a:pt x="23" y="56"/>
                  </a:lnTo>
                  <a:lnTo>
                    <a:pt x="36" y="45"/>
                  </a:lnTo>
                  <a:lnTo>
                    <a:pt x="58" y="22"/>
                  </a:lnTo>
                  <a:lnTo>
                    <a:pt x="76" y="21"/>
                  </a:lnTo>
                  <a:lnTo>
                    <a:pt x="93" y="22"/>
                  </a:lnTo>
                  <a:lnTo>
                    <a:pt x="108" y="16"/>
                  </a:lnTo>
                  <a:lnTo>
                    <a:pt x="125" y="0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1" name="Freeform 161">
              <a:extLst>
                <a:ext uri="{FF2B5EF4-FFF2-40B4-BE49-F238E27FC236}">
                  <a16:creationId xmlns:a16="http://schemas.microsoft.com/office/drawing/2014/main" id="{9CB0E0C0-01A4-1EF1-549C-5A6F2BD4C672}"/>
                </a:ext>
              </a:extLst>
            </p:cNvPr>
            <p:cNvSpPr>
              <a:spLocks/>
            </p:cNvSpPr>
            <p:nvPr/>
          </p:nvSpPr>
          <p:spPr bwMode="gray">
            <a:xfrm>
              <a:off x="6054354" y="1848167"/>
              <a:ext cx="611525" cy="298971"/>
            </a:xfrm>
            <a:custGeom>
              <a:avLst/>
              <a:gdLst>
                <a:gd name="T0" fmla="*/ 4011 w 1734"/>
                <a:gd name="T1" fmla="*/ 18960 h 848"/>
                <a:gd name="T2" fmla="*/ 11588 w 1734"/>
                <a:gd name="T3" fmla="*/ 14838 h 848"/>
                <a:gd name="T4" fmla="*/ 21839 w 1734"/>
                <a:gd name="T5" fmla="*/ 10716 h 848"/>
                <a:gd name="T6" fmla="*/ 28079 w 1734"/>
                <a:gd name="T7" fmla="*/ 12365 h 848"/>
                <a:gd name="T8" fmla="*/ 34318 w 1734"/>
                <a:gd name="T9" fmla="*/ 15250 h 848"/>
                <a:gd name="T10" fmla="*/ 45461 w 1734"/>
                <a:gd name="T11" fmla="*/ 15662 h 848"/>
                <a:gd name="T12" fmla="*/ 49026 w 1734"/>
                <a:gd name="T13" fmla="*/ 13189 h 848"/>
                <a:gd name="T14" fmla="*/ 49472 w 1734"/>
                <a:gd name="T15" fmla="*/ 8243 h 848"/>
                <a:gd name="T16" fmla="*/ 51700 w 1734"/>
                <a:gd name="T17" fmla="*/ 2885 h 848"/>
                <a:gd name="T18" fmla="*/ 57494 w 1734"/>
                <a:gd name="T19" fmla="*/ 412 h 848"/>
                <a:gd name="T20" fmla="*/ 65071 w 1734"/>
                <a:gd name="T21" fmla="*/ 3710 h 848"/>
                <a:gd name="T22" fmla="*/ 69974 w 1734"/>
                <a:gd name="T23" fmla="*/ 8656 h 848"/>
                <a:gd name="T24" fmla="*/ 73985 w 1734"/>
                <a:gd name="T25" fmla="*/ 12777 h 848"/>
                <a:gd name="T26" fmla="*/ 84236 w 1734"/>
                <a:gd name="T27" fmla="*/ 10716 h 848"/>
                <a:gd name="T28" fmla="*/ 92259 w 1734"/>
                <a:gd name="T29" fmla="*/ 14014 h 848"/>
                <a:gd name="T30" fmla="*/ 98498 w 1734"/>
                <a:gd name="T31" fmla="*/ 16487 h 848"/>
                <a:gd name="T32" fmla="*/ 106967 w 1734"/>
                <a:gd name="T33" fmla="*/ 20608 h 848"/>
                <a:gd name="T34" fmla="*/ 117663 w 1734"/>
                <a:gd name="T35" fmla="*/ 19784 h 848"/>
                <a:gd name="T36" fmla="*/ 128360 w 1734"/>
                <a:gd name="T37" fmla="*/ 14838 h 848"/>
                <a:gd name="T38" fmla="*/ 136382 w 1734"/>
                <a:gd name="T39" fmla="*/ 16487 h 848"/>
                <a:gd name="T40" fmla="*/ 139502 w 1734"/>
                <a:gd name="T41" fmla="*/ 16075 h 848"/>
                <a:gd name="T42" fmla="*/ 135937 w 1734"/>
                <a:gd name="T43" fmla="*/ 21021 h 848"/>
                <a:gd name="T44" fmla="*/ 135491 w 1734"/>
                <a:gd name="T45" fmla="*/ 26791 h 848"/>
                <a:gd name="T46" fmla="*/ 139948 w 1734"/>
                <a:gd name="T47" fmla="*/ 32149 h 848"/>
                <a:gd name="T48" fmla="*/ 148862 w 1734"/>
                <a:gd name="T49" fmla="*/ 28852 h 848"/>
                <a:gd name="T50" fmla="*/ 153319 w 1734"/>
                <a:gd name="T51" fmla="*/ 34210 h 848"/>
                <a:gd name="T52" fmla="*/ 154656 w 1734"/>
                <a:gd name="T53" fmla="*/ 37919 h 848"/>
                <a:gd name="T54" fmla="*/ 148416 w 1734"/>
                <a:gd name="T55" fmla="*/ 37919 h 848"/>
                <a:gd name="T56" fmla="*/ 140394 w 1734"/>
                <a:gd name="T57" fmla="*/ 39980 h 848"/>
                <a:gd name="T58" fmla="*/ 132817 w 1734"/>
                <a:gd name="T59" fmla="*/ 45338 h 848"/>
                <a:gd name="T60" fmla="*/ 125686 w 1734"/>
                <a:gd name="T61" fmla="*/ 50284 h 848"/>
                <a:gd name="T62" fmla="*/ 119892 w 1734"/>
                <a:gd name="T63" fmla="*/ 48636 h 848"/>
                <a:gd name="T64" fmla="*/ 115880 w 1734"/>
                <a:gd name="T65" fmla="*/ 53582 h 848"/>
                <a:gd name="T66" fmla="*/ 111869 w 1734"/>
                <a:gd name="T67" fmla="*/ 62237 h 848"/>
                <a:gd name="T68" fmla="*/ 103847 w 1734"/>
                <a:gd name="T69" fmla="*/ 65122 h 848"/>
                <a:gd name="T70" fmla="*/ 97161 w 1734"/>
                <a:gd name="T71" fmla="*/ 65122 h 848"/>
                <a:gd name="T72" fmla="*/ 90476 w 1734"/>
                <a:gd name="T73" fmla="*/ 67183 h 848"/>
                <a:gd name="T74" fmla="*/ 84236 w 1734"/>
                <a:gd name="T75" fmla="*/ 70068 h 848"/>
                <a:gd name="T76" fmla="*/ 80671 w 1734"/>
                <a:gd name="T77" fmla="*/ 68832 h 848"/>
                <a:gd name="T78" fmla="*/ 71311 w 1734"/>
                <a:gd name="T79" fmla="*/ 66359 h 848"/>
                <a:gd name="T80" fmla="*/ 66408 w 1734"/>
                <a:gd name="T81" fmla="*/ 63474 h 848"/>
                <a:gd name="T82" fmla="*/ 46798 w 1734"/>
                <a:gd name="T83" fmla="*/ 63474 h 848"/>
                <a:gd name="T84" fmla="*/ 41450 w 1734"/>
                <a:gd name="T85" fmla="*/ 60176 h 848"/>
                <a:gd name="T86" fmla="*/ 37438 w 1734"/>
                <a:gd name="T87" fmla="*/ 54406 h 848"/>
                <a:gd name="T88" fmla="*/ 31644 w 1734"/>
                <a:gd name="T89" fmla="*/ 51521 h 848"/>
                <a:gd name="T90" fmla="*/ 24959 w 1734"/>
                <a:gd name="T91" fmla="*/ 48636 h 848"/>
                <a:gd name="T92" fmla="*/ 18719 w 1734"/>
                <a:gd name="T93" fmla="*/ 48224 h 848"/>
                <a:gd name="T94" fmla="*/ 14262 w 1734"/>
                <a:gd name="T95" fmla="*/ 45751 h 848"/>
                <a:gd name="T96" fmla="*/ 14708 w 1734"/>
                <a:gd name="T97" fmla="*/ 38744 h 848"/>
                <a:gd name="T98" fmla="*/ 11142 w 1734"/>
                <a:gd name="T99" fmla="*/ 30913 h 848"/>
                <a:gd name="T100" fmla="*/ 6240 w 1734"/>
                <a:gd name="T101" fmla="*/ 30500 h 848"/>
                <a:gd name="T102" fmla="*/ 446 w 1734"/>
                <a:gd name="T103" fmla="*/ 23906 h 84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734"/>
                <a:gd name="T157" fmla="*/ 0 h 848"/>
                <a:gd name="T158" fmla="*/ 1734 w 1734"/>
                <a:gd name="T159" fmla="*/ 848 h 84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734" h="848">
                  <a:moveTo>
                    <a:pt x="0" y="273"/>
                  </a:moveTo>
                  <a:lnTo>
                    <a:pt x="12" y="251"/>
                  </a:lnTo>
                  <a:lnTo>
                    <a:pt x="28" y="234"/>
                  </a:lnTo>
                  <a:lnTo>
                    <a:pt x="46" y="227"/>
                  </a:lnTo>
                  <a:lnTo>
                    <a:pt x="65" y="221"/>
                  </a:lnTo>
                  <a:lnTo>
                    <a:pt x="84" y="208"/>
                  </a:lnTo>
                  <a:lnTo>
                    <a:pt x="104" y="192"/>
                  </a:lnTo>
                  <a:lnTo>
                    <a:pt x="129" y="180"/>
                  </a:lnTo>
                  <a:lnTo>
                    <a:pt x="154" y="158"/>
                  </a:lnTo>
                  <a:lnTo>
                    <a:pt x="195" y="146"/>
                  </a:lnTo>
                  <a:lnTo>
                    <a:pt x="220" y="135"/>
                  </a:lnTo>
                  <a:lnTo>
                    <a:pt x="243" y="132"/>
                  </a:lnTo>
                  <a:lnTo>
                    <a:pt x="265" y="136"/>
                  </a:lnTo>
                  <a:lnTo>
                    <a:pt x="281" y="142"/>
                  </a:lnTo>
                  <a:lnTo>
                    <a:pt x="294" y="153"/>
                  </a:lnTo>
                  <a:lnTo>
                    <a:pt x="313" y="149"/>
                  </a:lnTo>
                  <a:lnTo>
                    <a:pt x="334" y="148"/>
                  </a:lnTo>
                  <a:lnTo>
                    <a:pt x="351" y="151"/>
                  </a:lnTo>
                  <a:lnTo>
                    <a:pt x="382" y="180"/>
                  </a:lnTo>
                  <a:lnTo>
                    <a:pt x="387" y="187"/>
                  </a:lnTo>
                  <a:lnTo>
                    <a:pt x="404" y="190"/>
                  </a:lnTo>
                  <a:lnTo>
                    <a:pt x="451" y="183"/>
                  </a:lnTo>
                  <a:lnTo>
                    <a:pt x="464" y="189"/>
                  </a:lnTo>
                  <a:lnTo>
                    <a:pt x="508" y="190"/>
                  </a:lnTo>
                  <a:lnTo>
                    <a:pt x="546" y="185"/>
                  </a:lnTo>
                  <a:lnTo>
                    <a:pt x="556" y="180"/>
                  </a:lnTo>
                  <a:lnTo>
                    <a:pt x="556" y="172"/>
                  </a:lnTo>
                  <a:lnTo>
                    <a:pt x="552" y="160"/>
                  </a:lnTo>
                  <a:lnTo>
                    <a:pt x="555" y="146"/>
                  </a:lnTo>
                  <a:lnTo>
                    <a:pt x="565" y="130"/>
                  </a:lnTo>
                  <a:lnTo>
                    <a:pt x="565" y="114"/>
                  </a:lnTo>
                  <a:lnTo>
                    <a:pt x="554" y="99"/>
                  </a:lnTo>
                  <a:lnTo>
                    <a:pt x="550" y="81"/>
                  </a:lnTo>
                  <a:lnTo>
                    <a:pt x="552" y="63"/>
                  </a:lnTo>
                  <a:lnTo>
                    <a:pt x="568" y="49"/>
                  </a:lnTo>
                  <a:lnTo>
                    <a:pt x="582" y="33"/>
                  </a:lnTo>
                  <a:lnTo>
                    <a:pt x="600" y="18"/>
                  </a:lnTo>
                  <a:lnTo>
                    <a:pt x="611" y="1"/>
                  </a:lnTo>
                  <a:lnTo>
                    <a:pt x="625" y="0"/>
                  </a:lnTo>
                  <a:lnTo>
                    <a:pt x="645" y="6"/>
                  </a:lnTo>
                  <a:lnTo>
                    <a:pt x="659" y="17"/>
                  </a:lnTo>
                  <a:lnTo>
                    <a:pt x="696" y="27"/>
                  </a:lnTo>
                  <a:lnTo>
                    <a:pt x="707" y="41"/>
                  </a:lnTo>
                  <a:lnTo>
                    <a:pt x="731" y="47"/>
                  </a:lnTo>
                  <a:lnTo>
                    <a:pt x="755" y="50"/>
                  </a:lnTo>
                  <a:lnTo>
                    <a:pt x="772" y="57"/>
                  </a:lnTo>
                  <a:lnTo>
                    <a:pt x="782" y="73"/>
                  </a:lnTo>
                  <a:lnTo>
                    <a:pt x="787" y="103"/>
                  </a:lnTo>
                  <a:lnTo>
                    <a:pt x="787" y="124"/>
                  </a:lnTo>
                  <a:lnTo>
                    <a:pt x="792" y="124"/>
                  </a:lnTo>
                  <a:lnTo>
                    <a:pt x="807" y="138"/>
                  </a:lnTo>
                  <a:lnTo>
                    <a:pt x="830" y="154"/>
                  </a:lnTo>
                  <a:lnTo>
                    <a:pt x="864" y="165"/>
                  </a:lnTo>
                  <a:lnTo>
                    <a:pt x="892" y="159"/>
                  </a:lnTo>
                  <a:lnTo>
                    <a:pt x="919" y="144"/>
                  </a:lnTo>
                  <a:lnTo>
                    <a:pt x="944" y="132"/>
                  </a:lnTo>
                  <a:lnTo>
                    <a:pt x="975" y="140"/>
                  </a:lnTo>
                  <a:lnTo>
                    <a:pt x="1023" y="157"/>
                  </a:lnTo>
                  <a:lnTo>
                    <a:pt x="1033" y="169"/>
                  </a:lnTo>
                  <a:lnTo>
                    <a:pt x="1034" y="169"/>
                  </a:lnTo>
                  <a:lnTo>
                    <a:pt x="1040" y="174"/>
                  </a:lnTo>
                  <a:lnTo>
                    <a:pt x="1062" y="186"/>
                  </a:lnTo>
                  <a:lnTo>
                    <a:pt x="1083" y="192"/>
                  </a:lnTo>
                  <a:lnTo>
                    <a:pt x="1104" y="201"/>
                  </a:lnTo>
                  <a:lnTo>
                    <a:pt x="1118" y="221"/>
                  </a:lnTo>
                  <a:lnTo>
                    <a:pt x="1145" y="237"/>
                  </a:lnTo>
                  <a:lnTo>
                    <a:pt x="1177" y="242"/>
                  </a:lnTo>
                  <a:lnTo>
                    <a:pt x="1200" y="249"/>
                  </a:lnTo>
                  <a:lnTo>
                    <a:pt x="1218" y="250"/>
                  </a:lnTo>
                  <a:lnTo>
                    <a:pt x="1243" y="248"/>
                  </a:lnTo>
                  <a:lnTo>
                    <a:pt x="1261" y="256"/>
                  </a:lnTo>
                  <a:lnTo>
                    <a:pt x="1317" y="237"/>
                  </a:lnTo>
                  <a:lnTo>
                    <a:pt x="1351" y="229"/>
                  </a:lnTo>
                  <a:lnTo>
                    <a:pt x="1378" y="224"/>
                  </a:lnTo>
                  <a:lnTo>
                    <a:pt x="1415" y="195"/>
                  </a:lnTo>
                  <a:lnTo>
                    <a:pt x="1439" y="179"/>
                  </a:lnTo>
                  <a:lnTo>
                    <a:pt x="1464" y="170"/>
                  </a:lnTo>
                  <a:lnTo>
                    <a:pt x="1489" y="180"/>
                  </a:lnTo>
                  <a:lnTo>
                    <a:pt x="1507" y="195"/>
                  </a:lnTo>
                  <a:lnTo>
                    <a:pt x="1528" y="199"/>
                  </a:lnTo>
                  <a:lnTo>
                    <a:pt x="1545" y="195"/>
                  </a:lnTo>
                  <a:lnTo>
                    <a:pt x="1559" y="187"/>
                  </a:lnTo>
                  <a:lnTo>
                    <a:pt x="1565" y="190"/>
                  </a:lnTo>
                  <a:lnTo>
                    <a:pt x="1565" y="195"/>
                  </a:lnTo>
                  <a:lnTo>
                    <a:pt x="1556" y="203"/>
                  </a:lnTo>
                  <a:lnTo>
                    <a:pt x="1540" y="232"/>
                  </a:lnTo>
                  <a:lnTo>
                    <a:pt x="1529" y="246"/>
                  </a:lnTo>
                  <a:lnTo>
                    <a:pt x="1525" y="255"/>
                  </a:lnTo>
                  <a:lnTo>
                    <a:pt x="1525" y="271"/>
                  </a:lnTo>
                  <a:lnTo>
                    <a:pt x="1528" y="288"/>
                  </a:lnTo>
                  <a:lnTo>
                    <a:pt x="1525" y="308"/>
                  </a:lnTo>
                  <a:lnTo>
                    <a:pt x="1517" y="325"/>
                  </a:lnTo>
                  <a:lnTo>
                    <a:pt x="1517" y="347"/>
                  </a:lnTo>
                  <a:lnTo>
                    <a:pt x="1520" y="367"/>
                  </a:lnTo>
                  <a:lnTo>
                    <a:pt x="1529" y="382"/>
                  </a:lnTo>
                  <a:lnTo>
                    <a:pt x="1570" y="391"/>
                  </a:lnTo>
                  <a:lnTo>
                    <a:pt x="1595" y="389"/>
                  </a:lnTo>
                  <a:lnTo>
                    <a:pt x="1620" y="382"/>
                  </a:lnTo>
                  <a:lnTo>
                    <a:pt x="1638" y="369"/>
                  </a:lnTo>
                  <a:lnTo>
                    <a:pt x="1667" y="348"/>
                  </a:lnTo>
                  <a:lnTo>
                    <a:pt x="1673" y="362"/>
                  </a:lnTo>
                  <a:lnTo>
                    <a:pt x="1686" y="377"/>
                  </a:lnTo>
                  <a:lnTo>
                    <a:pt x="1715" y="401"/>
                  </a:lnTo>
                  <a:lnTo>
                    <a:pt x="1721" y="415"/>
                  </a:lnTo>
                  <a:lnTo>
                    <a:pt x="1719" y="428"/>
                  </a:lnTo>
                  <a:lnTo>
                    <a:pt x="1719" y="437"/>
                  </a:lnTo>
                  <a:lnTo>
                    <a:pt x="1733" y="445"/>
                  </a:lnTo>
                  <a:lnTo>
                    <a:pt x="1734" y="458"/>
                  </a:lnTo>
                  <a:lnTo>
                    <a:pt x="1724" y="464"/>
                  </a:lnTo>
                  <a:lnTo>
                    <a:pt x="1707" y="461"/>
                  </a:lnTo>
                  <a:lnTo>
                    <a:pt x="1688" y="456"/>
                  </a:lnTo>
                  <a:lnTo>
                    <a:pt x="1663" y="461"/>
                  </a:lnTo>
                  <a:lnTo>
                    <a:pt x="1638" y="465"/>
                  </a:lnTo>
                  <a:lnTo>
                    <a:pt x="1613" y="464"/>
                  </a:lnTo>
                  <a:lnTo>
                    <a:pt x="1592" y="468"/>
                  </a:lnTo>
                  <a:lnTo>
                    <a:pt x="1576" y="482"/>
                  </a:lnTo>
                  <a:lnTo>
                    <a:pt x="1525" y="538"/>
                  </a:lnTo>
                  <a:lnTo>
                    <a:pt x="1507" y="550"/>
                  </a:lnTo>
                  <a:lnTo>
                    <a:pt x="1500" y="552"/>
                  </a:lnTo>
                  <a:lnTo>
                    <a:pt x="1489" y="551"/>
                  </a:lnTo>
                  <a:lnTo>
                    <a:pt x="1477" y="551"/>
                  </a:lnTo>
                  <a:lnTo>
                    <a:pt x="1457" y="573"/>
                  </a:lnTo>
                  <a:lnTo>
                    <a:pt x="1438" y="594"/>
                  </a:lnTo>
                  <a:lnTo>
                    <a:pt x="1411" y="611"/>
                  </a:lnTo>
                  <a:lnTo>
                    <a:pt x="1393" y="611"/>
                  </a:lnTo>
                  <a:lnTo>
                    <a:pt x="1372" y="606"/>
                  </a:lnTo>
                  <a:lnTo>
                    <a:pt x="1360" y="593"/>
                  </a:lnTo>
                  <a:lnTo>
                    <a:pt x="1344" y="588"/>
                  </a:lnTo>
                  <a:lnTo>
                    <a:pt x="1323" y="594"/>
                  </a:lnTo>
                  <a:lnTo>
                    <a:pt x="1314" y="611"/>
                  </a:lnTo>
                  <a:lnTo>
                    <a:pt x="1301" y="631"/>
                  </a:lnTo>
                  <a:lnTo>
                    <a:pt x="1298" y="646"/>
                  </a:lnTo>
                  <a:lnTo>
                    <a:pt x="1320" y="675"/>
                  </a:lnTo>
                  <a:lnTo>
                    <a:pt x="1323" y="689"/>
                  </a:lnTo>
                  <a:lnTo>
                    <a:pt x="1265" y="738"/>
                  </a:lnTo>
                  <a:lnTo>
                    <a:pt x="1255" y="752"/>
                  </a:lnTo>
                  <a:lnTo>
                    <a:pt x="1235" y="767"/>
                  </a:lnTo>
                  <a:lnTo>
                    <a:pt x="1221" y="776"/>
                  </a:lnTo>
                  <a:lnTo>
                    <a:pt x="1191" y="787"/>
                  </a:lnTo>
                  <a:lnTo>
                    <a:pt x="1163" y="789"/>
                  </a:lnTo>
                  <a:lnTo>
                    <a:pt x="1158" y="792"/>
                  </a:lnTo>
                  <a:lnTo>
                    <a:pt x="1130" y="783"/>
                  </a:lnTo>
                  <a:lnTo>
                    <a:pt x="1114" y="789"/>
                  </a:lnTo>
                  <a:lnTo>
                    <a:pt x="1088" y="788"/>
                  </a:lnTo>
                  <a:lnTo>
                    <a:pt x="1070" y="795"/>
                  </a:lnTo>
                  <a:lnTo>
                    <a:pt x="1033" y="802"/>
                  </a:lnTo>
                  <a:lnTo>
                    <a:pt x="1022" y="805"/>
                  </a:lnTo>
                  <a:lnTo>
                    <a:pt x="1014" y="815"/>
                  </a:lnTo>
                  <a:lnTo>
                    <a:pt x="1003" y="819"/>
                  </a:lnTo>
                  <a:lnTo>
                    <a:pt x="990" y="821"/>
                  </a:lnTo>
                  <a:lnTo>
                    <a:pt x="960" y="832"/>
                  </a:lnTo>
                  <a:lnTo>
                    <a:pt x="942" y="847"/>
                  </a:lnTo>
                  <a:lnTo>
                    <a:pt x="932" y="848"/>
                  </a:lnTo>
                  <a:lnTo>
                    <a:pt x="920" y="845"/>
                  </a:lnTo>
                  <a:lnTo>
                    <a:pt x="909" y="836"/>
                  </a:lnTo>
                  <a:lnTo>
                    <a:pt x="903" y="834"/>
                  </a:lnTo>
                  <a:lnTo>
                    <a:pt x="874" y="832"/>
                  </a:lnTo>
                  <a:lnTo>
                    <a:pt x="852" y="825"/>
                  </a:lnTo>
                  <a:lnTo>
                    <a:pt x="834" y="815"/>
                  </a:lnTo>
                  <a:lnTo>
                    <a:pt x="801" y="805"/>
                  </a:lnTo>
                  <a:lnTo>
                    <a:pt x="778" y="795"/>
                  </a:lnTo>
                  <a:lnTo>
                    <a:pt x="763" y="782"/>
                  </a:lnTo>
                  <a:lnTo>
                    <a:pt x="754" y="771"/>
                  </a:lnTo>
                  <a:lnTo>
                    <a:pt x="744" y="767"/>
                  </a:lnTo>
                  <a:lnTo>
                    <a:pt x="710" y="756"/>
                  </a:lnTo>
                  <a:lnTo>
                    <a:pt x="693" y="754"/>
                  </a:lnTo>
                  <a:lnTo>
                    <a:pt x="675" y="756"/>
                  </a:lnTo>
                  <a:lnTo>
                    <a:pt x="527" y="766"/>
                  </a:lnTo>
                  <a:lnTo>
                    <a:pt x="506" y="766"/>
                  </a:lnTo>
                  <a:lnTo>
                    <a:pt x="492" y="760"/>
                  </a:lnTo>
                  <a:lnTo>
                    <a:pt x="476" y="746"/>
                  </a:lnTo>
                  <a:lnTo>
                    <a:pt x="463" y="730"/>
                  </a:lnTo>
                  <a:lnTo>
                    <a:pt x="451" y="716"/>
                  </a:lnTo>
                  <a:lnTo>
                    <a:pt x="439" y="696"/>
                  </a:lnTo>
                  <a:lnTo>
                    <a:pt x="432" y="676"/>
                  </a:lnTo>
                  <a:lnTo>
                    <a:pt x="421" y="659"/>
                  </a:lnTo>
                  <a:lnTo>
                    <a:pt x="410" y="644"/>
                  </a:lnTo>
                  <a:lnTo>
                    <a:pt x="398" y="643"/>
                  </a:lnTo>
                  <a:lnTo>
                    <a:pt x="385" y="633"/>
                  </a:lnTo>
                  <a:lnTo>
                    <a:pt x="353" y="625"/>
                  </a:lnTo>
                  <a:lnTo>
                    <a:pt x="337" y="616"/>
                  </a:lnTo>
                  <a:lnTo>
                    <a:pt x="322" y="606"/>
                  </a:lnTo>
                  <a:lnTo>
                    <a:pt x="292" y="596"/>
                  </a:lnTo>
                  <a:lnTo>
                    <a:pt x="280" y="590"/>
                  </a:lnTo>
                  <a:lnTo>
                    <a:pt x="267" y="590"/>
                  </a:lnTo>
                  <a:lnTo>
                    <a:pt x="254" y="595"/>
                  </a:lnTo>
                  <a:lnTo>
                    <a:pt x="245" y="595"/>
                  </a:lnTo>
                  <a:lnTo>
                    <a:pt x="211" y="584"/>
                  </a:lnTo>
                  <a:lnTo>
                    <a:pt x="180" y="581"/>
                  </a:lnTo>
                  <a:lnTo>
                    <a:pt x="164" y="574"/>
                  </a:lnTo>
                  <a:lnTo>
                    <a:pt x="157" y="567"/>
                  </a:lnTo>
                  <a:lnTo>
                    <a:pt x="158" y="552"/>
                  </a:lnTo>
                  <a:lnTo>
                    <a:pt x="166" y="536"/>
                  </a:lnTo>
                  <a:lnTo>
                    <a:pt x="167" y="517"/>
                  </a:lnTo>
                  <a:lnTo>
                    <a:pt x="163" y="498"/>
                  </a:lnTo>
                  <a:lnTo>
                    <a:pt x="163" y="470"/>
                  </a:lnTo>
                  <a:lnTo>
                    <a:pt x="151" y="427"/>
                  </a:lnTo>
                  <a:lnTo>
                    <a:pt x="141" y="410"/>
                  </a:lnTo>
                  <a:lnTo>
                    <a:pt x="134" y="388"/>
                  </a:lnTo>
                  <a:lnTo>
                    <a:pt x="124" y="372"/>
                  </a:lnTo>
                  <a:lnTo>
                    <a:pt x="108" y="369"/>
                  </a:lnTo>
                  <a:lnTo>
                    <a:pt x="93" y="361"/>
                  </a:lnTo>
                  <a:lnTo>
                    <a:pt x="77" y="358"/>
                  </a:lnTo>
                  <a:lnTo>
                    <a:pt x="70" y="369"/>
                  </a:lnTo>
                  <a:lnTo>
                    <a:pt x="55" y="358"/>
                  </a:lnTo>
                  <a:lnTo>
                    <a:pt x="44" y="337"/>
                  </a:lnTo>
                  <a:lnTo>
                    <a:pt x="14" y="314"/>
                  </a:lnTo>
                  <a:lnTo>
                    <a:pt x="3" y="288"/>
                  </a:lnTo>
                  <a:lnTo>
                    <a:pt x="0" y="277"/>
                  </a:lnTo>
                  <a:lnTo>
                    <a:pt x="0" y="273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2" name="Freeform 162">
              <a:extLst>
                <a:ext uri="{FF2B5EF4-FFF2-40B4-BE49-F238E27FC236}">
                  <a16:creationId xmlns:a16="http://schemas.microsoft.com/office/drawing/2014/main" id="{65935C48-4EAE-48B7-4A17-6BF1E175D83B}"/>
                </a:ext>
              </a:extLst>
            </p:cNvPr>
            <p:cNvSpPr>
              <a:spLocks/>
            </p:cNvSpPr>
            <p:nvPr/>
          </p:nvSpPr>
          <p:spPr bwMode="gray">
            <a:xfrm>
              <a:off x="6456178" y="2630926"/>
              <a:ext cx="45205" cy="40769"/>
            </a:xfrm>
            <a:custGeom>
              <a:avLst/>
              <a:gdLst>
                <a:gd name="T0" fmla="*/ 9575 w 127"/>
                <a:gd name="T1" fmla="*/ 418 h 113"/>
                <a:gd name="T2" fmla="*/ 9119 w 127"/>
                <a:gd name="T3" fmla="*/ 418 h 113"/>
                <a:gd name="T4" fmla="*/ 9575 w 127"/>
                <a:gd name="T5" fmla="*/ 0 h 113"/>
                <a:gd name="T6" fmla="*/ 10487 w 127"/>
                <a:gd name="T7" fmla="*/ 418 h 113"/>
                <a:gd name="T8" fmla="*/ 11399 w 127"/>
                <a:gd name="T9" fmla="*/ 837 h 113"/>
                <a:gd name="T10" fmla="*/ 11855 w 127"/>
                <a:gd name="T11" fmla="*/ 1674 h 113"/>
                <a:gd name="T12" fmla="*/ 11855 w 127"/>
                <a:gd name="T13" fmla="*/ 2092 h 113"/>
                <a:gd name="T14" fmla="*/ 10943 w 127"/>
                <a:gd name="T15" fmla="*/ 3348 h 113"/>
                <a:gd name="T16" fmla="*/ 9575 w 127"/>
                <a:gd name="T17" fmla="*/ 5022 h 113"/>
                <a:gd name="T18" fmla="*/ 9119 w 127"/>
                <a:gd name="T19" fmla="*/ 6696 h 113"/>
                <a:gd name="T20" fmla="*/ 8663 w 127"/>
                <a:gd name="T21" fmla="*/ 7114 h 113"/>
                <a:gd name="T22" fmla="*/ 7295 w 127"/>
                <a:gd name="T23" fmla="*/ 8370 h 113"/>
                <a:gd name="T24" fmla="*/ 6383 w 127"/>
                <a:gd name="T25" fmla="*/ 8788 h 113"/>
                <a:gd name="T26" fmla="*/ 5472 w 127"/>
                <a:gd name="T27" fmla="*/ 9625 h 113"/>
                <a:gd name="T28" fmla="*/ 5016 w 127"/>
                <a:gd name="T29" fmla="*/ 9625 h 113"/>
                <a:gd name="T30" fmla="*/ 4560 w 127"/>
                <a:gd name="T31" fmla="*/ 9207 h 113"/>
                <a:gd name="T32" fmla="*/ 912 w 127"/>
                <a:gd name="T33" fmla="*/ 8370 h 113"/>
                <a:gd name="T34" fmla="*/ 456 w 127"/>
                <a:gd name="T35" fmla="*/ 7533 h 113"/>
                <a:gd name="T36" fmla="*/ 0 w 127"/>
                <a:gd name="T37" fmla="*/ 4185 h 113"/>
                <a:gd name="T38" fmla="*/ 456 w 127"/>
                <a:gd name="T39" fmla="*/ 3766 h 113"/>
                <a:gd name="T40" fmla="*/ 1824 w 127"/>
                <a:gd name="T41" fmla="*/ 2511 h 113"/>
                <a:gd name="T42" fmla="*/ 2736 w 127"/>
                <a:gd name="T43" fmla="*/ 2092 h 113"/>
                <a:gd name="T44" fmla="*/ 2736 w 127"/>
                <a:gd name="T45" fmla="*/ 1674 h 113"/>
                <a:gd name="T46" fmla="*/ 3648 w 127"/>
                <a:gd name="T47" fmla="*/ 1255 h 113"/>
                <a:gd name="T48" fmla="*/ 4560 w 127"/>
                <a:gd name="T49" fmla="*/ 837 h 113"/>
                <a:gd name="T50" fmla="*/ 7295 w 127"/>
                <a:gd name="T51" fmla="*/ 837 h 113"/>
                <a:gd name="T52" fmla="*/ 7751 w 127"/>
                <a:gd name="T53" fmla="*/ 418 h 113"/>
                <a:gd name="T54" fmla="*/ 8663 w 127"/>
                <a:gd name="T55" fmla="*/ 418 h 113"/>
                <a:gd name="T56" fmla="*/ 9119 w 127"/>
                <a:gd name="T57" fmla="*/ 418 h 113"/>
                <a:gd name="T58" fmla="*/ 9575 w 127"/>
                <a:gd name="T59" fmla="*/ 418 h 113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27"/>
                <a:gd name="T91" fmla="*/ 0 h 113"/>
                <a:gd name="T92" fmla="*/ 127 w 127"/>
                <a:gd name="T93" fmla="*/ 113 h 113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27" h="113">
                  <a:moveTo>
                    <a:pt x="102" y="5"/>
                  </a:moveTo>
                  <a:lnTo>
                    <a:pt x="100" y="5"/>
                  </a:lnTo>
                  <a:lnTo>
                    <a:pt x="105" y="0"/>
                  </a:lnTo>
                  <a:lnTo>
                    <a:pt x="112" y="5"/>
                  </a:lnTo>
                  <a:lnTo>
                    <a:pt x="123" y="8"/>
                  </a:lnTo>
                  <a:lnTo>
                    <a:pt x="127" y="20"/>
                  </a:lnTo>
                  <a:lnTo>
                    <a:pt x="127" y="27"/>
                  </a:lnTo>
                  <a:lnTo>
                    <a:pt x="117" y="37"/>
                  </a:lnTo>
                  <a:lnTo>
                    <a:pt x="105" y="61"/>
                  </a:lnTo>
                  <a:lnTo>
                    <a:pt x="100" y="79"/>
                  </a:lnTo>
                  <a:lnTo>
                    <a:pt x="91" y="85"/>
                  </a:lnTo>
                  <a:lnTo>
                    <a:pt x="78" y="99"/>
                  </a:lnTo>
                  <a:lnTo>
                    <a:pt x="66" y="101"/>
                  </a:lnTo>
                  <a:lnTo>
                    <a:pt x="59" y="113"/>
                  </a:lnTo>
                  <a:lnTo>
                    <a:pt x="53" y="112"/>
                  </a:lnTo>
                  <a:lnTo>
                    <a:pt x="48" y="109"/>
                  </a:lnTo>
                  <a:lnTo>
                    <a:pt x="11" y="97"/>
                  </a:lnTo>
                  <a:lnTo>
                    <a:pt x="3" y="86"/>
                  </a:lnTo>
                  <a:lnTo>
                    <a:pt x="0" y="50"/>
                  </a:lnTo>
                  <a:lnTo>
                    <a:pt x="6" y="45"/>
                  </a:lnTo>
                  <a:lnTo>
                    <a:pt x="19" y="31"/>
                  </a:lnTo>
                  <a:lnTo>
                    <a:pt x="28" y="24"/>
                  </a:lnTo>
                  <a:lnTo>
                    <a:pt x="30" y="20"/>
                  </a:lnTo>
                  <a:lnTo>
                    <a:pt x="37" y="15"/>
                  </a:lnTo>
                  <a:lnTo>
                    <a:pt x="49" y="10"/>
                  </a:lnTo>
                  <a:lnTo>
                    <a:pt x="78" y="9"/>
                  </a:lnTo>
                  <a:lnTo>
                    <a:pt x="85" y="4"/>
                  </a:lnTo>
                  <a:lnTo>
                    <a:pt x="92" y="5"/>
                  </a:lnTo>
                  <a:lnTo>
                    <a:pt x="97" y="4"/>
                  </a:lnTo>
                  <a:lnTo>
                    <a:pt x="102" y="5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3" name="Freeform 163">
              <a:extLst>
                <a:ext uri="{FF2B5EF4-FFF2-40B4-BE49-F238E27FC236}">
                  <a16:creationId xmlns:a16="http://schemas.microsoft.com/office/drawing/2014/main" id="{6C254D28-A2E4-68D9-0F58-40764406216B}"/>
                </a:ext>
              </a:extLst>
            </p:cNvPr>
            <p:cNvSpPr>
              <a:spLocks/>
            </p:cNvSpPr>
            <p:nvPr/>
          </p:nvSpPr>
          <p:spPr bwMode="gray">
            <a:xfrm>
              <a:off x="5779355" y="1807399"/>
              <a:ext cx="1184126" cy="822168"/>
            </a:xfrm>
            <a:custGeom>
              <a:avLst/>
              <a:gdLst>
                <a:gd name="T0" fmla="*/ 195780 w 3356"/>
                <a:gd name="T1" fmla="*/ 180105 h 2335"/>
                <a:gd name="T2" fmla="*/ 190428 w 3356"/>
                <a:gd name="T3" fmla="*/ 184628 h 2335"/>
                <a:gd name="T4" fmla="*/ 179725 w 3356"/>
                <a:gd name="T5" fmla="*/ 191618 h 2335"/>
                <a:gd name="T6" fmla="*/ 169468 w 3356"/>
                <a:gd name="T7" fmla="*/ 185861 h 2335"/>
                <a:gd name="T8" fmla="*/ 156089 w 3356"/>
                <a:gd name="T9" fmla="*/ 178460 h 2335"/>
                <a:gd name="T10" fmla="*/ 141372 w 3356"/>
                <a:gd name="T11" fmla="*/ 180516 h 2335"/>
                <a:gd name="T12" fmla="*/ 134682 w 3356"/>
                <a:gd name="T13" fmla="*/ 184628 h 2335"/>
                <a:gd name="T14" fmla="*/ 119073 w 3356"/>
                <a:gd name="T15" fmla="*/ 174348 h 2335"/>
                <a:gd name="T16" fmla="*/ 120857 w 3356"/>
                <a:gd name="T17" fmla="*/ 156255 h 2335"/>
                <a:gd name="T18" fmla="*/ 110600 w 3356"/>
                <a:gd name="T19" fmla="*/ 147620 h 2335"/>
                <a:gd name="T20" fmla="*/ 92315 w 3356"/>
                <a:gd name="T21" fmla="*/ 154199 h 2335"/>
                <a:gd name="T22" fmla="*/ 78490 w 3356"/>
                <a:gd name="T23" fmla="*/ 152966 h 2335"/>
                <a:gd name="T24" fmla="*/ 70909 w 3356"/>
                <a:gd name="T25" fmla="*/ 154610 h 2335"/>
                <a:gd name="T26" fmla="*/ 61544 w 3356"/>
                <a:gd name="T27" fmla="*/ 154610 h 2335"/>
                <a:gd name="T28" fmla="*/ 53962 w 3356"/>
                <a:gd name="T29" fmla="*/ 150910 h 2335"/>
                <a:gd name="T30" fmla="*/ 49502 w 3356"/>
                <a:gd name="T31" fmla="*/ 148442 h 2335"/>
                <a:gd name="T32" fmla="*/ 37907 w 3356"/>
                <a:gd name="T33" fmla="*/ 142274 h 2335"/>
                <a:gd name="T34" fmla="*/ 31218 w 3356"/>
                <a:gd name="T35" fmla="*/ 139807 h 2335"/>
                <a:gd name="T36" fmla="*/ 25866 w 3356"/>
                <a:gd name="T37" fmla="*/ 137751 h 2335"/>
                <a:gd name="T38" fmla="*/ 24974 w 3356"/>
                <a:gd name="T39" fmla="*/ 129939 h 2335"/>
                <a:gd name="T40" fmla="*/ 28542 w 3356"/>
                <a:gd name="T41" fmla="*/ 128705 h 2335"/>
                <a:gd name="T42" fmla="*/ 26758 w 3356"/>
                <a:gd name="T43" fmla="*/ 122537 h 2335"/>
                <a:gd name="T44" fmla="*/ 32110 w 3356"/>
                <a:gd name="T45" fmla="*/ 115958 h 2335"/>
                <a:gd name="T46" fmla="*/ 28988 w 3356"/>
                <a:gd name="T47" fmla="*/ 112668 h 2335"/>
                <a:gd name="T48" fmla="*/ 20515 w 3356"/>
                <a:gd name="T49" fmla="*/ 114313 h 2335"/>
                <a:gd name="T50" fmla="*/ 11149 w 3356"/>
                <a:gd name="T51" fmla="*/ 111435 h 2335"/>
                <a:gd name="T52" fmla="*/ 8027 w 3356"/>
                <a:gd name="T53" fmla="*/ 106500 h 2335"/>
                <a:gd name="T54" fmla="*/ 5798 w 3356"/>
                <a:gd name="T55" fmla="*/ 99510 h 2335"/>
                <a:gd name="T56" fmla="*/ 9365 w 3356"/>
                <a:gd name="T57" fmla="*/ 85940 h 2335"/>
                <a:gd name="T58" fmla="*/ 32556 w 3356"/>
                <a:gd name="T59" fmla="*/ 75660 h 2335"/>
                <a:gd name="T60" fmla="*/ 41921 w 3356"/>
                <a:gd name="T61" fmla="*/ 57157 h 2335"/>
                <a:gd name="T62" fmla="*/ 58422 w 3356"/>
                <a:gd name="T63" fmla="*/ 41531 h 2335"/>
                <a:gd name="T64" fmla="*/ 76260 w 3356"/>
                <a:gd name="T65" fmla="*/ 39064 h 2335"/>
                <a:gd name="T66" fmla="*/ 91869 w 3356"/>
                <a:gd name="T67" fmla="*/ 58390 h 2335"/>
                <a:gd name="T68" fmla="*/ 114614 w 3356"/>
                <a:gd name="T69" fmla="*/ 72371 h 2335"/>
                <a:gd name="T70" fmla="*/ 153413 w 3356"/>
                <a:gd name="T71" fmla="*/ 79361 h 2335"/>
                <a:gd name="T72" fmla="*/ 182401 w 3356"/>
                <a:gd name="T73" fmla="*/ 70315 h 2335"/>
                <a:gd name="T74" fmla="*/ 203807 w 3356"/>
                <a:gd name="T75" fmla="*/ 54689 h 2335"/>
                <a:gd name="T76" fmla="*/ 218970 w 3356"/>
                <a:gd name="T77" fmla="*/ 39475 h 2335"/>
                <a:gd name="T78" fmla="*/ 209159 w 3356"/>
                <a:gd name="T79" fmla="*/ 25494 h 2335"/>
                <a:gd name="T80" fmla="*/ 228336 w 3356"/>
                <a:gd name="T81" fmla="*/ 13158 h 2335"/>
                <a:gd name="T82" fmla="*/ 244390 w 3356"/>
                <a:gd name="T83" fmla="*/ 0 h 2335"/>
                <a:gd name="T84" fmla="*/ 259107 w 3356"/>
                <a:gd name="T85" fmla="*/ 12747 h 2335"/>
                <a:gd name="T86" fmla="*/ 277838 w 3356"/>
                <a:gd name="T87" fmla="*/ 32485 h 2335"/>
                <a:gd name="T88" fmla="*/ 296569 w 3356"/>
                <a:gd name="T89" fmla="*/ 36185 h 2335"/>
                <a:gd name="T90" fmla="*/ 285419 w 3356"/>
                <a:gd name="T91" fmla="*/ 57157 h 2335"/>
                <a:gd name="T92" fmla="*/ 267581 w 3356"/>
                <a:gd name="T93" fmla="*/ 77305 h 2335"/>
                <a:gd name="T94" fmla="*/ 243498 w 3356"/>
                <a:gd name="T95" fmla="*/ 90052 h 2335"/>
                <a:gd name="T96" fmla="*/ 233687 w 3356"/>
                <a:gd name="T97" fmla="*/ 92108 h 2335"/>
                <a:gd name="T98" fmla="*/ 226998 w 3356"/>
                <a:gd name="T99" fmla="*/ 88819 h 2335"/>
                <a:gd name="T100" fmla="*/ 218078 w 3356"/>
                <a:gd name="T101" fmla="*/ 100332 h 2335"/>
                <a:gd name="T102" fmla="*/ 233241 w 3356"/>
                <a:gd name="T103" fmla="*/ 103211 h 2335"/>
                <a:gd name="T104" fmla="*/ 235917 w 3356"/>
                <a:gd name="T105" fmla="*/ 106911 h 2335"/>
                <a:gd name="T106" fmla="*/ 225214 w 3356"/>
                <a:gd name="T107" fmla="*/ 115547 h 2335"/>
                <a:gd name="T108" fmla="*/ 236363 w 3356"/>
                <a:gd name="T109" fmla="*/ 134873 h 2335"/>
                <a:gd name="T110" fmla="*/ 235917 w 3356"/>
                <a:gd name="T111" fmla="*/ 137751 h 2335"/>
                <a:gd name="T112" fmla="*/ 234133 w 3356"/>
                <a:gd name="T113" fmla="*/ 143508 h 2335"/>
                <a:gd name="T114" fmla="*/ 234579 w 3356"/>
                <a:gd name="T115" fmla="*/ 149265 h 2335"/>
                <a:gd name="T116" fmla="*/ 228336 w 3356"/>
                <a:gd name="T117" fmla="*/ 159134 h 2335"/>
                <a:gd name="T118" fmla="*/ 224322 w 3356"/>
                <a:gd name="T119" fmla="*/ 166946 h 2335"/>
                <a:gd name="T120" fmla="*/ 217632 w 3356"/>
                <a:gd name="T121" fmla="*/ 172292 h 2335"/>
                <a:gd name="T122" fmla="*/ 209159 w 3356"/>
                <a:gd name="T123" fmla="*/ 178871 h 2335"/>
                <a:gd name="T124" fmla="*/ 200686 w 3356"/>
                <a:gd name="T125" fmla="*/ 180927 h 233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356"/>
                <a:gd name="T190" fmla="*/ 0 h 2335"/>
                <a:gd name="T191" fmla="*/ 3356 w 3356"/>
                <a:gd name="T192" fmla="*/ 2335 h 2335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356" h="2335">
                  <a:moveTo>
                    <a:pt x="2243" y="2202"/>
                  </a:moveTo>
                  <a:lnTo>
                    <a:pt x="2240" y="2209"/>
                  </a:lnTo>
                  <a:lnTo>
                    <a:pt x="2239" y="2206"/>
                  </a:lnTo>
                  <a:lnTo>
                    <a:pt x="2239" y="2202"/>
                  </a:lnTo>
                  <a:lnTo>
                    <a:pt x="2235" y="2199"/>
                  </a:lnTo>
                  <a:lnTo>
                    <a:pt x="2226" y="2201"/>
                  </a:lnTo>
                  <a:lnTo>
                    <a:pt x="2225" y="2202"/>
                  </a:lnTo>
                  <a:lnTo>
                    <a:pt x="2224" y="2202"/>
                  </a:lnTo>
                  <a:lnTo>
                    <a:pt x="2224" y="2205"/>
                  </a:lnTo>
                  <a:lnTo>
                    <a:pt x="2229" y="2211"/>
                  </a:lnTo>
                  <a:lnTo>
                    <a:pt x="2224" y="2212"/>
                  </a:lnTo>
                  <a:lnTo>
                    <a:pt x="2211" y="2213"/>
                  </a:lnTo>
                  <a:lnTo>
                    <a:pt x="2210" y="2209"/>
                  </a:lnTo>
                  <a:lnTo>
                    <a:pt x="2211" y="2206"/>
                  </a:lnTo>
                  <a:lnTo>
                    <a:pt x="2209" y="2202"/>
                  </a:lnTo>
                  <a:lnTo>
                    <a:pt x="2199" y="2194"/>
                  </a:lnTo>
                  <a:lnTo>
                    <a:pt x="2191" y="2191"/>
                  </a:lnTo>
                  <a:lnTo>
                    <a:pt x="2188" y="2185"/>
                  </a:lnTo>
                  <a:lnTo>
                    <a:pt x="2186" y="2198"/>
                  </a:lnTo>
                  <a:lnTo>
                    <a:pt x="2186" y="2209"/>
                  </a:lnTo>
                  <a:lnTo>
                    <a:pt x="2187" y="2216"/>
                  </a:lnTo>
                  <a:lnTo>
                    <a:pt x="2187" y="2218"/>
                  </a:lnTo>
                  <a:lnTo>
                    <a:pt x="2183" y="2220"/>
                  </a:lnTo>
                  <a:lnTo>
                    <a:pt x="2180" y="2220"/>
                  </a:lnTo>
                  <a:lnTo>
                    <a:pt x="2171" y="2209"/>
                  </a:lnTo>
                  <a:lnTo>
                    <a:pt x="2164" y="2204"/>
                  </a:lnTo>
                  <a:lnTo>
                    <a:pt x="2161" y="2198"/>
                  </a:lnTo>
                  <a:lnTo>
                    <a:pt x="2155" y="2215"/>
                  </a:lnTo>
                  <a:lnTo>
                    <a:pt x="2155" y="2222"/>
                  </a:lnTo>
                  <a:lnTo>
                    <a:pt x="2156" y="2227"/>
                  </a:lnTo>
                  <a:lnTo>
                    <a:pt x="2156" y="2236"/>
                  </a:lnTo>
                  <a:lnTo>
                    <a:pt x="2153" y="2239"/>
                  </a:lnTo>
                  <a:lnTo>
                    <a:pt x="2149" y="2237"/>
                  </a:lnTo>
                  <a:lnTo>
                    <a:pt x="2134" y="2244"/>
                  </a:lnTo>
                  <a:lnTo>
                    <a:pt x="2123" y="2245"/>
                  </a:lnTo>
                  <a:lnTo>
                    <a:pt x="2116" y="2249"/>
                  </a:lnTo>
                  <a:lnTo>
                    <a:pt x="2107" y="2249"/>
                  </a:lnTo>
                  <a:lnTo>
                    <a:pt x="2105" y="2247"/>
                  </a:lnTo>
                  <a:lnTo>
                    <a:pt x="2094" y="2249"/>
                  </a:lnTo>
                  <a:lnTo>
                    <a:pt x="2084" y="2258"/>
                  </a:lnTo>
                  <a:lnTo>
                    <a:pt x="2073" y="2261"/>
                  </a:lnTo>
                  <a:lnTo>
                    <a:pt x="2059" y="2263"/>
                  </a:lnTo>
                  <a:lnTo>
                    <a:pt x="2051" y="2261"/>
                  </a:lnTo>
                  <a:lnTo>
                    <a:pt x="2048" y="2265"/>
                  </a:lnTo>
                  <a:lnTo>
                    <a:pt x="2038" y="2270"/>
                  </a:lnTo>
                  <a:lnTo>
                    <a:pt x="2024" y="2274"/>
                  </a:lnTo>
                  <a:lnTo>
                    <a:pt x="2015" y="2271"/>
                  </a:lnTo>
                  <a:lnTo>
                    <a:pt x="2004" y="2297"/>
                  </a:lnTo>
                  <a:lnTo>
                    <a:pt x="2011" y="2309"/>
                  </a:lnTo>
                  <a:lnTo>
                    <a:pt x="2015" y="2317"/>
                  </a:lnTo>
                  <a:lnTo>
                    <a:pt x="2015" y="2329"/>
                  </a:lnTo>
                  <a:lnTo>
                    <a:pt x="1999" y="2335"/>
                  </a:lnTo>
                  <a:lnTo>
                    <a:pt x="1988" y="2329"/>
                  </a:lnTo>
                  <a:lnTo>
                    <a:pt x="1973" y="2298"/>
                  </a:lnTo>
                  <a:lnTo>
                    <a:pt x="1971" y="2291"/>
                  </a:lnTo>
                  <a:lnTo>
                    <a:pt x="1972" y="2288"/>
                  </a:lnTo>
                  <a:lnTo>
                    <a:pt x="1978" y="2266"/>
                  </a:lnTo>
                  <a:lnTo>
                    <a:pt x="1974" y="2259"/>
                  </a:lnTo>
                  <a:lnTo>
                    <a:pt x="1968" y="2261"/>
                  </a:lnTo>
                  <a:lnTo>
                    <a:pt x="1958" y="2269"/>
                  </a:lnTo>
                  <a:lnTo>
                    <a:pt x="1947" y="2269"/>
                  </a:lnTo>
                  <a:lnTo>
                    <a:pt x="1942" y="2264"/>
                  </a:lnTo>
                  <a:lnTo>
                    <a:pt x="1941" y="2259"/>
                  </a:lnTo>
                  <a:lnTo>
                    <a:pt x="1923" y="2254"/>
                  </a:lnTo>
                  <a:lnTo>
                    <a:pt x="1915" y="2252"/>
                  </a:lnTo>
                  <a:lnTo>
                    <a:pt x="1911" y="2252"/>
                  </a:lnTo>
                  <a:lnTo>
                    <a:pt x="1907" y="2260"/>
                  </a:lnTo>
                  <a:lnTo>
                    <a:pt x="1898" y="2261"/>
                  </a:lnTo>
                  <a:lnTo>
                    <a:pt x="1898" y="2269"/>
                  </a:lnTo>
                  <a:lnTo>
                    <a:pt x="1895" y="2258"/>
                  </a:lnTo>
                  <a:lnTo>
                    <a:pt x="1890" y="2261"/>
                  </a:lnTo>
                  <a:lnTo>
                    <a:pt x="1881" y="2265"/>
                  </a:lnTo>
                  <a:lnTo>
                    <a:pt x="1874" y="2260"/>
                  </a:lnTo>
                  <a:lnTo>
                    <a:pt x="1855" y="2261"/>
                  </a:lnTo>
                  <a:lnTo>
                    <a:pt x="1845" y="2259"/>
                  </a:lnTo>
                  <a:lnTo>
                    <a:pt x="1840" y="2254"/>
                  </a:lnTo>
                  <a:lnTo>
                    <a:pt x="1817" y="2240"/>
                  </a:lnTo>
                  <a:lnTo>
                    <a:pt x="1810" y="2228"/>
                  </a:lnTo>
                  <a:lnTo>
                    <a:pt x="1805" y="2213"/>
                  </a:lnTo>
                  <a:lnTo>
                    <a:pt x="1810" y="2198"/>
                  </a:lnTo>
                  <a:lnTo>
                    <a:pt x="1806" y="2189"/>
                  </a:lnTo>
                  <a:lnTo>
                    <a:pt x="1786" y="2188"/>
                  </a:lnTo>
                  <a:lnTo>
                    <a:pt x="1773" y="2184"/>
                  </a:lnTo>
                  <a:lnTo>
                    <a:pt x="1758" y="2178"/>
                  </a:lnTo>
                  <a:lnTo>
                    <a:pt x="1746" y="2168"/>
                  </a:lnTo>
                  <a:lnTo>
                    <a:pt x="1731" y="2163"/>
                  </a:lnTo>
                  <a:lnTo>
                    <a:pt x="1724" y="2164"/>
                  </a:lnTo>
                  <a:lnTo>
                    <a:pt x="1714" y="2175"/>
                  </a:lnTo>
                  <a:lnTo>
                    <a:pt x="1704" y="2182"/>
                  </a:lnTo>
                  <a:lnTo>
                    <a:pt x="1689" y="2190"/>
                  </a:lnTo>
                  <a:lnTo>
                    <a:pt x="1683" y="2191"/>
                  </a:lnTo>
                  <a:lnTo>
                    <a:pt x="1675" y="2189"/>
                  </a:lnTo>
                  <a:lnTo>
                    <a:pt x="1666" y="2196"/>
                  </a:lnTo>
                  <a:lnTo>
                    <a:pt x="1656" y="2201"/>
                  </a:lnTo>
                  <a:lnTo>
                    <a:pt x="1653" y="2195"/>
                  </a:lnTo>
                  <a:lnTo>
                    <a:pt x="1639" y="2199"/>
                  </a:lnTo>
                  <a:lnTo>
                    <a:pt x="1633" y="2194"/>
                  </a:lnTo>
                  <a:lnTo>
                    <a:pt x="1627" y="2195"/>
                  </a:lnTo>
                  <a:lnTo>
                    <a:pt x="1612" y="2205"/>
                  </a:lnTo>
                  <a:lnTo>
                    <a:pt x="1606" y="2204"/>
                  </a:lnTo>
                  <a:lnTo>
                    <a:pt x="1598" y="2196"/>
                  </a:lnTo>
                  <a:lnTo>
                    <a:pt x="1585" y="2194"/>
                  </a:lnTo>
                  <a:lnTo>
                    <a:pt x="1583" y="2191"/>
                  </a:lnTo>
                  <a:lnTo>
                    <a:pt x="1579" y="2194"/>
                  </a:lnTo>
                  <a:lnTo>
                    <a:pt x="1575" y="2200"/>
                  </a:lnTo>
                  <a:lnTo>
                    <a:pt x="1569" y="2207"/>
                  </a:lnTo>
                  <a:lnTo>
                    <a:pt x="1569" y="2211"/>
                  </a:lnTo>
                  <a:lnTo>
                    <a:pt x="1562" y="2207"/>
                  </a:lnTo>
                  <a:lnTo>
                    <a:pt x="1562" y="2205"/>
                  </a:lnTo>
                  <a:lnTo>
                    <a:pt x="1542" y="2204"/>
                  </a:lnTo>
                  <a:lnTo>
                    <a:pt x="1533" y="2211"/>
                  </a:lnTo>
                  <a:lnTo>
                    <a:pt x="1532" y="2223"/>
                  </a:lnTo>
                  <a:lnTo>
                    <a:pt x="1535" y="2240"/>
                  </a:lnTo>
                  <a:lnTo>
                    <a:pt x="1541" y="2256"/>
                  </a:lnTo>
                  <a:lnTo>
                    <a:pt x="1540" y="2271"/>
                  </a:lnTo>
                  <a:lnTo>
                    <a:pt x="1536" y="2275"/>
                  </a:lnTo>
                  <a:lnTo>
                    <a:pt x="1515" y="2280"/>
                  </a:lnTo>
                  <a:lnTo>
                    <a:pt x="1510" y="2253"/>
                  </a:lnTo>
                  <a:lnTo>
                    <a:pt x="1509" y="2247"/>
                  </a:lnTo>
                  <a:lnTo>
                    <a:pt x="1497" y="2245"/>
                  </a:lnTo>
                  <a:lnTo>
                    <a:pt x="1482" y="2258"/>
                  </a:lnTo>
                  <a:lnTo>
                    <a:pt x="1462" y="2260"/>
                  </a:lnTo>
                  <a:lnTo>
                    <a:pt x="1444" y="2243"/>
                  </a:lnTo>
                  <a:lnTo>
                    <a:pt x="1441" y="2231"/>
                  </a:lnTo>
                  <a:lnTo>
                    <a:pt x="1423" y="2225"/>
                  </a:lnTo>
                  <a:lnTo>
                    <a:pt x="1408" y="2222"/>
                  </a:lnTo>
                  <a:lnTo>
                    <a:pt x="1412" y="2202"/>
                  </a:lnTo>
                  <a:lnTo>
                    <a:pt x="1418" y="2175"/>
                  </a:lnTo>
                  <a:lnTo>
                    <a:pt x="1402" y="2167"/>
                  </a:lnTo>
                  <a:lnTo>
                    <a:pt x="1388" y="2157"/>
                  </a:lnTo>
                  <a:lnTo>
                    <a:pt x="1387" y="2137"/>
                  </a:lnTo>
                  <a:lnTo>
                    <a:pt x="1382" y="2123"/>
                  </a:lnTo>
                  <a:lnTo>
                    <a:pt x="1382" y="2112"/>
                  </a:lnTo>
                  <a:lnTo>
                    <a:pt x="1363" y="2113"/>
                  </a:lnTo>
                  <a:lnTo>
                    <a:pt x="1344" y="2114"/>
                  </a:lnTo>
                  <a:lnTo>
                    <a:pt x="1333" y="2120"/>
                  </a:lnTo>
                  <a:lnTo>
                    <a:pt x="1320" y="2134"/>
                  </a:lnTo>
                  <a:lnTo>
                    <a:pt x="1315" y="2129"/>
                  </a:lnTo>
                  <a:lnTo>
                    <a:pt x="1325" y="2112"/>
                  </a:lnTo>
                  <a:lnTo>
                    <a:pt x="1326" y="2103"/>
                  </a:lnTo>
                  <a:lnTo>
                    <a:pt x="1322" y="2087"/>
                  </a:lnTo>
                  <a:lnTo>
                    <a:pt x="1328" y="2073"/>
                  </a:lnTo>
                  <a:lnTo>
                    <a:pt x="1332" y="2054"/>
                  </a:lnTo>
                  <a:lnTo>
                    <a:pt x="1343" y="2043"/>
                  </a:lnTo>
                  <a:lnTo>
                    <a:pt x="1347" y="2033"/>
                  </a:lnTo>
                  <a:lnTo>
                    <a:pt x="1354" y="2030"/>
                  </a:lnTo>
                  <a:lnTo>
                    <a:pt x="1363" y="2019"/>
                  </a:lnTo>
                  <a:lnTo>
                    <a:pt x="1372" y="1992"/>
                  </a:lnTo>
                  <a:lnTo>
                    <a:pt x="1372" y="1984"/>
                  </a:lnTo>
                  <a:lnTo>
                    <a:pt x="1376" y="1956"/>
                  </a:lnTo>
                  <a:lnTo>
                    <a:pt x="1375" y="1935"/>
                  </a:lnTo>
                  <a:lnTo>
                    <a:pt x="1368" y="1903"/>
                  </a:lnTo>
                  <a:lnTo>
                    <a:pt x="1352" y="1901"/>
                  </a:lnTo>
                  <a:lnTo>
                    <a:pt x="1347" y="1893"/>
                  </a:lnTo>
                  <a:lnTo>
                    <a:pt x="1343" y="1876"/>
                  </a:lnTo>
                  <a:lnTo>
                    <a:pt x="1331" y="1862"/>
                  </a:lnTo>
                  <a:lnTo>
                    <a:pt x="1318" y="1856"/>
                  </a:lnTo>
                  <a:lnTo>
                    <a:pt x="1315" y="1856"/>
                  </a:lnTo>
                  <a:lnTo>
                    <a:pt x="1311" y="1861"/>
                  </a:lnTo>
                  <a:lnTo>
                    <a:pt x="1302" y="1865"/>
                  </a:lnTo>
                  <a:lnTo>
                    <a:pt x="1298" y="1852"/>
                  </a:lnTo>
                  <a:lnTo>
                    <a:pt x="1288" y="1849"/>
                  </a:lnTo>
                  <a:lnTo>
                    <a:pt x="1274" y="1849"/>
                  </a:lnTo>
                  <a:lnTo>
                    <a:pt x="1264" y="1845"/>
                  </a:lnTo>
                  <a:lnTo>
                    <a:pt x="1246" y="1845"/>
                  </a:lnTo>
                  <a:lnTo>
                    <a:pt x="1248" y="1829"/>
                  </a:lnTo>
                  <a:lnTo>
                    <a:pt x="1250" y="1814"/>
                  </a:lnTo>
                  <a:lnTo>
                    <a:pt x="1237" y="1812"/>
                  </a:lnTo>
                  <a:lnTo>
                    <a:pt x="1235" y="1801"/>
                  </a:lnTo>
                  <a:lnTo>
                    <a:pt x="1237" y="1793"/>
                  </a:lnTo>
                  <a:lnTo>
                    <a:pt x="1226" y="1781"/>
                  </a:lnTo>
                  <a:lnTo>
                    <a:pt x="1214" y="1785"/>
                  </a:lnTo>
                  <a:lnTo>
                    <a:pt x="1199" y="1795"/>
                  </a:lnTo>
                  <a:lnTo>
                    <a:pt x="1186" y="1798"/>
                  </a:lnTo>
                  <a:lnTo>
                    <a:pt x="1166" y="1800"/>
                  </a:lnTo>
                  <a:lnTo>
                    <a:pt x="1157" y="1798"/>
                  </a:lnTo>
                  <a:lnTo>
                    <a:pt x="1151" y="1793"/>
                  </a:lnTo>
                  <a:lnTo>
                    <a:pt x="1146" y="1792"/>
                  </a:lnTo>
                  <a:lnTo>
                    <a:pt x="1137" y="1797"/>
                  </a:lnTo>
                  <a:lnTo>
                    <a:pt x="1128" y="1803"/>
                  </a:lnTo>
                  <a:lnTo>
                    <a:pt x="1122" y="1814"/>
                  </a:lnTo>
                  <a:lnTo>
                    <a:pt x="1102" y="1831"/>
                  </a:lnTo>
                  <a:lnTo>
                    <a:pt x="1087" y="1835"/>
                  </a:lnTo>
                  <a:lnTo>
                    <a:pt x="1073" y="1851"/>
                  </a:lnTo>
                  <a:lnTo>
                    <a:pt x="1063" y="1858"/>
                  </a:lnTo>
                  <a:lnTo>
                    <a:pt x="1048" y="1866"/>
                  </a:lnTo>
                  <a:lnTo>
                    <a:pt x="1036" y="1874"/>
                  </a:lnTo>
                  <a:lnTo>
                    <a:pt x="1008" y="1881"/>
                  </a:lnTo>
                  <a:lnTo>
                    <a:pt x="990" y="1886"/>
                  </a:lnTo>
                  <a:lnTo>
                    <a:pt x="992" y="1888"/>
                  </a:lnTo>
                  <a:lnTo>
                    <a:pt x="992" y="1886"/>
                  </a:lnTo>
                  <a:lnTo>
                    <a:pt x="978" y="1878"/>
                  </a:lnTo>
                  <a:lnTo>
                    <a:pt x="976" y="1874"/>
                  </a:lnTo>
                  <a:lnTo>
                    <a:pt x="973" y="1873"/>
                  </a:lnTo>
                  <a:lnTo>
                    <a:pt x="958" y="1877"/>
                  </a:lnTo>
                  <a:lnTo>
                    <a:pt x="954" y="1877"/>
                  </a:lnTo>
                  <a:lnTo>
                    <a:pt x="940" y="1872"/>
                  </a:lnTo>
                  <a:lnTo>
                    <a:pt x="924" y="1871"/>
                  </a:lnTo>
                  <a:lnTo>
                    <a:pt x="917" y="1866"/>
                  </a:lnTo>
                  <a:lnTo>
                    <a:pt x="917" y="1863"/>
                  </a:lnTo>
                  <a:lnTo>
                    <a:pt x="913" y="1857"/>
                  </a:lnTo>
                  <a:lnTo>
                    <a:pt x="907" y="1856"/>
                  </a:lnTo>
                  <a:lnTo>
                    <a:pt x="893" y="1857"/>
                  </a:lnTo>
                  <a:lnTo>
                    <a:pt x="881" y="1862"/>
                  </a:lnTo>
                  <a:lnTo>
                    <a:pt x="870" y="1873"/>
                  </a:lnTo>
                  <a:lnTo>
                    <a:pt x="860" y="1889"/>
                  </a:lnTo>
                  <a:lnTo>
                    <a:pt x="839" y="1909"/>
                  </a:lnTo>
                  <a:lnTo>
                    <a:pt x="838" y="1915"/>
                  </a:lnTo>
                  <a:lnTo>
                    <a:pt x="833" y="1915"/>
                  </a:lnTo>
                  <a:lnTo>
                    <a:pt x="829" y="1913"/>
                  </a:lnTo>
                  <a:lnTo>
                    <a:pt x="827" y="1910"/>
                  </a:lnTo>
                  <a:lnTo>
                    <a:pt x="827" y="1903"/>
                  </a:lnTo>
                  <a:lnTo>
                    <a:pt x="831" y="1890"/>
                  </a:lnTo>
                  <a:lnTo>
                    <a:pt x="831" y="1884"/>
                  </a:lnTo>
                  <a:lnTo>
                    <a:pt x="828" y="1874"/>
                  </a:lnTo>
                  <a:lnTo>
                    <a:pt x="827" y="1871"/>
                  </a:lnTo>
                  <a:lnTo>
                    <a:pt x="822" y="1868"/>
                  </a:lnTo>
                  <a:lnTo>
                    <a:pt x="817" y="1870"/>
                  </a:lnTo>
                  <a:lnTo>
                    <a:pt x="809" y="1876"/>
                  </a:lnTo>
                  <a:lnTo>
                    <a:pt x="801" y="1876"/>
                  </a:lnTo>
                  <a:lnTo>
                    <a:pt x="793" y="1879"/>
                  </a:lnTo>
                  <a:lnTo>
                    <a:pt x="791" y="1881"/>
                  </a:lnTo>
                  <a:lnTo>
                    <a:pt x="788" y="1879"/>
                  </a:lnTo>
                  <a:lnTo>
                    <a:pt x="780" y="1881"/>
                  </a:lnTo>
                  <a:lnTo>
                    <a:pt x="774" y="1889"/>
                  </a:lnTo>
                  <a:lnTo>
                    <a:pt x="771" y="1889"/>
                  </a:lnTo>
                  <a:lnTo>
                    <a:pt x="757" y="1886"/>
                  </a:lnTo>
                  <a:lnTo>
                    <a:pt x="750" y="1888"/>
                  </a:lnTo>
                  <a:lnTo>
                    <a:pt x="746" y="1887"/>
                  </a:lnTo>
                  <a:lnTo>
                    <a:pt x="739" y="1883"/>
                  </a:lnTo>
                  <a:lnTo>
                    <a:pt x="729" y="1881"/>
                  </a:lnTo>
                  <a:lnTo>
                    <a:pt x="723" y="1873"/>
                  </a:lnTo>
                  <a:lnTo>
                    <a:pt x="713" y="1873"/>
                  </a:lnTo>
                  <a:lnTo>
                    <a:pt x="708" y="1874"/>
                  </a:lnTo>
                  <a:lnTo>
                    <a:pt x="704" y="1881"/>
                  </a:lnTo>
                  <a:lnTo>
                    <a:pt x="702" y="1882"/>
                  </a:lnTo>
                  <a:lnTo>
                    <a:pt x="696" y="1879"/>
                  </a:lnTo>
                  <a:lnTo>
                    <a:pt x="691" y="1881"/>
                  </a:lnTo>
                  <a:lnTo>
                    <a:pt x="685" y="1877"/>
                  </a:lnTo>
                  <a:lnTo>
                    <a:pt x="681" y="1879"/>
                  </a:lnTo>
                  <a:lnTo>
                    <a:pt x="675" y="1881"/>
                  </a:lnTo>
                  <a:lnTo>
                    <a:pt x="671" y="1878"/>
                  </a:lnTo>
                  <a:lnTo>
                    <a:pt x="667" y="1872"/>
                  </a:lnTo>
                  <a:lnTo>
                    <a:pt x="666" y="1868"/>
                  </a:lnTo>
                  <a:lnTo>
                    <a:pt x="661" y="1862"/>
                  </a:lnTo>
                  <a:lnTo>
                    <a:pt x="653" y="1861"/>
                  </a:lnTo>
                  <a:lnTo>
                    <a:pt x="645" y="1863"/>
                  </a:lnTo>
                  <a:lnTo>
                    <a:pt x="630" y="1854"/>
                  </a:lnTo>
                  <a:lnTo>
                    <a:pt x="629" y="1847"/>
                  </a:lnTo>
                  <a:lnTo>
                    <a:pt x="632" y="1834"/>
                  </a:lnTo>
                  <a:lnTo>
                    <a:pt x="629" y="1833"/>
                  </a:lnTo>
                  <a:lnTo>
                    <a:pt x="624" y="1836"/>
                  </a:lnTo>
                  <a:lnTo>
                    <a:pt x="619" y="1838"/>
                  </a:lnTo>
                  <a:lnTo>
                    <a:pt x="611" y="1836"/>
                  </a:lnTo>
                  <a:lnTo>
                    <a:pt x="603" y="1834"/>
                  </a:lnTo>
                  <a:lnTo>
                    <a:pt x="599" y="1835"/>
                  </a:lnTo>
                  <a:lnTo>
                    <a:pt x="592" y="1831"/>
                  </a:lnTo>
                  <a:lnTo>
                    <a:pt x="589" y="1831"/>
                  </a:lnTo>
                  <a:lnTo>
                    <a:pt x="585" y="1828"/>
                  </a:lnTo>
                  <a:lnTo>
                    <a:pt x="583" y="1823"/>
                  </a:lnTo>
                  <a:lnTo>
                    <a:pt x="578" y="1825"/>
                  </a:lnTo>
                  <a:lnTo>
                    <a:pt x="576" y="1822"/>
                  </a:lnTo>
                  <a:lnTo>
                    <a:pt x="579" y="1809"/>
                  </a:lnTo>
                  <a:lnTo>
                    <a:pt x="578" y="1803"/>
                  </a:lnTo>
                  <a:lnTo>
                    <a:pt x="581" y="1797"/>
                  </a:lnTo>
                  <a:lnTo>
                    <a:pt x="579" y="1795"/>
                  </a:lnTo>
                  <a:lnTo>
                    <a:pt x="573" y="1793"/>
                  </a:lnTo>
                  <a:lnTo>
                    <a:pt x="567" y="1795"/>
                  </a:lnTo>
                  <a:lnTo>
                    <a:pt x="563" y="1793"/>
                  </a:lnTo>
                  <a:lnTo>
                    <a:pt x="560" y="1797"/>
                  </a:lnTo>
                  <a:lnTo>
                    <a:pt x="559" y="1800"/>
                  </a:lnTo>
                  <a:lnTo>
                    <a:pt x="556" y="1803"/>
                  </a:lnTo>
                  <a:lnTo>
                    <a:pt x="553" y="1804"/>
                  </a:lnTo>
                  <a:lnTo>
                    <a:pt x="548" y="1809"/>
                  </a:lnTo>
                  <a:lnTo>
                    <a:pt x="544" y="1808"/>
                  </a:lnTo>
                  <a:lnTo>
                    <a:pt x="538" y="1807"/>
                  </a:lnTo>
                  <a:lnTo>
                    <a:pt x="536" y="1802"/>
                  </a:lnTo>
                  <a:lnTo>
                    <a:pt x="533" y="1785"/>
                  </a:lnTo>
                  <a:lnTo>
                    <a:pt x="527" y="1776"/>
                  </a:lnTo>
                  <a:lnTo>
                    <a:pt x="515" y="1766"/>
                  </a:lnTo>
                  <a:lnTo>
                    <a:pt x="503" y="1763"/>
                  </a:lnTo>
                  <a:lnTo>
                    <a:pt x="493" y="1754"/>
                  </a:lnTo>
                  <a:lnTo>
                    <a:pt x="487" y="1745"/>
                  </a:lnTo>
                  <a:lnTo>
                    <a:pt x="482" y="1743"/>
                  </a:lnTo>
                  <a:lnTo>
                    <a:pt x="462" y="1737"/>
                  </a:lnTo>
                  <a:lnTo>
                    <a:pt x="444" y="1733"/>
                  </a:lnTo>
                  <a:lnTo>
                    <a:pt x="441" y="1732"/>
                  </a:lnTo>
                  <a:lnTo>
                    <a:pt x="425" y="1730"/>
                  </a:lnTo>
                  <a:lnTo>
                    <a:pt x="423" y="1731"/>
                  </a:lnTo>
                  <a:lnTo>
                    <a:pt x="423" y="1732"/>
                  </a:lnTo>
                  <a:lnTo>
                    <a:pt x="423" y="1737"/>
                  </a:lnTo>
                  <a:lnTo>
                    <a:pt x="419" y="1742"/>
                  </a:lnTo>
                  <a:lnTo>
                    <a:pt x="420" y="1744"/>
                  </a:lnTo>
                  <a:lnTo>
                    <a:pt x="419" y="1748"/>
                  </a:lnTo>
                  <a:lnTo>
                    <a:pt x="411" y="1741"/>
                  </a:lnTo>
                  <a:lnTo>
                    <a:pt x="408" y="1736"/>
                  </a:lnTo>
                  <a:lnTo>
                    <a:pt x="406" y="1734"/>
                  </a:lnTo>
                  <a:lnTo>
                    <a:pt x="403" y="1733"/>
                  </a:lnTo>
                  <a:lnTo>
                    <a:pt x="386" y="1728"/>
                  </a:lnTo>
                  <a:lnTo>
                    <a:pt x="384" y="1726"/>
                  </a:lnTo>
                  <a:lnTo>
                    <a:pt x="380" y="1720"/>
                  </a:lnTo>
                  <a:lnTo>
                    <a:pt x="375" y="1718"/>
                  </a:lnTo>
                  <a:lnTo>
                    <a:pt x="363" y="1709"/>
                  </a:lnTo>
                  <a:lnTo>
                    <a:pt x="357" y="1709"/>
                  </a:lnTo>
                  <a:lnTo>
                    <a:pt x="350" y="1705"/>
                  </a:lnTo>
                  <a:lnTo>
                    <a:pt x="348" y="1701"/>
                  </a:lnTo>
                  <a:lnTo>
                    <a:pt x="348" y="1698"/>
                  </a:lnTo>
                  <a:lnTo>
                    <a:pt x="345" y="1694"/>
                  </a:lnTo>
                  <a:lnTo>
                    <a:pt x="341" y="1694"/>
                  </a:lnTo>
                  <a:lnTo>
                    <a:pt x="339" y="1691"/>
                  </a:lnTo>
                  <a:lnTo>
                    <a:pt x="334" y="1689"/>
                  </a:lnTo>
                  <a:lnTo>
                    <a:pt x="326" y="1693"/>
                  </a:lnTo>
                  <a:lnTo>
                    <a:pt x="325" y="1691"/>
                  </a:lnTo>
                  <a:lnTo>
                    <a:pt x="323" y="1685"/>
                  </a:lnTo>
                  <a:lnTo>
                    <a:pt x="322" y="1684"/>
                  </a:lnTo>
                  <a:lnTo>
                    <a:pt x="318" y="1683"/>
                  </a:lnTo>
                  <a:lnTo>
                    <a:pt x="315" y="1684"/>
                  </a:lnTo>
                  <a:lnTo>
                    <a:pt x="306" y="1683"/>
                  </a:lnTo>
                  <a:lnTo>
                    <a:pt x="302" y="1684"/>
                  </a:lnTo>
                  <a:lnTo>
                    <a:pt x="296" y="1688"/>
                  </a:lnTo>
                  <a:lnTo>
                    <a:pt x="293" y="1688"/>
                  </a:lnTo>
                  <a:lnTo>
                    <a:pt x="290" y="1685"/>
                  </a:lnTo>
                  <a:lnTo>
                    <a:pt x="291" y="1675"/>
                  </a:lnTo>
                  <a:lnTo>
                    <a:pt x="287" y="1672"/>
                  </a:lnTo>
                  <a:lnTo>
                    <a:pt x="283" y="1666"/>
                  </a:lnTo>
                  <a:lnTo>
                    <a:pt x="283" y="1663"/>
                  </a:lnTo>
                  <a:lnTo>
                    <a:pt x="278" y="1658"/>
                  </a:lnTo>
                  <a:lnTo>
                    <a:pt x="278" y="1653"/>
                  </a:lnTo>
                  <a:lnTo>
                    <a:pt x="280" y="1646"/>
                  </a:lnTo>
                  <a:lnTo>
                    <a:pt x="277" y="1640"/>
                  </a:lnTo>
                  <a:lnTo>
                    <a:pt x="277" y="1636"/>
                  </a:lnTo>
                  <a:lnTo>
                    <a:pt x="278" y="1629"/>
                  </a:lnTo>
                  <a:lnTo>
                    <a:pt x="280" y="1623"/>
                  </a:lnTo>
                  <a:lnTo>
                    <a:pt x="273" y="1613"/>
                  </a:lnTo>
                  <a:lnTo>
                    <a:pt x="266" y="1605"/>
                  </a:lnTo>
                  <a:lnTo>
                    <a:pt x="266" y="1596"/>
                  </a:lnTo>
                  <a:lnTo>
                    <a:pt x="263" y="1588"/>
                  </a:lnTo>
                  <a:lnTo>
                    <a:pt x="264" y="1585"/>
                  </a:lnTo>
                  <a:lnTo>
                    <a:pt x="275" y="1583"/>
                  </a:lnTo>
                  <a:lnTo>
                    <a:pt x="278" y="1580"/>
                  </a:lnTo>
                  <a:lnTo>
                    <a:pt x="279" y="1581"/>
                  </a:lnTo>
                  <a:lnTo>
                    <a:pt x="280" y="1588"/>
                  </a:lnTo>
                  <a:lnTo>
                    <a:pt x="283" y="1593"/>
                  </a:lnTo>
                  <a:lnTo>
                    <a:pt x="285" y="1596"/>
                  </a:lnTo>
                  <a:lnTo>
                    <a:pt x="293" y="1598"/>
                  </a:lnTo>
                  <a:lnTo>
                    <a:pt x="295" y="1597"/>
                  </a:lnTo>
                  <a:lnTo>
                    <a:pt x="298" y="1596"/>
                  </a:lnTo>
                  <a:lnTo>
                    <a:pt x="301" y="1597"/>
                  </a:lnTo>
                  <a:lnTo>
                    <a:pt x="302" y="1591"/>
                  </a:lnTo>
                  <a:lnTo>
                    <a:pt x="306" y="1588"/>
                  </a:lnTo>
                  <a:lnTo>
                    <a:pt x="310" y="1582"/>
                  </a:lnTo>
                  <a:lnTo>
                    <a:pt x="311" y="1582"/>
                  </a:lnTo>
                  <a:lnTo>
                    <a:pt x="315" y="1587"/>
                  </a:lnTo>
                  <a:lnTo>
                    <a:pt x="317" y="1587"/>
                  </a:lnTo>
                  <a:lnTo>
                    <a:pt x="326" y="1576"/>
                  </a:lnTo>
                  <a:lnTo>
                    <a:pt x="326" y="1574"/>
                  </a:lnTo>
                  <a:lnTo>
                    <a:pt x="322" y="1567"/>
                  </a:lnTo>
                  <a:lnTo>
                    <a:pt x="316" y="1559"/>
                  </a:lnTo>
                  <a:lnTo>
                    <a:pt x="315" y="1554"/>
                  </a:lnTo>
                  <a:lnTo>
                    <a:pt x="316" y="1551"/>
                  </a:lnTo>
                  <a:lnTo>
                    <a:pt x="316" y="1548"/>
                  </a:lnTo>
                  <a:lnTo>
                    <a:pt x="306" y="1543"/>
                  </a:lnTo>
                  <a:lnTo>
                    <a:pt x="301" y="1544"/>
                  </a:lnTo>
                  <a:lnTo>
                    <a:pt x="300" y="1540"/>
                  </a:lnTo>
                  <a:lnTo>
                    <a:pt x="291" y="1533"/>
                  </a:lnTo>
                  <a:lnTo>
                    <a:pt x="291" y="1518"/>
                  </a:lnTo>
                  <a:lnTo>
                    <a:pt x="296" y="1517"/>
                  </a:lnTo>
                  <a:lnTo>
                    <a:pt x="294" y="1511"/>
                  </a:lnTo>
                  <a:lnTo>
                    <a:pt x="295" y="1508"/>
                  </a:lnTo>
                  <a:lnTo>
                    <a:pt x="296" y="1507"/>
                  </a:lnTo>
                  <a:lnTo>
                    <a:pt x="289" y="1500"/>
                  </a:lnTo>
                  <a:lnTo>
                    <a:pt x="290" y="1494"/>
                  </a:lnTo>
                  <a:lnTo>
                    <a:pt x="290" y="1492"/>
                  </a:lnTo>
                  <a:lnTo>
                    <a:pt x="300" y="1492"/>
                  </a:lnTo>
                  <a:lnTo>
                    <a:pt x="304" y="1489"/>
                  </a:lnTo>
                  <a:lnTo>
                    <a:pt x="315" y="1492"/>
                  </a:lnTo>
                  <a:lnTo>
                    <a:pt x="317" y="1490"/>
                  </a:lnTo>
                  <a:lnTo>
                    <a:pt x="322" y="1485"/>
                  </a:lnTo>
                  <a:lnTo>
                    <a:pt x="327" y="1475"/>
                  </a:lnTo>
                  <a:lnTo>
                    <a:pt x="327" y="1464"/>
                  </a:lnTo>
                  <a:lnTo>
                    <a:pt x="337" y="1463"/>
                  </a:lnTo>
                  <a:lnTo>
                    <a:pt x="338" y="1462"/>
                  </a:lnTo>
                  <a:lnTo>
                    <a:pt x="336" y="1459"/>
                  </a:lnTo>
                  <a:lnTo>
                    <a:pt x="337" y="1456"/>
                  </a:lnTo>
                  <a:lnTo>
                    <a:pt x="341" y="1453"/>
                  </a:lnTo>
                  <a:lnTo>
                    <a:pt x="342" y="1451"/>
                  </a:lnTo>
                  <a:lnTo>
                    <a:pt x="345" y="1447"/>
                  </a:lnTo>
                  <a:lnTo>
                    <a:pt x="352" y="1442"/>
                  </a:lnTo>
                  <a:lnTo>
                    <a:pt x="352" y="1436"/>
                  </a:lnTo>
                  <a:lnTo>
                    <a:pt x="358" y="1430"/>
                  </a:lnTo>
                  <a:lnTo>
                    <a:pt x="360" y="1411"/>
                  </a:lnTo>
                  <a:lnTo>
                    <a:pt x="363" y="1409"/>
                  </a:lnTo>
                  <a:lnTo>
                    <a:pt x="363" y="1402"/>
                  </a:lnTo>
                  <a:lnTo>
                    <a:pt x="369" y="1394"/>
                  </a:lnTo>
                  <a:lnTo>
                    <a:pt x="369" y="1391"/>
                  </a:lnTo>
                  <a:lnTo>
                    <a:pt x="365" y="1388"/>
                  </a:lnTo>
                  <a:lnTo>
                    <a:pt x="361" y="1388"/>
                  </a:lnTo>
                  <a:lnTo>
                    <a:pt x="354" y="1397"/>
                  </a:lnTo>
                  <a:lnTo>
                    <a:pt x="352" y="1397"/>
                  </a:lnTo>
                  <a:lnTo>
                    <a:pt x="349" y="1393"/>
                  </a:lnTo>
                  <a:lnTo>
                    <a:pt x="347" y="1382"/>
                  </a:lnTo>
                  <a:lnTo>
                    <a:pt x="342" y="1386"/>
                  </a:lnTo>
                  <a:lnTo>
                    <a:pt x="338" y="1386"/>
                  </a:lnTo>
                  <a:lnTo>
                    <a:pt x="336" y="1381"/>
                  </a:lnTo>
                  <a:lnTo>
                    <a:pt x="333" y="1381"/>
                  </a:lnTo>
                  <a:lnTo>
                    <a:pt x="331" y="1379"/>
                  </a:lnTo>
                  <a:lnTo>
                    <a:pt x="330" y="1370"/>
                  </a:lnTo>
                  <a:lnTo>
                    <a:pt x="326" y="1368"/>
                  </a:lnTo>
                  <a:lnTo>
                    <a:pt x="325" y="1366"/>
                  </a:lnTo>
                  <a:lnTo>
                    <a:pt x="322" y="1365"/>
                  </a:lnTo>
                  <a:lnTo>
                    <a:pt x="318" y="1365"/>
                  </a:lnTo>
                  <a:lnTo>
                    <a:pt x="315" y="1360"/>
                  </a:lnTo>
                  <a:lnTo>
                    <a:pt x="312" y="1359"/>
                  </a:lnTo>
                  <a:lnTo>
                    <a:pt x="309" y="1359"/>
                  </a:lnTo>
                  <a:lnTo>
                    <a:pt x="304" y="1361"/>
                  </a:lnTo>
                  <a:lnTo>
                    <a:pt x="298" y="1361"/>
                  </a:lnTo>
                  <a:lnTo>
                    <a:pt x="293" y="1365"/>
                  </a:lnTo>
                  <a:lnTo>
                    <a:pt x="279" y="1365"/>
                  </a:lnTo>
                  <a:lnTo>
                    <a:pt x="269" y="1372"/>
                  </a:lnTo>
                  <a:lnTo>
                    <a:pt x="258" y="1378"/>
                  </a:lnTo>
                  <a:lnTo>
                    <a:pt x="251" y="1383"/>
                  </a:lnTo>
                  <a:lnTo>
                    <a:pt x="246" y="1388"/>
                  </a:lnTo>
                  <a:lnTo>
                    <a:pt x="241" y="1389"/>
                  </a:lnTo>
                  <a:lnTo>
                    <a:pt x="237" y="1394"/>
                  </a:lnTo>
                  <a:lnTo>
                    <a:pt x="230" y="1391"/>
                  </a:lnTo>
                  <a:lnTo>
                    <a:pt x="225" y="1394"/>
                  </a:lnTo>
                  <a:lnTo>
                    <a:pt x="220" y="1394"/>
                  </a:lnTo>
                  <a:lnTo>
                    <a:pt x="209" y="1393"/>
                  </a:lnTo>
                  <a:lnTo>
                    <a:pt x="202" y="1388"/>
                  </a:lnTo>
                  <a:lnTo>
                    <a:pt x="196" y="1389"/>
                  </a:lnTo>
                  <a:lnTo>
                    <a:pt x="188" y="1384"/>
                  </a:lnTo>
                  <a:lnTo>
                    <a:pt x="171" y="1378"/>
                  </a:lnTo>
                  <a:lnTo>
                    <a:pt x="161" y="1372"/>
                  </a:lnTo>
                  <a:lnTo>
                    <a:pt x="161" y="1366"/>
                  </a:lnTo>
                  <a:lnTo>
                    <a:pt x="160" y="1362"/>
                  </a:lnTo>
                  <a:lnTo>
                    <a:pt x="156" y="1363"/>
                  </a:lnTo>
                  <a:lnTo>
                    <a:pt x="151" y="1367"/>
                  </a:lnTo>
                  <a:lnTo>
                    <a:pt x="148" y="1367"/>
                  </a:lnTo>
                  <a:lnTo>
                    <a:pt x="143" y="1368"/>
                  </a:lnTo>
                  <a:lnTo>
                    <a:pt x="139" y="1367"/>
                  </a:lnTo>
                  <a:lnTo>
                    <a:pt x="133" y="1356"/>
                  </a:lnTo>
                  <a:lnTo>
                    <a:pt x="126" y="1355"/>
                  </a:lnTo>
                  <a:lnTo>
                    <a:pt x="124" y="1351"/>
                  </a:lnTo>
                  <a:lnTo>
                    <a:pt x="124" y="1349"/>
                  </a:lnTo>
                  <a:lnTo>
                    <a:pt x="129" y="1348"/>
                  </a:lnTo>
                  <a:lnTo>
                    <a:pt x="131" y="1344"/>
                  </a:lnTo>
                  <a:lnTo>
                    <a:pt x="129" y="1339"/>
                  </a:lnTo>
                  <a:lnTo>
                    <a:pt x="127" y="1336"/>
                  </a:lnTo>
                  <a:lnTo>
                    <a:pt x="129" y="1330"/>
                  </a:lnTo>
                  <a:lnTo>
                    <a:pt x="129" y="1324"/>
                  </a:lnTo>
                  <a:lnTo>
                    <a:pt x="127" y="1318"/>
                  </a:lnTo>
                  <a:lnTo>
                    <a:pt x="121" y="1312"/>
                  </a:lnTo>
                  <a:lnTo>
                    <a:pt x="110" y="1305"/>
                  </a:lnTo>
                  <a:lnTo>
                    <a:pt x="105" y="1305"/>
                  </a:lnTo>
                  <a:lnTo>
                    <a:pt x="99" y="1309"/>
                  </a:lnTo>
                  <a:lnTo>
                    <a:pt x="97" y="1308"/>
                  </a:lnTo>
                  <a:lnTo>
                    <a:pt x="97" y="1296"/>
                  </a:lnTo>
                  <a:lnTo>
                    <a:pt x="95" y="1293"/>
                  </a:lnTo>
                  <a:lnTo>
                    <a:pt x="88" y="1295"/>
                  </a:lnTo>
                  <a:lnTo>
                    <a:pt x="83" y="1292"/>
                  </a:lnTo>
                  <a:lnTo>
                    <a:pt x="79" y="1291"/>
                  </a:lnTo>
                  <a:lnTo>
                    <a:pt x="65" y="1293"/>
                  </a:lnTo>
                  <a:lnTo>
                    <a:pt x="54" y="1290"/>
                  </a:lnTo>
                  <a:lnTo>
                    <a:pt x="56" y="1289"/>
                  </a:lnTo>
                  <a:lnTo>
                    <a:pt x="53" y="1284"/>
                  </a:lnTo>
                  <a:lnTo>
                    <a:pt x="47" y="1281"/>
                  </a:lnTo>
                  <a:lnTo>
                    <a:pt x="46" y="1278"/>
                  </a:lnTo>
                  <a:lnTo>
                    <a:pt x="53" y="1270"/>
                  </a:lnTo>
                  <a:lnTo>
                    <a:pt x="57" y="1269"/>
                  </a:lnTo>
                  <a:lnTo>
                    <a:pt x="62" y="1271"/>
                  </a:lnTo>
                  <a:lnTo>
                    <a:pt x="65" y="1271"/>
                  </a:lnTo>
                  <a:lnTo>
                    <a:pt x="62" y="1271"/>
                  </a:lnTo>
                  <a:lnTo>
                    <a:pt x="70" y="1274"/>
                  </a:lnTo>
                  <a:lnTo>
                    <a:pt x="73" y="1273"/>
                  </a:lnTo>
                  <a:lnTo>
                    <a:pt x="73" y="1237"/>
                  </a:lnTo>
                  <a:lnTo>
                    <a:pt x="63" y="1212"/>
                  </a:lnTo>
                  <a:lnTo>
                    <a:pt x="63" y="1193"/>
                  </a:lnTo>
                  <a:lnTo>
                    <a:pt x="56" y="1182"/>
                  </a:lnTo>
                  <a:lnTo>
                    <a:pt x="37" y="1180"/>
                  </a:lnTo>
                  <a:lnTo>
                    <a:pt x="17" y="1187"/>
                  </a:lnTo>
                  <a:lnTo>
                    <a:pt x="6" y="1179"/>
                  </a:lnTo>
                  <a:lnTo>
                    <a:pt x="2" y="1162"/>
                  </a:lnTo>
                  <a:lnTo>
                    <a:pt x="0" y="1142"/>
                  </a:lnTo>
                  <a:lnTo>
                    <a:pt x="11" y="1108"/>
                  </a:lnTo>
                  <a:lnTo>
                    <a:pt x="10" y="1097"/>
                  </a:lnTo>
                  <a:lnTo>
                    <a:pt x="19" y="1079"/>
                  </a:lnTo>
                  <a:lnTo>
                    <a:pt x="51" y="1064"/>
                  </a:lnTo>
                  <a:lnTo>
                    <a:pt x="56" y="1059"/>
                  </a:lnTo>
                  <a:lnTo>
                    <a:pt x="63" y="1059"/>
                  </a:lnTo>
                  <a:lnTo>
                    <a:pt x="69" y="1044"/>
                  </a:lnTo>
                  <a:lnTo>
                    <a:pt x="79" y="1048"/>
                  </a:lnTo>
                  <a:lnTo>
                    <a:pt x="94" y="1042"/>
                  </a:lnTo>
                  <a:lnTo>
                    <a:pt x="105" y="1043"/>
                  </a:lnTo>
                  <a:lnTo>
                    <a:pt x="111" y="1056"/>
                  </a:lnTo>
                  <a:lnTo>
                    <a:pt x="122" y="1058"/>
                  </a:lnTo>
                  <a:lnTo>
                    <a:pt x="138" y="1054"/>
                  </a:lnTo>
                  <a:lnTo>
                    <a:pt x="148" y="1055"/>
                  </a:lnTo>
                  <a:lnTo>
                    <a:pt x="161" y="1045"/>
                  </a:lnTo>
                  <a:lnTo>
                    <a:pt x="167" y="1027"/>
                  </a:lnTo>
                  <a:lnTo>
                    <a:pt x="176" y="1016"/>
                  </a:lnTo>
                  <a:lnTo>
                    <a:pt x="193" y="1011"/>
                  </a:lnTo>
                  <a:lnTo>
                    <a:pt x="212" y="1010"/>
                  </a:lnTo>
                  <a:lnTo>
                    <a:pt x="239" y="1005"/>
                  </a:lnTo>
                  <a:lnTo>
                    <a:pt x="251" y="1000"/>
                  </a:lnTo>
                  <a:lnTo>
                    <a:pt x="259" y="986"/>
                  </a:lnTo>
                  <a:lnTo>
                    <a:pt x="274" y="973"/>
                  </a:lnTo>
                  <a:lnTo>
                    <a:pt x="310" y="953"/>
                  </a:lnTo>
                  <a:lnTo>
                    <a:pt x="348" y="941"/>
                  </a:lnTo>
                  <a:lnTo>
                    <a:pt x="358" y="934"/>
                  </a:lnTo>
                  <a:lnTo>
                    <a:pt x="364" y="920"/>
                  </a:lnTo>
                  <a:lnTo>
                    <a:pt x="364" y="892"/>
                  </a:lnTo>
                  <a:lnTo>
                    <a:pt x="366" y="881"/>
                  </a:lnTo>
                  <a:lnTo>
                    <a:pt x="374" y="871"/>
                  </a:lnTo>
                  <a:lnTo>
                    <a:pt x="373" y="859"/>
                  </a:lnTo>
                  <a:lnTo>
                    <a:pt x="386" y="849"/>
                  </a:lnTo>
                  <a:lnTo>
                    <a:pt x="386" y="834"/>
                  </a:lnTo>
                  <a:lnTo>
                    <a:pt x="377" y="807"/>
                  </a:lnTo>
                  <a:lnTo>
                    <a:pt x="370" y="795"/>
                  </a:lnTo>
                  <a:lnTo>
                    <a:pt x="366" y="780"/>
                  </a:lnTo>
                  <a:lnTo>
                    <a:pt x="361" y="742"/>
                  </a:lnTo>
                  <a:lnTo>
                    <a:pt x="354" y="727"/>
                  </a:lnTo>
                  <a:lnTo>
                    <a:pt x="347" y="720"/>
                  </a:lnTo>
                  <a:lnTo>
                    <a:pt x="355" y="712"/>
                  </a:lnTo>
                  <a:lnTo>
                    <a:pt x="375" y="705"/>
                  </a:lnTo>
                  <a:lnTo>
                    <a:pt x="393" y="703"/>
                  </a:lnTo>
                  <a:lnTo>
                    <a:pt x="416" y="695"/>
                  </a:lnTo>
                  <a:lnTo>
                    <a:pt x="471" y="693"/>
                  </a:lnTo>
                  <a:lnTo>
                    <a:pt x="478" y="688"/>
                  </a:lnTo>
                  <a:lnTo>
                    <a:pt x="472" y="670"/>
                  </a:lnTo>
                  <a:lnTo>
                    <a:pt x="470" y="655"/>
                  </a:lnTo>
                  <a:lnTo>
                    <a:pt x="473" y="635"/>
                  </a:lnTo>
                  <a:lnTo>
                    <a:pt x="479" y="611"/>
                  </a:lnTo>
                  <a:lnTo>
                    <a:pt x="492" y="584"/>
                  </a:lnTo>
                  <a:lnTo>
                    <a:pt x="500" y="558"/>
                  </a:lnTo>
                  <a:lnTo>
                    <a:pt x="511" y="537"/>
                  </a:lnTo>
                  <a:lnTo>
                    <a:pt x="535" y="537"/>
                  </a:lnTo>
                  <a:lnTo>
                    <a:pt x="544" y="544"/>
                  </a:lnTo>
                  <a:lnTo>
                    <a:pt x="563" y="550"/>
                  </a:lnTo>
                  <a:lnTo>
                    <a:pt x="597" y="547"/>
                  </a:lnTo>
                  <a:lnTo>
                    <a:pt x="606" y="556"/>
                  </a:lnTo>
                  <a:lnTo>
                    <a:pt x="616" y="563"/>
                  </a:lnTo>
                  <a:lnTo>
                    <a:pt x="630" y="552"/>
                  </a:lnTo>
                  <a:lnTo>
                    <a:pt x="653" y="544"/>
                  </a:lnTo>
                  <a:lnTo>
                    <a:pt x="656" y="507"/>
                  </a:lnTo>
                  <a:lnTo>
                    <a:pt x="654" y="484"/>
                  </a:lnTo>
                  <a:lnTo>
                    <a:pt x="659" y="459"/>
                  </a:lnTo>
                  <a:lnTo>
                    <a:pt x="670" y="439"/>
                  </a:lnTo>
                  <a:lnTo>
                    <a:pt x="686" y="440"/>
                  </a:lnTo>
                  <a:lnTo>
                    <a:pt x="705" y="434"/>
                  </a:lnTo>
                  <a:lnTo>
                    <a:pt x="721" y="418"/>
                  </a:lnTo>
                  <a:lnTo>
                    <a:pt x="731" y="398"/>
                  </a:lnTo>
                  <a:lnTo>
                    <a:pt x="756" y="405"/>
                  </a:lnTo>
                  <a:lnTo>
                    <a:pt x="772" y="389"/>
                  </a:lnTo>
                  <a:lnTo>
                    <a:pt x="777" y="389"/>
                  </a:lnTo>
                  <a:lnTo>
                    <a:pt x="777" y="393"/>
                  </a:lnTo>
                  <a:lnTo>
                    <a:pt x="780" y="404"/>
                  </a:lnTo>
                  <a:lnTo>
                    <a:pt x="791" y="430"/>
                  </a:lnTo>
                  <a:lnTo>
                    <a:pt x="821" y="453"/>
                  </a:lnTo>
                  <a:lnTo>
                    <a:pt x="832" y="474"/>
                  </a:lnTo>
                  <a:lnTo>
                    <a:pt x="847" y="485"/>
                  </a:lnTo>
                  <a:lnTo>
                    <a:pt x="854" y="474"/>
                  </a:lnTo>
                  <a:lnTo>
                    <a:pt x="870" y="477"/>
                  </a:lnTo>
                  <a:lnTo>
                    <a:pt x="885" y="485"/>
                  </a:lnTo>
                  <a:lnTo>
                    <a:pt x="901" y="488"/>
                  </a:lnTo>
                  <a:lnTo>
                    <a:pt x="911" y="504"/>
                  </a:lnTo>
                  <a:lnTo>
                    <a:pt x="918" y="526"/>
                  </a:lnTo>
                  <a:lnTo>
                    <a:pt x="928" y="543"/>
                  </a:lnTo>
                  <a:lnTo>
                    <a:pt x="940" y="586"/>
                  </a:lnTo>
                  <a:lnTo>
                    <a:pt x="940" y="614"/>
                  </a:lnTo>
                  <a:lnTo>
                    <a:pt x="944" y="633"/>
                  </a:lnTo>
                  <a:lnTo>
                    <a:pt x="943" y="652"/>
                  </a:lnTo>
                  <a:lnTo>
                    <a:pt x="935" y="668"/>
                  </a:lnTo>
                  <a:lnTo>
                    <a:pt x="934" y="683"/>
                  </a:lnTo>
                  <a:lnTo>
                    <a:pt x="941" y="690"/>
                  </a:lnTo>
                  <a:lnTo>
                    <a:pt x="957" y="697"/>
                  </a:lnTo>
                  <a:lnTo>
                    <a:pt x="988" y="700"/>
                  </a:lnTo>
                  <a:lnTo>
                    <a:pt x="1022" y="711"/>
                  </a:lnTo>
                  <a:lnTo>
                    <a:pt x="1031" y="711"/>
                  </a:lnTo>
                  <a:lnTo>
                    <a:pt x="1044" y="706"/>
                  </a:lnTo>
                  <a:lnTo>
                    <a:pt x="1057" y="706"/>
                  </a:lnTo>
                  <a:lnTo>
                    <a:pt x="1069" y="712"/>
                  </a:lnTo>
                  <a:lnTo>
                    <a:pt x="1099" y="722"/>
                  </a:lnTo>
                  <a:lnTo>
                    <a:pt x="1114" y="732"/>
                  </a:lnTo>
                  <a:lnTo>
                    <a:pt x="1130" y="741"/>
                  </a:lnTo>
                  <a:lnTo>
                    <a:pt x="1162" y="749"/>
                  </a:lnTo>
                  <a:lnTo>
                    <a:pt x="1175" y="759"/>
                  </a:lnTo>
                  <a:lnTo>
                    <a:pt x="1187" y="760"/>
                  </a:lnTo>
                  <a:lnTo>
                    <a:pt x="1198" y="775"/>
                  </a:lnTo>
                  <a:lnTo>
                    <a:pt x="1209" y="792"/>
                  </a:lnTo>
                  <a:lnTo>
                    <a:pt x="1216" y="812"/>
                  </a:lnTo>
                  <a:lnTo>
                    <a:pt x="1228" y="832"/>
                  </a:lnTo>
                  <a:lnTo>
                    <a:pt x="1240" y="846"/>
                  </a:lnTo>
                  <a:lnTo>
                    <a:pt x="1253" y="862"/>
                  </a:lnTo>
                  <a:lnTo>
                    <a:pt x="1269" y="876"/>
                  </a:lnTo>
                  <a:lnTo>
                    <a:pt x="1283" y="882"/>
                  </a:lnTo>
                  <a:lnTo>
                    <a:pt x="1304" y="882"/>
                  </a:lnTo>
                  <a:lnTo>
                    <a:pt x="1452" y="872"/>
                  </a:lnTo>
                  <a:lnTo>
                    <a:pt x="1470" y="870"/>
                  </a:lnTo>
                  <a:lnTo>
                    <a:pt x="1487" y="872"/>
                  </a:lnTo>
                  <a:lnTo>
                    <a:pt x="1521" y="883"/>
                  </a:lnTo>
                  <a:lnTo>
                    <a:pt x="1531" y="887"/>
                  </a:lnTo>
                  <a:lnTo>
                    <a:pt x="1540" y="898"/>
                  </a:lnTo>
                  <a:lnTo>
                    <a:pt x="1555" y="911"/>
                  </a:lnTo>
                  <a:lnTo>
                    <a:pt x="1578" y="921"/>
                  </a:lnTo>
                  <a:lnTo>
                    <a:pt x="1611" y="931"/>
                  </a:lnTo>
                  <a:lnTo>
                    <a:pt x="1629" y="941"/>
                  </a:lnTo>
                  <a:lnTo>
                    <a:pt x="1651" y="948"/>
                  </a:lnTo>
                  <a:lnTo>
                    <a:pt x="1680" y="950"/>
                  </a:lnTo>
                  <a:lnTo>
                    <a:pt x="1686" y="952"/>
                  </a:lnTo>
                  <a:lnTo>
                    <a:pt x="1697" y="961"/>
                  </a:lnTo>
                  <a:lnTo>
                    <a:pt x="1709" y="964"/>
                  </a:lnTo>
                  <a:lnTo>
                    <a:pt x="1719" y="963"/>
                  </a:lnTo>
                  <a:lnTo>
                    <a:pt x="1737" y="948"/>
                  </a:lnTo>
                  <a:lnTo>
                    <a:pt x="1767" y="937"/>
                  </a:lnTo>
                  <a:lnTo>
                    <a:pt x="1780" y="935"/>
                  </a:lnTo>
                  <a:lnTo>
                    <a:pt x="1791" y="931"/>
                  </a:lnTo>
                  <a:lnTo>
                    <a:pt x="1799" y="921"/>
                  </a:lnTo>
                  <a:lnTo>
                    <a:pt x="1810" y="918"/>
                  </a:lnTo>
                  <a:lnTo>
                    <a:pt x="1847" y="911"/>
                  </a:lnTo>
                  <a:lnTo>
                    <a:pt x="1865" y="904"/>
                  </a:lnTo>
                  <a:lnTo>
                    <a:pt x="1891" y="905"/>
                  </a:lnTo>
                  <a:lnTo>
                    <a:pt x="1907" y="899"/>
                  </a:lnTo>
                  <a:lnTo>
                    <a:pt x="1935" y="908"/>
                  </a:lnTo>
                  <a:lnTo>
                    <a:pt x="1940" y="905"/>
                  </a:lnTo>
                  <a:lnTo>
                    <a:pt x="1968" y="903"/>
                  </a:lnTo>
                  <a:lnTo>
                    <a:pt x="1998" y="892"/>
                  </a:lnTo>
                  <a:lnTo>
                    <a:pt x="2012" y="883"/>
                  </a:lnTo>
                  <a:lnTo>
                    <a:pt x="2032" y="868"/>
                  </a:lnTo>
                  <a:lnTo>
                    <a:pt x="2042" y="854"/>
                  </a:lnTo>
                  <a:lnTo>
                    <a:pt x="2100" y="805"/>
                  </a:lnTo>
                  <a:lnTo>
                    <a:pt x="2097" y="791"/>
                  </a:lnTo>
                  <a:lnTo>
                    <a:pt x="2075" y="762"/>
                  </a:lnTo>
                  <a:lnTo>
                    <a:pt x="2078" y="747"/>
                  </a:lnTo>
                  <a:lnTo>
                    <a:pt x="2091" y="727"/>
                  </a:lnTo>
                  <a:lnTo>
                    <a:pt x="2100" y="710"/>
                  </a:lnTo>
                  <a:lnTo>
                    <a:pt x="2121" y="704"/>
                  </a:lnTo>
                  <a:lnTo>
                    <a:pt x="2137" y="709"/>
                  </a:lnTo>
                  <a:lnTo>
                    <a:pt x="2149" y="722"/>
                  </a:lnTo>
                  <a:lnTo>
                    <a:pt x="2170" y="727"/>
                  </a:lnTo>
                  <a:lnTo>
                    <a:pt x="2188" y="727"/>
                  </a:lnTo>
                  <a:lnTo>
                    <a:pt x="2215" y="710"/>
                  </a:lnTo>
                  <a:lnTo>
                    <a:pt x="2234" y="689"/>
                  </a:lnTo>
                  <a:lnTo>
                    <a:pt x="2254" y="667"/>
                  </a:lnTo>
                  <a:lnTo>
                    <a:pt x="2266" y="667"/>
                  </a:lnTo>
                  <a:lnTo>
                    <a:pt x="2277" y="668"/>
                  </a:lnTo>
                  <a:lnTo>
                    <a:pt x="2284" y="666"/>
                  </a:lnTo>
                  <a:lnTo>
                    <a:pt x="2302" y="654"/>
                  </a:lnTo>
                  <a:lnTo>
                    <a:pt x="2353" y="598"/>
                  </a:lnTo>
                  <a:lnTo>
                    <a:pt x="2369" y="584"/>
                  </a:lnTo>
                  <a:lnTo>
                    <a:pt x="2390" y="580"/>
                  </a:lnTo>
                  <a:lnTo>
                    <a:pt x="2415" y="581"/>
                  </a:lnTo>
                  <a:lnTo>
                    <a:pt x="2440" y="577"/>
                  </a:lnTo>
                  <a:lnTo>
                    <a:pt x="2465" y="572"/>
                  </a:lnTo>
                  <a:lnTo>
                    <a:pt x="2484" y="577"/>
                  </a:lnTo>
                  <a:lnTo>
                    <a:pt x="2501" y="580"/>
                  </a:lnTo>
                  <a:lnTo>
                    <a:pt x="2511" y="574"/>
                  </a:lnTo>
                  <a:lnTo>
                    <a:pt x="2510" y="561"/>
                  </a:lnTo>
                  <a:lnTo>
                    <a:pt x="2496" y="553"/>
                  </a:lnTo>
                  <a:lnTo>
                    <a:pt x="2496" y="544"/>
                  </a:lnTo>
                  <a:lnTo>
                    <a:pt x="2498" y="531"/>
                  </a:lnTo>
                  <a:lnTo>
                    <a:pt x="2492" y="517"/>
                  </a:lnTo>
                  <a:lnTo>
                    <a:pt x="2463" y="493"/>
                  </a:lnTo>
                  <a:lnTo>
                    <a:pt x="2450" y="478"/>
                  </a:lnTo>
                  <a:lnTo>
                    <a:pt x="2444" y="464"/>
                  </a:lnTo>
                  <a:lnTo>
                    <a:pt x="2415" y="485"/>
                  </a:lnTo>
                  <a:lnTo>
                    <a:pt x="2397" y="498"/>
                  </a:lnTo>
                  <a:lnTo>
                    <a:pt x="2372" y="505"/>
                  </a:lnTo>
                  <a:lnTo>
                    <a:pt x="2347" y="507"/>
                  </a:lnTo>
                  <a:lnTo>
                    <a:pt x="2306" y="498"/>
                  </a:lnTo>
                  <a:lnTo>
                    <a:pt x="2297" y="483"/>
                  </a:lnTo>
                  <a:lnTo>
                    <a:pt x="2294" y="463"/>
                  </a:lnTo>
                  <a:lnTo>
                    <a:pt x="2294" y="441"/>
                  </a:lnTo>
                  <a:lnTo>
                    <a:pt x="2302" y="424"/>
                  </a:lnTo>
                  <a:lnTo>
                    <a:pt x="2305" y="404"/>
                  </a:lnTo>
                  <a:lnTo>
                    <a:pt x="2302" y="387"/>
                  </a:lnTo>
                  <a:lnTo>
                    <a:pt x="2302" y="371"/>
                  </a:lnTo>
                  <a:lnTo>
                    <a:pt x="2306" y="362"/>
                  </a:lnTo>
                  <a:lnTo>
                    <a:pt x="2317" y="348"/>
                  </a:lnTo>
                  <a:lnTo>
                    <a:pt x="2333" y="319"/>
                  </a:lnTo>
                  <a:lnTo>
                    <a:pt x="2342" y="311"/>
                  </a:lnTo>
                  <a:lnTo>
                    <a:pt x="2342" y="306"/>
                  </a:lnTo>
                  <a:lnTo>
                    <a:pt x="2353" y="308"/>
                  </a:lnTo>
                  <a:lnTo>
                    <a:pt x="2366" y="318"/>
                  </a:lnTo>
                  <a:lnTo>
                    <a:pt x="2398" y="328"/>
                  </a:lnTo>
                  <a:lnTo>
                    <a:pt x="2423" y="340"/>
                  </a:lnTo>
                  <a:lnTo>
                    <a:pt x="2434" y="338"/>
                  </a:lnTo>
                  <a:lnTo>
                    <a:pt x="2449" y="327"/>
                  </a:lnTo>
                  <a:lnTo>
                    <a:pt x="2499" y="296"/>
                  </a:lnTo>
                  <a:lnTo>
                    <a:pt x="2500" y="289"/>
                  </a:lnTo>
                  <a:lnTo>
                    <a:pt x="2498" y="276"/>
                  </a:lnTo>
                  <a:lnTo>
                    <a:pt x="2501" y="264"/>
                  </a:lnTo>
                  <a:lnTo>
                    <a:pt x="2512" y="251"/>
                  </a:lnTo>
                  <a:lnTo>
                    <a:pt x="2519" y="240"/>
                  </a:lnTo>
                  <a:lnTo>
                    <a:pt x="2526" y="210"/>
                  </a:lnTo>
                  <a:lnTo>
                    <a:pt x="2531" y="188"/>
                  </a:lnTo>
                  <a:lnTo>
                    <a:pt x="2538" y="171"/>
                  </a:lnTo>
                  <a:lnTo>
                    <a:pt x="2557" y="161"/>
                  </a:lnTo>
                  <a:lnTo>
                    <a:pt x="2581" y="134"/>
                  </a:lnTo>
                  <a:lnTo>
                    <a:pt x="2581" y="129"/>
                  </a:lnTo>
                  <a:lnTo>
                    <a:pt x="2576" y="118"/>
                  </a:lnTo>
                  <a:lnTo>
                    <a:pt x="2578" y="91"/>
                  </a:lnTo>
                  <a:lnTo>
                    <a:pt x="2571" y="87"/>
                  </a:lnTo>
                  <a:lnTo>
                    <a:pt x="2560" y="87"/>
                  </a:lnTo>
                  <a:lnTo>
                    <a:pt x="2542" y="92"/>
                  </a:lnTo>
                  <a:lnTo>
                    <a:pt x="2538" y="87"/>
                  </a:lnTo>
                  <a:lnTo>
                    <a:pt x="2543" y="74"/>
                  </a:lnTo>
                  <a:lnTo>
                    <a:pt x="2567" y="50"/>
                  </a:lnTo>
                  <a:lnTo>
                    <a:pt x="2575" y="38"/>
                  </a:lnTo>
                  <a:lnTo>
                    <a:pt x="2591" y="26"/>
                  </a:lnTo>
                  <a:lnTo>
                    <a:pt x="2625" y="20"/>
                  </a:lnTo>
                  <a:lnTo>
                    <a:pt x="2666" y="5"/>
                  </a:lnTo>
                  <a:lnTo>
                    <a:pt x="2691" y="6"/>
                  </a:lnTo>
                  <a:lnTo>
                    <a:pt x="2726" y="0"/>
                  </a:lnTo>
                  <a:lnTo>
                    <a:pt x="2738" y="0"/>
                  </a:lnTo>
                  <a:lnTo>
                    <a:pt x="2757" y="9"/>
                  </a:lnTo>
                  <a:lnTo>
                    <a:pt x="2774" y="21"/>
                  </a:lnTo>
                  <a:lnTo>
                    <a:pt x="2785" y="33"/>
                  </a:lnTo>
                  <a:lnTo>
                    <a:pt x="2801" y="37"/>
                  </a:lnTo>
                  <a:lnTo>
                    <a:pt x="2820" y="34"/>
                  </a:lnTo>
                  <a:lnTo>
                    <a:pt x="2836" y="38"/>
                  </a:lnTo>
                  <a:lnTo>
                    <a:pt x="2850" y="44"/>
                  </a:lnTo>
                  <a:lnTo>
                    <a:pt x="2858" y="58"/>
                  </a:lnTo>
                  <a:lnTo>
                    <a:pt x="2870" y="76"/>
                  </a:lnTo>
                  <a:lnTo>
                    <a:pt x="2871" y="89"/>
                  </a:lnTo>
                  <a:lnTo>
                    <a:pt x="2879" y="96"/>
                  </a:lnTo>
                  <a:lnTo>
                    <a:pt x="2888" y="102"/>
                  </a:lnTo>
                  <a:lnTo>
                    <a:pt x="2890" y="111"/>
                  </a:lnTo>
                  <a:lnTo>
                    <a:pt x="2891" y="106"/>
                  </a:lnTo>
                  <a:lnTo>
                    <a:pt x="2893" y="119"/>
                  </a:lnTo>
                  <a:lnTo>
                    <a:pt x="2898" y="134"/>
                  </a:lnTo>
                  <a:lnTo>
                    <a:pt x="2901" y="155"/>
                  </a:lnTo>
                  <a:lnTo>
                    <a:pt x="2909" y="172"/>
                  </a:lnTo>
                  <a:lnTo>
                    <a:pt x="2914" y="189"/>
                  </a:lnTo>
                  <a:lnTo>
                    <a:pt x="2935" y="229"/>
                  </a:lnTo>
                  <a:lnTo>
                    <a:pt x="2941" y="270"/>
                  </a:lnTo>
                  <a:lnTo>
                    <a:pt x="2950" y="289"/>
                  </a:lnTo>
                  <a:lnTo>
                    <a:pt x="2949" y="294"/>
                  </a:lnTo>
                  <a:lnTo>
                    <a:pt x="2950" y="295"/>
                  </a:lnTo>
                  <a:lnTo>
                    <a:pt x="2952" y="313"/>
                  </a:lnTo>
                  <a:lnTo>
                    <a:pt x="2952" y="334"/>
                  </a:lnTo>
                  <a:lnTo>
                    <a:pt x="2965" y="345"/>
                  </a:lnTo>
                  <a:lnTo>
                    <a:pt x="2988" y="348"/>
                  </a:lnTo>
                  <a:lnTo>
                    <a:pt x="3009" y="340"/>
                  </a:lnTo>
                  <a:lnTo>
                    <a:pt x="3025" y="348"/>
                  </a:lnTo>
                  <a:lnTo>
                    <a:pt x="3044" y="350"/>
                  </a:lnTo>
                  <a:lnTo>
                    <a:pt x="3062" y="359"/>
                  </a:lnTo>
                  <a:lnTo>
                    <a:pt x="3094" y="387"/>
                  </a:lnTo>
                  <a:lnTo>
                    <a:pt x="3109" y="394"/>
                  </a:lnTo>
                  <a:lnTo>
                    <a:pt x="3121" y="396"/>
                  </a:lnTo>
                  <a:lnTo>
                    <a:pt x="3125" y="403"/>
                  </a:lnTo>
                  <a:lnTo>
                    <a:pt x="3125" y="408"/>
                  </a:lnTo>
                  <a:lnTo>
                    <a:pt x="3127" y="407"/>
                  </a:lnTo>
                  <a:lnTo>
                    <a:pt x="3128" y="423"/>
                  </a:lnTo>
                  <a:lnTo>
                    <a:pt x="3135" y="432"/>
                  </a:lnTo>
                  <a:lnTo>
                    <a:pt x="3134" y="448"/>
                  </a:lnTo>
                  <a:lnTo>
                    <a:pt x="3135" y="466"/>
                  </a:lnTo>
                  <a:lnTo>
                    <a:pt x="3145" y="482"/>
                  </a:lnTo>
                  <a:lnTo>
                    <a:pt x="3151" y="495"/>
                  </a:lnTo>
                  <a:lnTo>
                    <a:pt x="3170" y="494"/>
                  </a:lnTo>
                  <a:lnTo>
                    <a:pt x="3189" y="500"/>
                  </a:lnTo>
                  <a:lnTo>
                    <a:pt x="3207" y="498"/>
                  </a:lnTo>
                  <a:lnTo>
                    <a:pt x="3238" y="483"/>
                  </a:lnTo>
                  <a:lnTo>
                    <a:pt x="3272" y="461"/>
                  </a:lnTo>
                  <a:lnTo>
                    <a:pt x="3290" y="459"/>
                  </a:lnTo>
                  <a:lnTo>
                    <a:pt x="3323" y="441"/>
                  </a:lnTo>
                  <a:lnTo>
                    <a:pt x="3355" y="432"/>
                  </a:lnTo>
                  <a:lnTo>
                    <a:pt x="3356" y="435"/>
                  </a:lnTo>
                  <a:lnTo>
                    <a:pt x="3348" y="448"/>
                  </a:lnTo>
                  <a:lnTo>
                    <a:pt x="3348" y="468"/>
                  </a:lnTo>
                  <a:lnTo>
                    <a:pt x="3353" y="484"/>
                  </a:lnTo>
                  <a:lnTo>
                    <a:pt x="3350" y="504"/>
                  </a:lnTo>
                  <a:lnTo>
                    <a:pt x="3338" y="514"/>
                  </a:lnTo>
                  <a:lnTo>
                    <a:pt x="3324" y="527"/>
                  </a:lnTo>
                  <a:lnTo>
                    <a:pt x="3322" y="548"/>
                  </a:lnTo>
                  <a:lnTo>
                    <a:pt x="3308" y="581"/>
                  </a:lnTo>
                  <a:lnTo>
                    <a:pt x="3300" y="623"/>
                  </a:lnTo>
                  <a:lnTo>
                    <a:pt x="3281" y="661"/>
                  </a:lnTo>
                  <a:lnTo>
                    <a:pt x="3268" y="679"/>
                  </a:lnTo>
                  <a:lnTo>
                    <a:pt x="3263" y="699"/>
                  </a:lnTo>
                  <a:lnTo>
                    <a:pt x="3251" y="709"/>
                  </a:lnTo>
                  <a:lnTo>
                    <a:pt x="3246" y="705"/>
                  </a:lnTo>
                  <a:lnTo>
                    <a:pt x="3195" y="693"/>
                  </a:lnTo>
                  <a:lnTo>
                    <a:pt x="3182" y="700"/>
                  </a:lnTo>
                  <a:lnTo>
                    <a:pt x="3146" y="735"/>
                  </a:lnTo>
                  <a:lnTo>
                    <a:pt x="3154" y="748"/>
                  </a:lnTo>
                  <a:lnTo>
                    <a:pt x="3160" y="775"/>
                  </a:lnTo>
                  <a:lnTo>
                    <a:pt x="3160" y="834"/>
                  </a:lnTo>
                  <a:lnTo>
                    <a:pt x="3144" y="859"/>
                  </a:lnTo>
                  <a:lnTo>
                    <a:pt x="3124" y="876"/>
                  </a:lnTo>
                  <a:lnTo>
                    <a:pt x="3124" y="894"/>
                  </a:lnTo>
                  <a:lnTo>
                    <a:pt x="3116" y="893"/>
                  </a:lnTo>
                  <a:lnTo>
                    <a:pt x="3108" y="878"/>
                  </a:lnTo>
                  <a:lnTo>
                    <a:pt x="3097" y="867"/>
                  </a:lnTo>
                  <a:lnTo>
                    <a:pt x="3086" y="876"/>
                  </a:lnTo>
                  <a:lnTo>
                    <a:pt x="3079" y="896"/>
                  </a:lnTo>
                  <a:lnTo>
                    <a:pt x="3069" y="911"/>
                  </a:lnTo>
                  <a:lnTo>
                    <a:pt x="3038" y="935"/>
                  </a:lnTo>
                  <a:lnTo>
                    <a:pt x="3014" y="941"/>
                  </a:lnTo>
                  <a:lnTo>
                    <a:pt x="2994" y="941"/>
                  </a:lnTo>
                  <a:lnTo>
                    <a:pt x="2989" y="950"/>
                  </a:lnTo>
                  <a:lnTo>
                    <a:pt x="2995" y="981"/>
                  </a:lnTo>
                  <a:lnTo>
                    <a:pt x="2953" y="985"/>
                  </a:lnTo>
                  <a:lnTo>
                    <a:pt x="2939" y="975"/>
                  </a:lnTo>
                  <a:lnTo>
                    <a:pt x="2920" y="970"/>
                  </a:lnTo>
                  <a:lnTo>
                    <a:pt x="2908" y="980"/>
                  </a:lnTo>
                  <a:lnTo>
                    <a:pt x="2883" y="1009"/>
                  </a:lnTo>
                  <a:lnTo>
                    <a:pt x="2865" y="1024"/>
                  </a:lnTo>
                  <a:lnTo>
                    <a:pt x="2826" y="1045"/>
                  </a:lnTo>
                  <a:lnTo>
                    <a:pt x="2811" y="1052"/>
                  </a:lnTo>
                  <a:lnTo>
                    <a:pt x="2783" y="1087"/>
                  </a:lnTo>
                  <a:lnTo>
                    <a:pt x="2781" y="1091"/>
                  </a:lnTo>
                  <a:lnTo>
                    <a:pt x="2774" y="1094"/>
                  </a:lnTo>
                  <a:lnTo>
                    <a:pt x="2767" y="1097"/>
                  </a:lnTo>
                  <a:lnTo>
                    <a:pt x="2756" y="1097"/>
                  </a:lnTo>
                  <a:lnTo>
                    <a:pt x="2734" y="1104"/>
                  </a:lnTo>
                  <a:lnTo>
                    <a:pt x="2729" y="1097"/>
                  </a:lnTo>
                  <a:lnTo>
                    <a:pt x="2724" y="1102"/>
                  </a:lnTo>
                  <a:lnTo>
                    <a:pt x="2709" y="1113"/>
                  </a:lnTo>
                  <a:lnTo>
                    <a:pt x="2673" y="1128"/>
                  </a:lnTo>
                  <a:lnTo>
                    <a:pt x="2665" y="1136"/>
                  </a:lnTo>
                  <a:lnTo>
                    <a:pt x="2657" y="1149"/>
                  </a:lnTo>
                  <a:lnTo>
                    <a:pt x="2646" y="1157"/>
                  </a:lnTo>
                  <a:lnTo>
                    <a:pt x="2638" y="1157"/>
                  </a:lnTo>
                  <a:lnTo>
                    <a:pt x="2632" y="1163"/>
                  </a:lnTo>
                  <a:lnTo>
                    <a:pt x="2613" y="1172"/>
                  </a:lnTo>
                  <a:lnTo>
                    <a:pt x="2607" y="1168"/>
                  </a:lnTo>
                  <a:lnTo>
                    <a:pt x="2616" y="1156"/>
                  </a:lnTo>
                  <a:lnTo>
                    <a:pt x="2630" y="1151"/>
                  </a:lnTo>
                  <a:lnTo>
                    <a:pt x="2635" y="1140"/>
                  </a:lnTo>
                  <a:lnTo>
                    <a:pt x="2638" y="1129"/>
                  </a:lnTo>
                  <a:lnTo>
                    <a:pt x="2630" y="1126"/>
                  </a:lnTo>
                  <a:lnTo>
                    <a:pt x="2622" y="1119"/>
                  </a:lnTo>
                  <a:lnTo>
                    <a:pt x="2616" y="1118"/>
                  </a:lnTo>
                  <a:lnTo>
                    <a:pt x="2625" y="1112"/>
                  </a:lnTo>
                  <a:lnTo>
                    <a:pt x="2627" y="1101"/>
                  </a:lnTo>
                  <a:lnTo>
                    <a:pt x="2638" y="1093"/>
                  </a:lnTo>
                  <a:lnTo>
                    <a:pt x="2660" y="1063"/>
                  </a:lnTo>
                  <a:lnTo>
                    <a:pt x="2667" y="1050"/>
                  </a:lnTo>
                  <a:lnTo>
                    <a:pt x="2665" y="1042"/>
                  </a:lnTo>
                  <a:lnTo>
                    <a:pt x="2652" y="1028"/>
                  </a:lnTo>
                  <a:lnTo>
                    <a:pt x="2649" y="1016"/>
                  </a:lnTo>
                  <a:lnTo>
                    <a:pt x="2644" y="1010"/>
                  </a:lnTo>
                  <a:lnTo>
                    <a:pt x="2639" y="1016"/>
                  </a:lnTo>
                  <a:lnTo>
                    <a:pt x="2616" y="1017"/>
                  </a:lnTo>
                  <a:lnTo>
                    <a:pt x="2606" y="1021"/>
                  </a:lnTo>
                  <a:lnTo>
                    <a:pt x="2590" y="1038"/>
                  </a:lnTo>
                  <a:lnTo>
                    <a:pt x="2578" y="1053"/>
                  </a:lnTo>
                  <a:lnTo>
                    <a:pt x="2571" y="1065"/>
                  </a:lnTo>
                  <a:lnTo>
                    <a:pt x="2568" y="1070"/>
                  </a:lnTo>
                  <a:lnTo>
                    <a:pt x="2542" y="1082"/>
                  </a:lnTo>
                  <a:lnTo>
                    <a:pt x="2524" y="1096"/>
                  </a:lnTo>
                  <a:lnTo>
                    <a:pt x="2516" y="1098"/>
                  </a:lnTo>
                  <a:lnTo>
                    <a:pt x="2509" y="1112"/>
                  </a:lnTo>
                  <a:lnTo>
                    <a:pt x="2506" y="1126"/>
                  </a:lnTo>
                  <a:lnTo>
                    <a:pt x="2498" y="1135"/>
                  </a:lnTo>
                  <a:lnTo>
                    <a:pt x="2488" y="1141"/>
                  </a:lnTo>
                  <a:lnTo>
                    <a:pt x="2473" y="1144"/>
                  </a:lnTo>
                  <a:lnTo>
                    <a:pt x="2462" y="1147"/>
                  </a:lnTo>
                  <a:lnTo>
                    <a:pt x="2451" y="1147"/>
                  </a:lnTo>
                  <a:lnTo>
                    <a:pt x="2445" y="1144"/>
                  </a:lnTo>
                  <a:lnTo>
                    <a:pt x="2433" y="1142"/>
                  </a:lnTo>
                  <a:lnTo>
                    <a:pt x="2423" y="1152"/>
                  </a:lnTo>
                  <a:lnTo>
                    <a:pt x="2417" y="1172"/>
                  </a:lnTo>
                  <a:lnTo>
                    <a:pt x="2414" y="1189"/>
                  </a:lnTo>
                  <a:lnTo>
                    <a:pt x="2431" y="1207"/>
                  </a:lnTo>
                  <a:lnTo>
                    <a:pt x="2435" y="1216"/>
                  </a:lnTo>
                  <a:lnTo>
                    <a:pt x="2444" y="1221"/>
                  </a:lnTo>
                  <a:lnTo>
                    <a:pt x="2451" y="1221"/>
                  </a:lnTo>
                  <a:lnTo>
                    <a:pt x="2456" y="1228"/>
                  </a:lnTo>
                  <a:lnTo>
                    <a:pt x="2465" y="1228"/>
                  </a:lnTo>
                  <a:lnTo>
                    <a:pt x="2469" y="1239"/>
                  </a:lnTo>
                  <a:lnTo>
                    <a:pt x="2479" y="1247"/>
                  </a:lnTo>
                  <a:lnTo>
                    <a:pt x="2482" y="1255"/>
                  </a:lnTo>
                  <a:lnTo>
                    <a:pt x="2482" y="1265"/>
                  </a:lnTo>
                  <a:lnTo>
                    <a:pt x="2490" y="1276"/>
                  </a:lnTo>
                  <a:lnTo>
                    <a:pt x="2517" y="1286"/>
                  </a:lnTo>
                  <a:lnTo>
                    <a:pt x="2531" y="1285"/>
                  </a:lnTo>
                  <a:lnTo>
                    <a:pt x="2543" y="1269"/>
                  </a:lnTo>
                  <a:lnTo>
                    <a:pt x="2554" y="1260"/>
                  </a:lnTo>
                  <a:lnTo>
                    <a:pt x="2562" y="1249"/>
                  </a:lnTo>
                  <a:lnTo>
                    <a:pt x="2584" y="1239"/>
                  </a:lnTo>
                  <a:lnTo>
                    <a:pt x="2591" y="1238"/>
                  </a:lnTo>
                  <a:lnTo>
                    <a:pt x="2602" y="1249"/>
                  </a:lnTo>
                  <a:lnTo>
                    <a:pt x="2611" y="1254"/>
                  </a:lnTo>
                  <a:lnTo>
                    <a:pt x="2622" y="1255"/>
                  </a:lnTo>
                  <a:lnTo>
                    <a:pt x="2629" y="1264"/>
                  </a:lnTo>
                  <a:lnTo>
                    <a:pt x="2637" y="1265"/>
                  </a:lnTo>
                  <a:lnTo>
                    <a:pt x="2649" y="1263"/>
                  </a:lnTo>
                  <a:lnTo>
                    <a:pt x="2657" y="1258"/>
                  </a:lnTo>
                  <a:lnTo>
                    <a:pt x="2671" y="1264"/>
                  </a:lnTo>
                  <a:lnTo>
                    <a:pt x="2683" y="1266"/>
                  </a:lnTo>
                  <a:lnTo>
                    <a:pt x="2687" y="1268"/>
                  </a:lnTo>
                  <a:lnTo>
                    <a:pt x="2684" y="1281"/>
                  </a:lnTo>
                  <a:lnTo>
                    <a:pt x="2680" y="1290"/>
                  </a:lnTo>
                  <a:lnTo>
                    <a:pt x="2680" y="1295"/>
                  </a:lnTo>
                  <a:lnTo>
                    <a:pt x="2670" y="1307"/>
                  </a:lnTo>
                  <a:lnTo>
                    <a:pt x="2666" y="1303"/>
                  </a:lnTo>
                  <a:lnTo>
                    <a:pt x="2662" y="1293"/>
                  </a:lnTo>
                  <a:lnTo>
                    <a:pt x="2656" y="1297"/>
                  </a:lnTo>
                  <a:lnTo>
                    <a:pt x="2650" y="1295"/>
                  </a:lnTo>
                  <a:lnTo>
                    <a:pt x="2643" y="1301"/>
                  </a:lnTo>
                  <a:lnTo>
                    <a:pt x="2637" y="1311"/>
                  </a:lnTo>
                  <a:lnTo>
                    <a:pt x="2614" y="1313"/>
                  </a:lnTo>
                  <a:lnTo>
                    <a:pt x="2602" y="1319"/>
                  </a:lnTo>
                  <a:lnTo>
                    <a:pt x="2591" y="1319"/>
                  </a:lnTo>
                  <a:lnTo>
                    <a:pt x="2594" y="1333"/>
                  </a:lnTo>
                  <a:lnTo>
                    <a:pt x="2590" y="1333"/>
                  </a:lnTo>
                  <a:lnTo>
                    <a:pt x="2585" y="1338"/>
                  </a:lnTo>
                  <a:lnTo>
                    <a:pt x="2578" y="1355"/>
                  </a:lnTo>
                  <a:lnTo>
                    <a:pt x="2568" y="1356"/>
                  </a:lnTo>
                  <a:lnTo>
                    <a:pt x="2564" y="1345"/>
                  </a:lnTo>
                  <a:lnTo>
                    <a:pt x="2555" y="1345"/>
                  </a:lnTo>
                  <a:lnTo>
                    <a:pt x="2548" y="1354"/>
                  </a:lnTo>
                  <a:lnTo>
                    <a:pt x="2555" y="1362"/>
                  </a:lnTo>
                  <a:lnTo>
                    <a:pt x="2552" y="1371"/>
                  </a:lnTo>
                  <a:lnTo>
                    <a:pt x="2544" y="1381"/>
                  </a:lnTo>
                  <a:lnTo>
                    <a:pt x="2526" y="1391"/>
                  </a:lnTo>
                  <a:lnTo>
                    <a:pt x="2521" y="1404"/>
                  </a:lnTo>
                  <a:lnTo>
                    <a:pt x="2509" y="1421"/>
                  </a:lnTo>
                  <a:lnTo>
                    <a:pt x="2500" y="1437"/>
                  </a:lnTo>
                  <a:lnTo>
                    <a:pt x="2503" y="1446"/>
                  </a:lnTo>
                  <a:lnTo>
                    <a:pt x="2514" y="1448"/>
                  </a:lnTo>
                  <a:lnTo>
                    <a:pt x="2522" y="1456"/>
                  </a:lnTo>
                  <a:lnTo>
                    <a:pt x="2555" y="1473"/>
                  </a:lnTo>
                  <a:lnTo>
                    <a:pt x="2562" y="1483"/>
                  </a:lnTo>
                  <a:lnTo>
                    <a:pt x="2567" y="1499"/>
                  </a:lnTo>
                  <a:lnTo>
                    <a:pt x="2574" y="1508"/>
                  </a:lnTo>
                  <a:lnTo>
                    <a:pt x="2584" y="1548"/>
                  </a:lnTo>
                  <a:lnTo>
                    <a:pt x="2590" y="1561"/>
                  </a:lnTo>
                  <a:lnTo>
                    <a:pt x="2594" y="1578"/>
                  </a:lnTo>
                  <a:lnTo>
                    <a:pt x="2603" y="1592"/>
                  </a:lnTo>
                  <a:lnTo>
                    <a:pt x="2617" y="1598"/>
                  </a:lnTo>
                  <a:lnTo>
                    <a:pt x="2618" y="1608"/>
                  </a:lnTo>
                  <a:lnTo>
                    <a:pt x="2635" y="1625"/>
                  </a:lnTo>
                  <a:lnTo>
                    <a:pt x="2646" y="1642"/>
                  </a:lnTo>
                  <a:lnTo>
                    <a:pt x="2646" y="1646"/>
                  </a:lnTo>
                  <a:lnTo>
                    <a:pt x="2628" y="1637"/>
                  </a:lnTo>
                  <a:lnTo>
                    <a:pt x="2613" y="1632"/>
                  </a:lnTo>
                  <a:lnTo>
                    <a:pt x="2602" y="1632"/>
                  </a:lnTo>
                  <a:lnTo>
                    <a:pt x="2590" y="1624"/>
                  </a:lnTo>
                  <a:lnTo>
                    <a:pt x="2576" y="1620"/>
                  </a:lnTo>
                  <a:lnTo>
                    <a:pt x="2551" y="1625"/>
                  </a:lnTo>
                  <a:lnTo>
                    <a:pt x="2551" y="1631"/>
                  </a:lnTo>
                  <a:lnTo>
                    <a:pt x="2576" y="1626"/>
                  </a:lnTo>
                  <a:lnTo>
                    <a:pt x="2581" y="1630"/>
                  </a:lnTo>
                  <a:lnTo>
                    <a:pt x="2584" y="1637"/>
                  </a:lnTo>
                  <a:lnTo>
                    <a:pt x="2595" y="1639"/>
                  </a:lnTo>
                  <a:lnTo>
                    <a:pt x="2607" y="1647"/>
                  </a:lnTo>
                  <a:lnTo>
                    <a:pt x="2618" y="1660"/>
                  </a:lnTo>
                  <a:lnTo>
                    <a:pt x="2627" y="1664"/>
                  </a:lnTo>
                  <a:lnTo>
                    <a:pt x="2632" y="1667"/>
                  </a:lnTo>
                  <a:lnTo>
                    <a:pt x="2640" y="1677"/>
                  </a:lnTo>
                  <a:lnTo>
                    <a:pt x="2648" y="1690"/>
                  </a:lnTo>
                  <a:lnTo>
                    <a:pt x="2646" y="1695"/>
                  </a:lnTo>
                  <a:lnTo>
                    <a:pt x="2633" y="1696"/>
                  </a:lnTo>
                  <a:lnTo>
                    <a:pt x="2622" y="1706"/>
                  </a:lnTo>
                  <a:lnTo>
                    <a:pt x="2611" y="1710"/>
                  </a:lnTo>
                  <a:lnTo>
                    <a:pt x="2603" y="1715"/>
                  </a:lnTo>
                  <a:lnTo>
                    <a:pt x="2600" y="1720"/>
                  </a:lnTo>
                  <a:lnTo>
                    <a:pt x="2589" y="1727"/>
                  </a:lnTo>
                  <a:lnTo>
                    <a:pt x="2573" y="1727"/>
                  </a:lnTo>
                  <a:lnTo>
                    <a:pt x="2562" y="1730"/>
                  </a:lnTo>
                  <a:lnTo>
                    <a:pt x="2551" y="1734"/>
                  </a:lnTo>
                  <a:lnTo>
                    <a:pt x="2563" y="1733"/>
                  </a:lnTo>
                  <a:lnTo>
                    <a:pt x="2575" y="1737"/>
                  </a:lnTo>
                  <a:lnTo>
                    <a:pt x="2586" y="1742"/>
                  </a:lnTo>
                  <a:lnTo>
                    <a:pt x="2607" y="1733"/>
                  </a:lnTo>
                  <a:lnTo>
                    <a:pt x="2616" y="1736"/>
                  </a:lnTo>
                  <a:lnTo>
                    <a:pt x="2624" y="1743"/>
                  </a:lnTo>
                  <a:lnTo>
                    <a:pt x="2628" y="1749"/>
                  </a:lnTo>
                  <a:lnTo>
                    <a:pt x="2633" y="1753"/>
                  </a:lnTo>
                  <a:lnTo>
                    <a:pt x="2640" y="1755"/>
                  </a:lnTo>
                  <a:lnTo>
                    <a:pt x="2648" y="1755"/>
                  </a:lnTo>
                  <a:lnTo>
                    <a:pt x="2652" y="1758"/>
                  </a:lnTo>
                  <a:lnTo>
                    <a:pt x="2646" y="1761"/>
                  </a:lnTo>
                  <a:lnTo>
                    <a:pt x="2633" y="1776"/>
                  </a:lnTo>
                  <a:lnTo>
                    <a:pt x="2623" y="1781"/>
                  </a:lnTo>
                  <a:lnTo>
                    <a:pt x="2627" y="1782"/>
                  </a:lnTo>
                  <a:lnTo>
                    <a:pt x="2643" y="1775"/>
                  </a:lnTo>
                  <a:lnTo>
                    <a:pt x="2643" y="1788"/>
                  </a:lnTo>
                  <a:lnTo>
                    <a:pt x="2641" y="1798"/>
                  </a:lnTo>
                  <a:lnTo>
                    <a:pt x="2640" y="1795"/>
                  </a:lnTo>
                  <a:lnTo>
                    <a:pt x="2635" y="1798"/>
                  </a:lnTo>
                  <a:lnTo>
                    <a:pt x="2623" y="1802"/>
                  </a:lnTo>
                  <a:lnTo>
                    <a:pt x="2623" y="1804"/>
                  </a:lnTo>
                  <a:lnTo>
                    <a:pt x="2628" y="1814"/>
                  </a:lnTo>
                  <a:lnTo>
                    <a:pt x="2625" y="1829"/>
                  </a:lnTo>
                  <a:lnTo>
                    <a:pt x="2622" y="1833"/>
                  </a:lnTo>
                  <a:lnTo>
                    <a:pt x="2622" y="1850"/>
                  </a:lnTo>
                  <a:lnTo>
                    <a:pt x="2616" y="1865"/>
                  </a:lnTo>
                  <a:lnTo>
                    <a:pt x="2611" y="1862"/>
                  </a:lnTo>
                  <a:lnTo>
                    <a:pt x="2606" y="1856"/>
                  </a:lnTo>
                  <a:lnTo>
                    <a:pt x="2601" y="1860"/>
                  </a:lnTo>
                  <a:lnTo>
                    <a:pt x="2594" y="1871"/>
                  </a:lnTo>
                  <a:lnTo>
                    <a:pt x="2587" y="1879"/>
                  </a:lnTo>
                  <a:lnTo>
                    <a:pt x="2582" y="1887"/>
                  </a:lnTo>
                  <a:lnTo>
                    <a:pt x="2578" y="1890"/>
                  </a:lnTo>
                  <a:lnTo>
                    <a:pt x="2574" y="1897"/>
                  </a:lnTo>
                  <a:lnTo>
                    <a:pt x="2571" y="1904"/>
                  </a:lnTo>
                  <a:lnTo>
                    <a:pt x="2571" y="1911"/>
                  </a:lnTo>
                  <a:lnTo>
                    <a:pt x="2567" y="1921"/>
                  </a:lnTo>
                  <a:lnTo>
                    <a:pt x="2560" y="1930"/>
                  </a:lnTo>
                  <a:lnTo>
                    <a:pt x="2555" y="1933"/>
                  </a:lnTo>
                  <a:lnTo>
                    <a:pt x="2546" y="1943"/>
                  </a:lnTo>
                  <a:lnTo>
                    <a:pt x="2543" y="1957"/>
                  </a:lnTo>
                  <a:lnTo>
                    <a:pt x="2537" y="1964"/>
                  </a:lnTo>
                  <a:lnTo>
                    <a:pt x="2535" y="1962"/>
                  </a:lnTo>
                  <a:lnTo>
                    <a:pt x="2533" y="1948"/>
                  </a:lnTo>
                  <a:lnTo>
                    <a:pt x="2525" y="1949"/>
                  </a:lnTo>
                  <a:lnTo>
                    <a:pt x="2517" y="1956"/>
                  </a:lnTo>
                  <a:lnTo>
                    <a:pt x="2526" y="1973"/>
                  </a:lnTo>
                  <a:lnTo>
                    <a:pt x="2526" y="1976"/>
                  </a:lnTo>
                  <a:lnTo>
                    <a:pt x="2521" y="1992"/>
                  </a:lnTo>
                  <a:lnTo>
                    <a:pt x="2521" y="1997"/>
                  </a:lnTo>
                  <a:lnTo>
                    <a:pt x="2520" y="2003"/>
                  </a:lnTo>
                  <a:lnTo>
                    <a:pt x="2517" y="2010"/>
                  </a:lnTo>
                  <a:lnTo>
                    <a:pt x="2515" y="2013"/>
                  </a:lnTo>
                  <a:lnTo>
                    <a:pt x="2511" y="2014"/>
                  </a:lnTo>
                  <a:lnTo>
                    <a:pt x="2511" y="2021"/>
                  </a:lnTo>
                  <a:lnTo>
                    <a:pt x="2512" y="2028"/>
                  </a:lnTo>
                  <a:lnTo>
                    <a:pt x="2511" y="2030"/>
                  </a:lnTo>
                  <a:lnTo>
                    <a:pt x="2506" y="2028"/>
                  </a:lnTo>
                  <a:lnTo>
                    <a:pt x="2500" y="2028"/>
                  </a:lnTo>
                  <a:lnTo>
                    <a:pt x="2495" y="2033"/>
                  </a:lnTo>
                  <a:lnTo>
                    <a:pt x="2498" y="2040"/>
                  </a:lnTo>
                  <a:lnTo>
                    <a:pt x="2494" y="2046"/>
                  </a:lnTo>
                  <a:lnTo>
                    <a:pt x="2490" y="2044"/>
                  </a:lnTo>
                  <a:lnTo>
                    <a:pt x="2484" y="2045"/>
                  </a:lnTo>
                  <a:lnTo>
                    <a:pt x="2478" y="2060"/>
                  </a:lnTo>
                  <a:lnTo>
                    <a:pt x="2471" y="2065"/>
                  </a:lnTo>
                  <a:lnTo>
                    <a:pt x="2469" y="2075"/>
                  </a:lnTo>
                  <a:lnTo>
                    <a:pt x="2465" y="2081"/>
                  </a:lnTo>
                  <a:lnTo>
                    <a:pt x="2447" y="2083"/>
                  </a:lnTo>
                  <a:lnTo>
                    <a:pt x="2440" y="2081"/>
                  </a:lnTo>
                  <a:lnTo>
                    <a:pt x="2431" y="2088"/>
                  </a:lnTo>
                  <a:lnTo>
                    <a:pt x="2433" y="2091"/>
                  </a:lnTo>
                  <a:lnTo>
                    <a:pt x="2435" y="2097"/>
                  </a:lnTo>
                  <a:lnTo>
                    <a:pt x="2433" y="2105"/>
                  </a:lnTo>
                  <a:lnTo>
                    <a:pt x="2418" y="2119"/>
                  </a:lnTo>
                  <a:lnTo>
                    <a:pt x="2413" y="2119"/>
                  </a:lnTo>
                  <a:lnTo>
                    <a:pt x="2410" y="2131"/>
                  </a:lnTo>
                  <a:lnTo>
                    <a:pt x="2408" y="2123"/>
                  </a:lnTo>
                  <a:lnTo>
                    <a:pt x="2402" y="2127"/>
                  </a:lnTo>
                  <a:lnTo>
                    <a:pt x="2401" y="2135"/>
                  </a:lnTo>
                  <a:lnTo>
                    <a:pt x="2398" y="2134"/>
                  </a:lnTo>
                  <a:lnTo>
                    <a:pt x="2395" y="2134"/>
                  </a:lnTo>
                  <a:lnTo>
                    <a:pt x="2385" y="2141"/>
                  </a:lnTo>
                  <a:lnTo>
                    <a:pt x="2380" y="2140"/>
                  </a:lnTo>
                  <a:lnTo>
                    <a:pt x="2372" y="2141"/>
                  </a:lnTo>
                  <a:lnTo>
                    <a:pt x="2365" y="2152"/>
                  </a:lnTo>
                  <a:lnTo>
                    <a:pt x="2361" y="2159"/>
                  </a:lnTo>
                  <a:lnTo>
                    <a:pt x="2356" y="2164"/>
                  </a:lnTo>
                  <a:lnTo>
                    <a:pt x="2354" y="2170"/>
                  </a:lnTo>
                  <a:lnTo>
                    <a:pt x="2344" y="2177"/>
                  </a:lnTo>
                  <a:lnTo>
                    <a:pt x="2328" y="2183"/>
                  </a:lnTo>
                  <a:lnTo>
                    <a:pt x="2316" y="2189"/>
                  </a:lnTo>
                  <a:lnTo>
                    <a:pt x="2309" y="2186"/>
                  </a:lnTo>
                  <a:lnTo>
                    <a:pt x="2302" y="2184"/>
                  </a:lnTo>
                  <a:lnTo>
                    <a:pt x="2299" y="2189"/>
                  </a:lnTo>
                  <a:lnTo>
                    <a:pt x="2297" y="2193"/>
                  </a:lnTo>
                  <a:lnTo>
                    <a:pt x="2291" y="2195"/>
                  </a:lnTo>
                  <a:lnTo>
                    <a:pt x="2285" y="2193"/>
                  </a:lnTo>
                  <a:lnTo>
                    <a:pt x="2285" y="2188"/>
                  </a:lnTo>
                  <a:lnTo>
                    <a:pt x="2277" y="2184"/>
                  </a:lnTo>
                  <a:lnTo>
                    <a:pt x="2268" y="2190"/>
                  </a:lnTo>
                  <a:lnTo>
                    <a:pt x="2263" y="2199"/>
                  </a:lnTo>
                  <a:lnTo>
                    <a:pt x="2256" y="2199"/>
                  </a:lnTo>
                  <a:lnTo>
                    <a:pt x="2253" y="2193"/>
                  </a:lnTo>
                  <a:lnTo>
                    <a:pt x="2253" y="2189"/>
                  </a:lnTo>
                  <a:lnTo>
                    <a:pt x="2245" y="2191"/>
                  </a:lnTo>
                  <a:lnTo>
                    <a:pt x="2245" y="2202"/>
                  </a:lnTo>
                  <a:lnTo>
                    <a:pt x="2243" y="2202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4" name="Freeform 164">
              <a:extLst>
                <a:ext uri="{FF2B5EF4-FFF2-40B4-BE49-F238E27FC236}">
                  <a16:creationId xmlns:a16="http://schemas.microsoft.com/office/drawing/2014/main" id="{3A3BD885-4D15-0478-4E1F-DFB554301E3C}"/>
                </a:ext>
              </a:extLst>
            </p:cNvPr>
            <p:cNvSpPr>
              <a:spLocks/>
            </p:cNvSpPr>
            <p:nvPr/>
          </p:nvSpPr>
          <p:spPr bwMode="gray">
            <a:xfrm>
              <a:off x="6761313" y="2111804"/>
              <a:ext cx="120547" cy="134537"/>
            </a:xfrm>
            <a:custGeom>
              <a:avLst/>
              <a:gdLst>
                <a:gd name="T0" fmla="*/ 18934 w 349"/>
                <a:gd name="T1" fmla="*/ 25697 h 377"/>
                <a:gd name="T2" fmla="*/ 16292 w 349"/>
                <a:gd name="T3" fmla="*/ 23210 h 377"/>
                <a:gd name="T4" fmla="*/ 14531 w 349"/>
                <a:gd name="T5" fmla="*/ 22381 h 377"/>
                <a:gd name="T6" fmla="*/ 14971 w 349"/>
                <a:gd name="T7" fmla="*/ 21967 h 377"/>
                <a:gd name="T8" fmla="*/ 14971 w 349"/>
                <a:gd name="T9" fmla="*/ 19895 h 377"/>
                <a:gd name="T10" fmla="*/ 16292 w 349"/>
                <a:gd name="T11" fmla="*/ 19066 h 377"/>
                <a:gd name="T12" fmla="*/ 17173 w 349"/>
                <a:gd name="T13" fmla="*/ 17822 h 377"/>
                <a:gd name="T14" fmla="*/ 20255 w 349"/>
                <a:gd name="T15" fmla="*/ 16579 h 377"/>
                <a:gd name="T16" fmla="*/ 22457 w 349"/>
                <a:gd name="T17" fmla="*/ 14921 h 377"/>
                <a:gd name="T18" fmla="*/ 25099 w 349"/>
                <a:gd name="T19" fmla="*/ 12849 h 377"/>
                <a:gd name="T20" fmla="*/ 25980 w 349"/>
                <a:gd name="T21" fmla="*/ 9947 h 377"/>
                <a:gd name="T22" fmla="*/ 25539 w 349"/>
                <a:gd name="T23" fmla="*/ 8289 h 377"/>
                <a:gd name="T24" fmla="*/ 26860 w 349"/>
                <a:gd name="T25" fmla="*/ 6632 h 377"/>
                <a:gd name="T26" fmla="*/ 29943 w 349"/>
                <a:gd name="T27" fmla="*/ 3730 h 377"/>
                <a:gd name="T28" fmla="*/ 30383 w 349"/>
                <a:gd name="T29" fmla="*/ 3316 h 377"/>
                <a:gd name="T30" fmla="*/ 29943 w 349"/>
                <a:gd name="T31" fmla="*/ 2072 h 377"/>
                <a:gd name="T32" fmla="*/ 28622 w 349"/>
                <a:gd name="T33" fmla="*/ 829 h 377"/>
                <a:gd name="T34" fmla="*/ 26420 w 349"/>
                <a:gd name="T35" fmla="*/ 829 h 377"/>
                <a:gd name="T36" fmla="*/ 25099 w 349"/>
                <a:gd name="T37" fmla="*/ 3730 h 377"/>
                <a:gd name="T38" fmla="*/ 20255 w 349"/>
                <a:gd name="T39" fmla="*/ 6217 h 377"/>
                <a:gd name="T40" fmla="*/ 18054 w 349"/>
                <a:gd name="T41" fmla="*/ 7046 h 377"/>
                <a:gd name="T42" fmla="*/ 14971 w 349"/>
                <a:gd name="T43" fmla="*/ 9947 h 377"/>
                <a:gd name="T44" fmla="*/ 11889 w 349"/>
                <a:gd name="T45" fmla="*/ 8704 h 377"/>
                <a:gd name="T46" fmla="*/ 8807 w 349"/>
                <a:gd name="T47" fmla="*/ 12020 h 377"/>
                <a:gd name="T48" fmla="*/ 3963 w 349"/>
                <a:gd name="T49" fmla="*/ 14921 h 377"/>
                <a:gd name="T50" fmla="*/ 0 w 349"/>
                <a:gd name="T51" fmla="*/ 18237 h 377"/>
                <a:gd name="T52" fmla="*/ 1321 w 349"/>
                <a:gd name="T53" fmla="*/ 19480 h 377"/>
                <a:gd name="T54" fmla="*/ 2642 w 349"/>
                <a:gd name="T55" fmla="*/ 19895 h 377"/>
                <a:gd name="T56" fmla="*/ 4844 w 349"/>
                <a:gd name="T57" fmla="*/ 20309 h 377"/>
                <a:gd name="T58" fmla="*/ 5284 w 349"/>
                <a:gd name="T59" fmla="*/ 21552 h 377"/>
                <a:gd name="T60" fmla="*/ 4403 w 349"/>
                <a:gd name="T61" fmla="*/ 25283 h 377"/>
                <a:gd name="T62" fmla="*/ 5284 w 349"/>
                <a:gd name="T63" fmla="*/ 25697 h 377"/>
                <a:gd name="T64" fmla="*/ 3963 w 349"/>
                <a:gd name="T65" fmla="*/ 26941 h 377"/>
                <a:gd name="T66" fmla="*/ 2642 w 349"/>
                <a:gd name="T67" fmla="*/ 28184 h 377"/>
                <a:gd name="T68" fmla="*/ 3523 w 349"/>
                <a:gd name="T69" fmla="*/ 29427 h 377"/>
                <a:gd name="T70" fmla="*/ 3963 w 349"/>
                <a:gd name="T71" fmla="*/ 29842 h 377"/>
                <a:gd name="T72" fmla="*/ 3523 w 349"/>
                <a:gd name="T73" fmla="*/ 30256 h 377"/>
                <a:gd name="T74" fmla="*/ 3963 w 349"/>
                <a:gd name="T75" fmla="*/ 30671 h 377"/>
                <a:gd name="T76" fmla="*/ 4403 w 349"/>
                <a:gd name="T77" fmla="*/ 31500 h 377"/>
                <a:gd name="T78" fmla="*/ 5724 w 349"/>
                <a:gd name="T79" fmla="*/ 31085 h 377"/>
                <a:gd name="T80" fmla="*/ 6605 w 349"/>
                <a:gd name="T81" fmla="*/ 30256 h 377"/>
                <a:gd name="T82" fmla="*/ 6605 w 349"/>
                <a:gd name="T83" fmla="*/ 29842 h 377"/>
                <a:gd name="T84" fmla="*/ 7926 w 349"/>
                <a:gd name="T85" fmla="*/ 30671 h 377"/>
                <a:gd name="T86" fmla="*/ 8807 w 349"/>
                <a:gd name="T87" fmla="*/ 30671 h 377"/>
                <a:gd name="T88" fmla="*/ 10568 w 349"/>
                <a:gd name="T89" fmla="*/ 31085 h 377"/>
                <a:gd name="T90" fmla="*/ 13650 w 349"/>
                <a:gd name="T91" fmla="*/ 28598 h 377"/>
                <a:gd name="T92" fmla="*/ 16733 w 349"/>
                <a:gd name="T93" fmla="*/ 28598 h 377"/>
                <a:gd name="T94" fmla="*/ 19375 w 349"/>
                <a:gd name="T95" fmla="*/ 26526 h 37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49"/>
                <a:gd name="T145" fmla="*/ 0 h 377"/>
                <a:gd name="T146" fmla="*/ 349 w 349"/>
                <a:gd name="T147" fmla="*/ 377 h 37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49" h="377">
                  <a:moveTo>
                    <a:pt x="223" y="318"/>
                  </a:moveTo>
                  <a:lnTo>
                    <a:pt x="220" y="310"/>
                  </a:lnTo>
                  <a:lnTo>
                    <a:pt x="196" y="290"/>
                  </a:lnTo>
                  <a:lnTo>
                    <a:pt x="185" y="277"/>
                  </a:lnTo>
                  <a:lnTo>
                    <a:pt x="171" y="272"/>
                  </a:lnTo>
                  <a:lnTo>
                    <a:pt x="169" y="266"/>
                  </a:lnTo>
                  <a:lnTo>
                    <a:pt x="174" y="253"/>
                  </a:lnTo>
                  <a:lnTo>
                    <a:pt x="174" y="262"/>
                  </a:lnTo>
                  <a:lnTo>
                    <a:pt x="175" y="255"/>
                  </a:lnTo>
                  <a:lnTo>
                    <a:pt x="174" y="236"/>
                  </a:lnTo>
                  <a:lnTo>
                    <a:pt x="175" y="229"/>
                  </a:lnTo>
                  <a:lnTo>
                    <a:pt x="186" y="226"/>
                  </a:lnTo>
                  <a:lnTo>
                    <a:pt x="196" y="220"/>
                  </a:lnTo>
                  <a:lnTo>
                    <a:pt x="199" y="212"/>
                  </a:lnTo>
                  <a:lnTo>
                    <a:pt x="223" y="209"/>
                  </a:lnTo>
                  <a:lnTo>
                    <a:pt x="235" y="200"/>
                  </a:lnTo>
                  <a:lnTo>
                    <a:pt x="239" y="194"/>
                  </a:lnTo>
                  <a:lnTo>
                    <a:pt x="257" y="181"/>
                  </a:lnTo>
                  <a:lnTo>
                    <a:pt x="274" y="162"/>
                  </a:lnTo>
                  <a:lnTo>
                    <a:pt x="289" y="155"/>
                  </a:lnTo>
                  <a:lnTo>
                    <a:pt x="295" y="150"/>
                  </a:lnTo>
                  <a:lnTo>
                    <a:pt x="297" y="121"/>
                  </a:lnTo>
                  <a:lnTo>
                    <a:pt x="293" y="112"/>
                  </a:lnTo>
                  <a:lnTo>
                    <a:pt x="295" y="101"/>
                  </a:lnTo>
                  <a:lnTo>
                    <a:pt x="304" y="87"/>
                  </a:lnTo>
                  <a:lnTo>
                    <a:pt x="308" y="80"/>
                  </a:lnTo>
                  <a:lnTo>
                    <a:pt x="335" y="49"/>
                  </a:lnTo>
                  <a:lnTo>
                    <a:pt x="342" y="46"/>
                  </a:lnTo>
                  <a:lnTo>
                    <a:pt x="349" y="48"/>
                  </a:lnTo>
                  <a:lnTo>
                    <a:pt x="347" y="41"/>
                  </a:lnTo>
                  <a:lnTo>
                    <a:pt x="343" y="33"/>
                  </a:lnTo>
                  <a:lnTo>
                    <a:pt x="343" y="27"/>
                  </a:lnTo>
                  <a:lnTo>
                    <a:pt x="335" y="26"/>
                  </a:lnTo>
                  <a:lnTo>
                    <a:pt x="327" y="11"/>
                  </a:lnTo>
                  <a:lnTo>
                    <a:pt x="316" y="0"/>
                  </a:lnTo>
                  <a:lnTo>
                    <a:pt x="305" y="9"/>
                  </a:lnTo>
                  <a:lnTo>
                    <a:pt x="298" y="29"/>
                  </a:lnTo>
                  <a:lnTo>
                    <a:pt x="288" y="44"/>
                  </a:lnTo>
                  <a:lnTo>
                    <a:pt x="257" y="68"/>
                  </a:lnTo>
                  <a:lnTo>
                    <a:pt x="233" y="74"/>
                  </a:lnTo>
                  <a:lnTo>
                    <a:pt x="213" y="74"/>
                  </a:lnTo>
                  <a:lnTo>
                    <a:pt x="208" y="83"/>
                  </a:lnTo>
                  <a:lnTo>
                    <a:pt x="214" y="114"/>
                  </a:lnTo>
                  <a:lnTo>
                    <a:pt x="172" y="118"/>
                  </a:lnTo>
                  <a:lnTo>
                    <a:pt x="158" y="108"/>
                  </a:lnTo>
                  <a:lnTo>
                    <a:pt x="139" y="103"/>
                  </a:lnTo>
                  <a:lnTo>
                    <a:pt x="127" y="113"/>
                  </a:lnTo>
                  <a:lnTo>
                    <a:pt x="102" y="142"/>
                  </a:lnTo>
                  <a:lnTo>
                    <a:pt x="84" y="157"/>
                  </a:lnTo>
                  <a:lnTo>
                    <a:pt x="45" y="178"/>
                  </a:lnTo>
                  <a:lnTo>
                    <a:pt x="30" y="185"/>
                  </a:lnTo>
                  <a:lnTo>
                    <a:pt x="2" y="220"/>
                  </a:lnTo>
                  <a:lnTo>
                    <a:pt x="0" y="224"/>
                  </a:lnTo>
                  <a:lnTo>
                    <a:pt x="13" y="235"/>
                  </a:lnTo>
                  <a:lnTo>
                    <a:pt x="16" y="246"/>
                  </a:lnTo>
                  <a:lnTo>
                    <a:pt x="30" y="239"/>
                  </a:lnTo>
                  <a:lnTo>
                    <a:pt x="42" y="243"/>
                  </a:lnTo>
                  <a:lnTo>
                    <a:pt x="57" y="245"/>
                  </a:lnTo>
                  <a:lnTo>
                    <a:pt x="63" y="248"/>
                  </a:lnTo>
                  <a:lnTo>
                    <a:pt x="59" y="258"/>
                  </a:lnTo>
                  <a:lnTo>
                    <a:pt x="56" y="278"/>
                  </a:lnTo>
                  <a:lnTo>
                    <a:pt x="50" y="301"/>
                  </a:lnTo>
                  <a:lnTo>
                    <a:pt x="52" y="307"/>
                  </a:lnTo>
                  <a:lnTo>
                    <a:pt x="59" y="307"/>
                  </a:lnTo>
                  <a:lnTo>
                    <a:pt x="45" y="315"/>
                  </a:lnTo>
                  <a:lnTo>
                    <a:pt x="43" y="320"/>
                  </a:lnTo>
                  <a:lnTo>
                    <a:pt x="37" y="323"/>
                  </a:lnTo>
                  <a:lnTo>
                    <a:pt x="32" y="339"/>
                  </a:lnTo>
                  <a:lnTo>
                    <a:pt x="24" y="352"/>
                  </a:lnTo>
                  <a:lnTo>
                    <a:pt x="40" y="353"/>
                  </a:lnTo>
                  <a:lnTo>
                    <a:pt x="50" y="350"/>
                  </a:lnTo>
                  <a:lnTo>
                    <a:pt x="48" y="355"/>
                  </a:lnTo>
                  <a:lnTo>
                    <a:pt x="45" y="361"/>
                  </a:lnTo>
                  <a:lnTo>
                    <a:pt x="40" y="361"/>
                  </a:lnTo>
                  <a:lnTo>
                    <a:pt x="41" y="368"/>
                  </a:lnTo>
                  <a:lnTo>
                    <a:pt x="47" y="366"/>
                  </a:lnTo>
                  <a:lnTo>
                    <a:pt x="51" y="376"/>
                  </a:lnTo>
                  <a:lnTo>
                    <a:pt x="53" y="377"/>
                  </a:lnTo>
                  <a:lnTo>
                    <a:pt x="61" y="377"/>
                  </a:lnTo>
                  <a:lnTo>
                    <a:pt x="64" y="372"/>
                  </a:lnTo>
                  <a:lnTo>
                    <a:pt x="71" y="370"/>
                  </a:lnTo>
                  <a:lnTo>
                    <a:pt x="74" y="360"/>
                  </a:lnTo>
                  <a:lnTo>
                    <a:pt x="72" y="355"/>
                  </a:lnTo>
                  <a:lnTo>
                    <a:pt x="78" y="356"/>
                  </a:lnTo>
                  <a:lnTo>
                    <a:pt x="84" y="365"/>
                  </a:lnTo>
                  <a:lnTo>
                    <a:pt x="91" y="368"/>
                  </a:lnTo>
                  <a:lnTo>
                    <a:pt x="99" y="374"/>
                  </a:lnTo>
                  <a:lnTo>
                    <a:pt x="102" y="369"/>
                  </a:lnTo>
                  <a:lnTo>
                    <a:pt x="113" y="365"/>
                  </a:lnTo>
                  <a:lnTo>
                    <a:pt x="121" y="374"/>
                  </a:lnTo>
                  <a:lnTo>
                    <a:pt x="134" y="363"/>
                  </a:lnTo>
                  <a:lnTo>
                    <a:pt x="156" y="340"/>
                  </a:lnTo>
                  <a:lnTo>
                    <a:pt x="174" y="339"/>
                  </a:lnTo>
                  <a:lnTo>
                    <a:pt x="191" y="340"/>
                  </a:lnTo>
                  <a:lnTo>
                    <a:pt x="206" y="334"/>
                  </a:lnTo>
                  <a:lnTo>
                    <a:pt x="223" y="318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5" name="Freeform 165">
              <a:extLst>
                <a:ext uri="{FF2B5EF4-FFF2-40B4-BE49-F238E27FC236}">
                  <a16:creationId xmlns:a16="http://schemas.microsoft.com/office/drawing/2014/main" id="{DD079C0C-651F-296B-A9A9-40DFD2353009}"/>
                </a:ext>
              </a:extLst>
            </p:cNvPr>
            <p:cNvSpPr>
              <a:spLocks/>
            </p:cNvSpPr>
            <p:nvPr/>
          </p:nvSpPr>
          <p:spPr bwMode="gray">
            <a:xfrm>
              <a:off x="3884504" y="1295072"/>
              <a:ext cx="210958" cy="144050"/>
            </a:xfrm>
            <a:custGeom>
              <a:avLst/>
              <a:gdLst>
                <a:gd name="T0" fmla="*/ 19502 w 603"/>
                <a:gd name="T1" fmla="*/ 30503 h 409"/>
                <a:gd name="T2" fmla="*/ 12853 w 603"/>
                <a:gd name="T3" fmla="*/ 29266 h 409"/>
                <a:gd name="T4" fmla="*/ 8864 w 603"/>
                <a:gd name="T5" fmla="*/ 28030 h 409"/>
                <a:gd name="T6" fmla="*/ 13297 w 603"/>
                <a:gd name="T7" fmla="*/ 25557 h 409"/>
                <a:gd name="T8" fmla="*/ 12410 w 603"/>
                <a:gd name="T9" fmla="*/ 22259 h 409"/>
                <a:gd name="T10" fmla="*/ 11081 w 603"/>
                <a:gd name="T11" fmla="*/ 21435 h 409"/>
                <a:gd name="T12" fmla="*/ 9308 w 603"/>
                <a:gd name="T13" fmla="*/ 18961 h 409"/>
                <a:gd name="T14" fmla="*/ 5319 w 603"/>
                <a:gd name="T15" fmla="*/ 18961 h 409"/>
                <a:gd name="T16" fmla="*/ 4432 w 603"/>
                <a:gd name="T17" fmla="*/ 18137 h 409"/>
                <a:gd name="T18" fmla="*/ 8864 w 603"/>
                <a:gd name="T19" fmla="*/ 16900 h 409"/>
                <a:gd name="T20" fmla="*/ 12853 w 603"/>
                <a:gd name="T21" fmla="*/ 14839 h 409"/>
                <a:gd name="T22" fmla="*/ 10194 w 603"/>
                <a:gd name="T23" fmla="*/ 13603 h 409"/>
                <a:gd name="T24" fmla="*/ 11967 w 603"/>
                <a:gd name="T25" fmla="*/ 11129 h 409"/>
                <a:gd name="T26" fmla="*/ 10637 w 603"/>
                <a:gd name="T27" fmla="*/ 11129 h 409"/>
                <a:gd name="T28" fmla="*/ 6205 w 603"/>
                <a:gd name="T29" fmla="*/ 11542 h 409"/>
                <a:gd name="T30" fmla="*/ 0 w 603"/>
                <a:gd name="T31" fmla="*/ 11954 h 409"/>
                <a:gd name="T32" fmla="*/ 3989 w 603"/>
                <a:gd name="T33" fmla="*/ 10717 h 409"/>
                <a:gd name="T34" fmla="*/ 1773 w 603"/>
                <a:gd name="T35" fmla="*/ 7832 h 409"/>
                <a:gd name="T36" fmla="*/ 6205 w 603"/>
                <a:gd name="T37" fmla="*/ 9068 h 409"/>
                <a:gd name="T38" fmla="*/ 4875 w 603"/>
                <a:gd name="T39" fmla="*/ 7007 h 409"/>
                <a:gd name="T40" fmla="*/ 4875 w 603"/>
                <a:gd name="T41" fmla="*/ 5771 h 409"/>
                <a:gd name="T42" fmla="*/ 6648 w 603"/>
                <a:gd name="T43" fmla="*/ 4534 h 409"/>
                <a:gd name="T44" fmla="*/ 8864 w 603"/>
                <a:gd name="T45" fmla="*/ 6595 h 409"/>
                <a:gd name="T46" fmla="*/ 9751 w 603"/>
                <a:gd name="T47" fmla="*/ 5359 h 409"/>
                <a:gd name="T48" fmla="*/ 8864 w 603"/>
                <a:gd name="T49" fmla="*/ 3298 h 409"/>
                <a:gd name="T50" fmla="*/ 8421 w 603"/>
                <a:gd name="T51" fmla="*/ 2061 h 409"/>
                <a:gd name="T52" fmla="*/ 6648 w 603"/>
                <a:gd name="T53" fmla="*/ 824 h 409"/>
                <a:gd name="T54" fmla="*/ 9751 w 603"/>
                <a:gd name="T55" fmla="*/ 1237 h 409"/>
                <a:gd name="T56" fmla="*/ 13740 w 603"/>
                <a:gd name="T57" fmla="*/ 4946 h 409"/>
                <a:gd name="T58" fmla="*/ 15513 w 603"/>
                <a:gd name="T59" fmla="*/ 8244 h 409"/>
                <a:gd name="T60" fmla="*/ 13740 w 603"/>
                <a:gd name="T61" fmla="*/ 9481 h 409"/>
                <a:gd name="T62" fmla="*/ 15069 w 603"/>
                <a:gd name="T63" fmla="*/ 11954 h 409"/>
                <a:gd name="T64" fmla="*/ 16842 w 603"/>
                <a:gd name="T65" fmla="*/ 12366 h 409"/>
                <a:gd name="T66" fmla="*/ 19058 w 603"/>
                <a:gd name="T67" fmla="*/ 10305 h 409"/>
                <a:gd name="T68" fmla="*/ 20388 w 603"/>
                <a:gd name="T69" fmla="*/ 5771 h 409"/>
                <a:gd name="T70" fmla="*/ 23491 w 603"/>
                <a:gd name="T71" fmla="*/ 7832 h 409"/>
                <a:gd name="T72" fmla="*/ 24820 w 603"/>
                <a:gd name="T73" fmla="*/ 6183 h 409"/>
                <a:gd name="T74" fmla="*/ 27923 w 603"/>
                <a:gd name="T75" fmla="*/ 3710 h 409"/>
                <a:gd name="T76" fmla="*/ 29253 w 603"/>
                <a:gd name="T77" fmla="*/ 6183 h 409"/>
                <a:gd name="T78" fmla="*/ 31469 w 603"/>
                <a:gd name="T79" fmla="*/ 8656 h 409"/>
                <a:gd name="T80" fmla="*/ 30582 w 603"/>
                <a:gd name="T81" fmla="*/ 3710 h 409"/>
                <a:gd name="T82" fmla="*/ 34571 w 603"/>
                <a:gd name="T83" fmla="*/ 5359 h 409"/>
                <a:gd name="T84" fmla="*/ 37231 w 603"/>
                <a:gd name="T85" fmla="*/ 4534 h 409"/>
                <a:gd name="T86" fmla="*/ 38560 w 603"/>
                <a:gd name="T87" fmla="*/ 412 h 409"/>
                <a:gd name="T88" fmla="*/ 42549 w 603"/>
                <a:gd name="T89" fmla="*/ 1649 h 409"/>
                <a:gd name="T90" fmla="*/ 44322 w 603"/>
                <a:gd name="T91" fmla="*/ 3710 h 409"/>
                <a:gd name="T92" fmla="*/ 47868 w 603"/>
                <a:gd name="T93" fmla="*/ 1649 h 409"/>
                <a:gd name="T94" fmla="*/ 46095 w 603"/>
                <a:gd name="T95" fmla="*/ 5771 h 409"/>
                <a:gd name="T96" fmla="*/ 49197 w 603"/>
                <a:gd name="T97" fmla="*/ 8656 h 409"/>
                <a:gd name="T98" fmla="*/ 51414 w 603"/>
                <a:gd name="T99" fmla="*/ 9893 h 409"/>
                <a:gd name="T100" fmla="*/ 52743 w 603"/>
                <a:gd name="T101" fmla="*/ 14839 h 409"/>
                <a:gd name="T102" fmla="*/ 52300 w 603"/>
                <a:gd name="T103" fmla="*/ 18137 h 409"/>
                <a:gd name="T104" fmla="*/ 48311 w 603"/>
                <a:gd name="T105" fmla="*/ 20198 h 409"/>
                <a:gd name="T106" fmla="*/ 48754 w 603"/>
                <a:gd name="T107" fmla="*/ 22259 h 409"/>
                <a:gd name="T108" fmla="*/ 45652 w 603"/>
                <a:gd name="T109" fmla="*/ 23496 h 409"/>
                <a:gd name="T110" fmla="*/ 42549 w 603"/>
                <a:gd name="T111" fmla="*/ 25557 h 409"/>
                <a:gd name="T112" fmla="*/ 36344 w 603"/>
                <a:gd name="T113" fmla="*/ 28854 h 409"/>
                <a:gd name="T114" fmla="*/ 34128 w 603"/>
                <a:gd name="T115" fmla="*/ 30091 h 409"/>
                <a:gd name="T116" fmla="*/ 26593 w 603"/>
                <a:gd name="T117" fmla="*/ 33801 h 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03"/>
                <a:gd name="T178" fmla="*/ 0 h 409"/>
                <a:gd name="T179" fmla="*/ 603 w 603"/>
                <a:gd name="T180" fmla="*/ 409 h 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03" h="409">
                  <a:moveTo>
                    <a:pt x="251" y="389"/>
                  </a:moveTo>
                  <a:lnTo>
                    <a:pt x="248" y="390"/>
                  </a:lnTo>
                  <a:lnTo>
                    <a:pt x="240" y="384"/>
                  </a:lnTo>
                  <a:lnTo>
                    <a:pt x="231" y="382"/>
                  </a:lnTo>
                  <a:lnTo>
                    <a:pt x="221" y="370"/>
                  </a:lnTo>
                  <a:lnTo>
                    <a:pt x="202" y="356"/>
                  </a:lnTo>
                  <a:lnTo>
                    <a:pt x="182" y="348"/>
                  </a:lnTo>
                  <a:lnTo>
                    <a:pt x="170" y="353"/>
                  </a:lnTo>
                  <a:lnTo>
                    <a:pt x="151" y="348"/>
                  </a:lnTo>
                  <a:lnTo>
                    <a:pt x="145" y="352"/>
                  </a:lnTo>
                  <a:lnTo>
                    <a:pt x="135" y="352"/>
                  </a:lnTo>
                  <a:lnTo>
                    <a:pt x="118" y="351"/>
                  </a:lnTo>
                  <a:lnTo>
                    <a:pt x="111" y="357"/>
                  </a:lnTo>
                  <a:lnTo>
                    <a:pt x="102" y="355"/>
                  </a:lnTo>
                  <a:lnTo>
                    <a:pt x="103" y="337"/>
                  </a:lnTo>
                  <a:lnTo>
                    <a:pt x="100" y="324"/>
                  </a:lnTo>
                  <a:lnTo>
                    <a:pt x="113" y="334"/>
                  </a:lnTo>
                  <a:lnTo>
                    <a:pt x="119" y="325"/>
                  </a:lnTo>
                  <a:lnTo>
                    <a:pt x="135" y="319"/>
                  </a:lnTo>
                  <a:lnTo>
                    <a:pt x="150" y="308"/>
                  </a:lnTo>
                  <a:lnTo>
                    <a:pt x="150" y="288"/>
                  </a:lnTo>
                  <a:lnTo>
                    <a:pt x="131" y="293"/>
                  </a:lnTo>
                  <a:lnTo>
                    <a:pt x="141" y="283"/>
                  </a:lnTo>
                  <a:lnTo>
                    <a:pt x="143" y="278"/>
                  </a:lnTo>
                  <a:lnTo>
                    <a:pt x="141" y="270"/>
                  </a:lnTo>
                  <a:lnTo>
                    <a:pt x="150" y="259"/>
                  </a:lnTo>
                  <a:lnTo>
                    <a:pt x="140" y="260"/>
                  </a:lnTo>
                  <a:lnTo>
                    <a:pt x="134" y="271"/>
                  </a:lnTo>
                  <a:lnTo>
                    <a:pt x="128" y="266"/>
                  </a:lnTo>
                  <a:lnTo>
                    <a:pt x="127" y="259"/>
                  </a:lnTo>
                  <a:lnTo>
                    <a:pt x="122" y="260"/>
                  </a:lnTo>
                  <a:lnTo>
                    <a:pt x="120" y="255"/>
                  </a:lnTo>
                  <a:lnTo>
                    <a:pt x="119" y="245"/>
                  </a:lnTo>
                  <a:lnTo>
                    <a:pt x="116" y="228"/>
                  </a:lnTo>
                  <a:lnTo>
                    <a:pt x="108" y="227"/>
                  </a:lnTo>
                  <a:lnTo>
                    <a:pt x="95" y="232"/>
                  </a:lnTo>
                  <a:lnTo>
                    <a:pt x="90" y="227"/>
                  </a:lnTo>
                  <a:lnTo>
                    <a:pt x="81" y="226"/>
                  </a:lnTo>
                  <a:lnTo>
                    <a:pt x="69" y="226"/>
                  </a:lnTo>
                  <a:lnTo>
                    <a:pt x="59" y="228"/>
                  </a:lnTo>
                  <a:lnTo>
                    <a:pt x="49" y="235"/>
                  </a:lnTo>
                  <a:lnTo>
                    <a:pt x="37" y="238"/>
                  </a:lnTo>
                  <a:lnTo>
                    <a:pt x="32" y="232"/>
                  </a:lnTo>
                  <a:lnTo>
                    <a:pt x="33" y="219"/>
                  </a:lnTo>
                  <a:lnTo>
                    <a:pt x="48" y="218"/>
                  </a:lnTo>
                  <a:lnTo>
                    <a:pt x="66" y="213"/>
                  </a:lnTo>
                  <a:lnTo>
                    <a:pt x="73" y="207"/>
                  </a:lnTo>
                  <a:lnTo>
                    <a:pt x="85" y="207"/>
                  </a:lnTo>
                  <a:lnTo>
                    <a:pt x="96" y="197"/>
                  </a:lnTo>
                  <a:lnTo>
                    <a:pt x="102" y="205"/>
                  </a:lnTo>
                  <a:lnTo>
                    <a:pt x="111" y="196"/>
                  </a:lnTo>
                  <a:lnTo>
                    <a:pt x="122" y="200"/>
                  </a:lnTo>
                  <a:lnTo>
                    <a:pt x="144" y="201"/>
                  </a:lnTo>
                  <a:lnTo>
                    <a:pt x="152" y="178"/>
                  </a:lnTo>
                  <a:lnTo>
                    <a:pt x="146" y="180"/>
                  </a:lnTo>
                  <a:lnTo>
                    <a:pt x="140" y="191"/>
                  </a:lnTo>
                  <a:lnTo>
                    <a:pt x="133" y="187"/>
                  </a:lnTo>
                  <a:lnTo>
                    <a:pt x="111" y="184"/>
                  </a:lnTo>
                  <a:lnTo>
                    <a:pt x="111" y="176"/>
                  </a:lnTo>
                  <a:lnTo>
                    <a:pt x="118" y="167"/>
                  </a:lnTo>
                  <a:lnTo>
                    <a:pt x="125" y="165"/>
                  </a:lnTo>
                  <a:lnTo>
                    <a:pt x="130" y="159"/>
                  </a:lnTo>
                  <a:lnTo>
                    <a:pt x="147" y="147"/>
                  </a:lnTo>
                  <a:lnTo>
                    <a:pt x="147" y="144"/>
                  </a:lnTo>
                  <a:lnTo>
                    <a:pt x="138" y="137"/>
                  </a:lnTo>
                  <a:lnTo>
                    <a:pt x="131" y="143"/>
                  </a:lnTo>
                  <a:lnTo>
                    <a:pt x="124" y="143"/>
                  </a:lnTo>
                  <a:lnTo>
                    <a:pt x="124" y="137"/>
                  </a:lnTo>
                  <a:lnTo>
                    <a:pt x="119" y="133"/>
                  </a:lnTo>
                  <a:lnTo>
                    <a:pt x="119" y="136"/>
                  </a:lnTo>
                  <a:lnTo>
                    <a:pt x="116" y="127"/>
                  </a:lnTo>
                  <a:lnTo>
                    <a:pt x="112" y="126"/>
                  </a:lnTo>
                  <a:lnTo>
                    <a:pt x="90" y="124"/>
                  </a:lnTo>
                  <a:lnTo>
                    <a:pt x="82" y="127"/>
                  </a:lnTo>
                  <a:lnTo>
                    <a:pt x="71" y="138"/>
                  </a:lnTo>
                  <a:lnTo>
                    <a:pt x="64" y="138"/>
                  </a:lnTo>
                  <a:lnTo>
                    <a:pt x="48" y="147"/>
                  </a:lnTo>
                  <a:lnTo>
                    <a:pt x="42" y="147"/>
                  </a:lnTo>
                  <a:lnTo>
                    <a:pt x="25" y="137"/>
                  </a:lnTo>
                  <a:lnTo>
                    <a:pt x="0" y="144"/>
                  </a:lnTo>
                  <a:lnTo>
                    <a:pt x="4" y="132"/>
                  </a:lnTo>
                  <a:lnTo>
                    <a:pt x="9" y="122"/>
                  </a:lnTo>
                  <a:lnTo>
                    <a:pt x="15" y="127"/>
                  </a:lnTo>
                  <a:lnTo>
                    <a:pt x="34" y="136"/>
                  </a:lnTo>
                  <a:lnTo>
                    <a:pt x="43" y="130"/>
                  </a:lnTo>
                  <a:lnTo>
                    <a:pt x="31" y="125"/>
                  </a:lnTo>
                  <a:lnTo>
                    <a:pt x="34" y="124"/>
                  </a:lnTo>
                  <a:lnTo>
                    <a:pt x="36" y="116"/>
                  </a:lnTo>
                  <a:lnTo>
                    <a:pt x="26" y="110"/>
                  </a:lnTo>
                  <a:lnTo>
                    <a:pt x="21" y="97"/>
                  </a:lnTo>
                  <a:lnTo>
                    <a:pt x="44" y="108"/>
                  </a:lnTo>
                  <a:lnTo>
                    <a:pt x="53" y="120"/>
                  </a:lnTo>
                  <a:lnTo>
                    <a:pt x="70" y="116"/>
                  </a:lnTo>
                  <a:lnTo>
                    <a:pt x="63" y="111"/>
                  </a:lnTo>
                  <a:lnTo>
                    <a:pt x="68" y="108"/>
                  </a:lnTo>
                  <a:lnTo>
                    <a:pt x="69" y="100"/>
                  </a:lnTo>
                  <a:lnTo>
                    <a:pt x="50" y="103"/>
                  </a:lnTo>
                  <a:lnTo>
                    <a:pt x="41" y="92"/>
                  </a:lnTo>
                  <a:lnTo>
                    <a:pt x="42" y="88"/>
                  </a:lnTo>
                  <a:lnTo>
                    <a:pt x="53" y="86"/>
                  </a:lnTo>
                  <a:lnTo>
                    <a:pt x="44" y="78"/>
                  </a:lnTo>
                  <a:lnTo>
                    <a:pt x="37" y="65"/>
                  </a:lnTo>
                  <a:lnTo>
                    <a:pt x="38" y="67"/>
                  </a:lnTo>
                  <a:lnTo>
                    <a:pt x="52" y="73"/>
                  </a:lnTo>
                  <a:lnTo>
                    <a:pt x="54" y="71"/>
                  </a:lnTo>
                  <a:lnTo>
                    <a:pt x="47" y="59"/>
                  </a:lnTo>
                  <a:lnTo>
                    <a:pt x="58" y="63"/>
                  </a:lnTo>
                  <a:lnTo>
                    <a:pt x="50" y="51"/>
                  </a:lnTo>
                  <a:lnTo>
                    <a:pt x="58" y="47"/>
                  </a:lnTo>
                  <a:lnTo>
                    <a:pt x="77" y="57"/>
                  </a:lnTo>
                  <a:lnTo>
                    <a:pt x="77" y="73"/>
                  </a:lnTo>
                  <a:lnTo>
                    <a:pt x="80" y="74"/>
                  </a:lnTo>
                  <a:lnTo>
                    <a:pt x="87" y="77"/>
                  </a:lnTo>
                  <a:lnTo>
                    <a:pt x="93" y="70"/>
                  </a:lnTo>
                  <a:lnTo>
                    <a:pt x="102" y="79"/>
                  </a:lnTo>
                  <a:lnTo>
                    <a:pt x="104" y="93"/>
                  </a:lnTo>
                  <a:lnTo>
                    <a:pt x="108" y="81"/>
                  </a:lnTo>
                  <a:lnTo>
                    <a:pt x="113" y="93"/>
                  </a:lnTo>
                  <a:lnTo>
                    <a:pt x="119" y="79"/>
                  </a:lnTo>
                  <a:lnTo>
                    <a:pt x="112" y="66"/>
                  </a:lnTo>
                  <a:lnTo>
                    <a:pt x="113" y="60"/>
                  </a:lnTo>
                  <a:lnTo>
                    <a:pt x="97" y="51"/>
                  </a:lnTo>
                  <a:lnTo>
                    <a:pt x="89" y="44"/>
                  </a:lnTo>
                  <a:lnTo>
                    <a:pt x="95" y="33"/>
                  </a:lnTo>
                  <a:lnTo>
                    <a:pt x="103" y="40"/>
                  </a:lnTo>
                  <a:lnTo>
                    <a:pt x="108" y="40"/>
                  </a:lnTo>
                  <a:lnTo>
                    <a:pt x="112" y="38"/>
                  </a:lnTo>
                  <a:lnTo>
                    <a:pt x="103" y="29"/>
                  </a:lnTo>
                  <a:lnTo>
                    <a:pt x="101" y="24"/>
                  </a:lnTo>
                  <a:lnTo>
                    <a:pt x="95" y="24"/>
                  </a:lnTo>
                  <a:lnTo>
                    <a:pt x="85" y="30"/>
                  </a:lnTo>
                  <a:lnTo>
                    <a:pt x="76" y="27"/>
                  </a:lnTo>
                  <a:lnTo>
                    <a:pt x="76" y="25"/>
                  </a:lnTo>
                  <a:lnTo>
                    <a:pt x="80" y="18"/>
                  </a:lnTo>
                  <a:lnTo>
                    <a:pt x="77" y="9"/>
                  </a:lnTo>
                  <a:lnTo>
                    <a:pt x="87" y="11"/>
                  </a:lnTo>
                  <a:lnTo>
                    <a:pt x="87" y="6"/>
                  </a:lnTo>
                  <a:lnTo>
                    <a:pt x="97" y="16"/>
                  </a:lnTo>
                  <a:lnTo>
                    <a:pt x="103" y="13"/>
                  </a:lnTo>
                  <a:lnTo>
                    <a:pt x="109" y="17"/>
                  </a:lnTo>
                  <a:lnTo>
                    <a:pt x="114" y="14"/>
                  </a:lnTo>
                  <a:lnTo>
                    <a:pt x="124" y="33"/>
                  </a:lnTo>
                  <a:lnTo>
                    <a:pt x="139" y="36"/>
                  </a:lnTo>
                  <a:lnTo>
                    <a:pt x="145" y="47"/>
                  </a:lnTo>
                  <a:lnTo>
                    <a:pt x="155" y="60"/>
                  </a:lnTo>
                  <a:lnTo>
                    <a:pt x="166" y="63"/>
                  </a:lnTo>
                  <a:lnTo>
                    <a:pt x="173" y="71"/>
                  </a:lnTo>
                  <a:lnTo>
                    <a:pt x="163" y="78"/>
                  </a:lnTo>
                  <a:lnTo>
                    <a:pt x="174" y="86"/>
                  </a:lnTo>
                  <a:lnTo>
                    <a:pt x="176" y="100"/>
                  </a:lnTo>
                  <a:lnTo>
                    <a:pt x="171" y="104"/>
                  </a:lnTo>
                  <a:lnTo>
                    <a:pt x="170" y="109"/>
                  </a:lnTo>
                  <a:lnTo>
                    <a:pt x="166" y="114"/>
                  </a:lnTo>
                  <a:lnTo>
                    <a:pt x="152" y="106"/>
                  </a:lnTo>
                  <a:lnTo>
                    <a:pt x="156" y="117"/>
                  </a:lnTo>
                  <a:lnTo>
                    <a:pt x="170" y="124"/>
                  </a:lnTo>
                  <a:lnTo>
                    <a:pt x="168" y="133"/>
                  </a:lnTo>
                  <a:lnTo>
                    <a:pt x="174" y="126"/>
                  </a:lnTo>
                  <a:lnTo>
                    <a:pt x="177" y="140"/>
                  </a:lnTo>
                  <a:lnTo>
                    <a:pt x="172" y="146"/>
                  </a:lnTo>
                  <a:lnTo>
                    <a:pt x="181" y="149"/>
                  </a:lnTo>
                  <a:lnTo>
                    <a:pt x="182" y="157"/>
                  </a:lnTo>
                  <a:lnTo>
                    <a:pt x="182" y="175"/>
                  </a:lnTo>
                  <a:lnTo>
                    <a:pt x="189" y="162"/>
                  </a:lnTo>
                  <a:lnTo>
                    <a:pt x="189" y="152"/>
                  </a:lnTo>
                  <a:lnTo>
                    <a:pt x="202" y="151"/>
                  </a:lnTo>
                  <a:lnTo>
                    <a:pt x="202" y="127"/>
                  </a:lnTo>
                  <a:lnTo>
                    <a:pt x="206" y="116"/>
                  </a:lnTo>
                  <a:lnTo>
                    <a:pt x="215" y="117"/>
                  </a:lnTo>
                  <a:lnTo>
                    <a:pt x="217" y="127"/>
                  </a:lnTo>
                  <a:lnTo>
                    <a:pt x="222" y="137"/>
                  </a:lnTo>
                  <a:lnTo>
                    <a:pt x="229" y="127"/>
                  </a:lnTo>
                  <a:lnTo>
                    <a:pt x="232" y="113"/>
                  </a:lnTo>
                  <a:lnTo>
                    <a:pt x="233" y="97"/>
                  </a:lnTo>
                  <a:lnTo>
                    <a:pt x="229" y="72"/>
                  </a:lnTo>
                  <a:lnTo>
                    <a:pt x="227" y="59"/>
                  </a:lnTo>
                  <a:lnTo>
                    <a:pt x="233" y="56"/>
                  </a:lnTo>
                  <a:lnTo>
                    <a:pt x="240" y="59"/>
                  </a:lnTo>
                  <a:lnTo>
                    <a:pt x="256" y="76"/>
                  </a:lnTo>
                  <a:lnTo>
                    <a:pt x="265" y="95"/>
                  </a:lnTo>
                  <a:lnTo>
                    <a:pt x="269" y="106"/>
                  </a:lnTo>
                  <a:lnTo>
                    <a:pt x="275" y="106"/>
                  </a:lnTo>
                  <a:lnTo>
                    <a:pt x="281" y="104"/>
                  </a:lnTo>
                  <a:lnTo>
                    <a:pt x="284" y="88"/>
                  </a:lnTo>
                  <a:lnTo>
                    <a:pt x="283" y="76"/>
                  </a:lnTo>
                  <a:lnTo>
                    <a:pt x="280" y="66"/>
                  </a:lnTo>
                  <a:lnTo>
                    <a:pt x="292" y="61"/>
                  </a:lnTo>
                  <a:lnTo>
                    <a:pt x="299" y="65"/>
                  </a:lnTo>
                  <a:lnTo>
                    <a:pt x="305" y="54"/>
                  </a:lnTo>
                  <a:lnTo>
                    <a:pt x="318" y="45"/>
                  </a:lnTo>
                  <a:lnTo>
                    <a:pt x="318" y="55"/>
                  </a:lnTo>
                  <a:lnTo>
                    <a:pt x="321" y="55"/>
                  </a:lnTo>
                  <a:lnTo>
                    <a:pt x="323" y="61"/>
                  </a:lnTo>
                  <a:lnTo>
                    <a:pt x="331" y="63"/>
                  </a:lnTo>
                  <a:lnTo>
                    <a:pt x="333" y="77"/>
                  </a:lnTo>
                  <a:lnTo>
                    <a:pt x="340" y="84"/>
                  </a:lnTo>
                  <a:lnTo>
                    <a:pt x="346" y="95"/>
                  </a:lnTo>
                  <a:lnTo>
                    <a:pt x="349" y="111"/>
                  </a:lnTo>
                  <a:lnTo>
                    <a:pt x="353" y="117"/>
                  </a:lnTo>
                  <a:lnTo>
                    <a:pt x="355" y="103"/>
                  </a:lnTo>
                  <a:lnTo>
                    <a:pt x="355" y="89"/>
                  </a:lnTo>
                  <a:lnTo>
                    <a:pt x="353" y="81"/>
                  </a:lnTo>
                  <a:lnTo>
                    <a:pt x="344" y="60"/>
                  </a:lnTo>
                  <a:lnTo>
                    <a:pt x="344" y="50"/>
                  </a:lnTo>
                  <a:lnTo>
                    <a:pt x="349" y="47"/>
                  </a:lnTo>
                  <a:lnTo>
                    <a:pt x="360" y="50"/>
                  </a:lnTo>
                  <a:lnTo>
                    <a:pt x="370" y="59"/>
                  </a:lnTo>
                  <a:lnTo>
                    <a:pt x="377" y="72"/>
                  </a:lnTo>
                  <a:lnTo>
                    <a:pt x="387" y="70"/>
                  </a:lnTo>
                  <a:lnTo>
                    <a:pt x="392" y="65"/>
                  </a:lnTo>
                  <a:lnTo>
                    <a:pt x="397" y="55"/>
                  </a:lnTo>
                  <a:lnTo>
                    <a:pt x="397" y="49"/>
                  </a:lnTo>
                  <a:lnTo>
                    <a:pt x="410" y="46"/>
                  </a:lnTo>
                  <a:lnTo>
                    <a:pt x="412" y="56"/>
                  </a:lnTo>
                  <a:lnTo>
                    <a:pt x="424" y="57"/>
                  </a:lnTo>
                  <a:lnTo>
                    <a:pt x="432" y="51"/>
                  </a:lnTo>
                  <a:lnTo>
                    <a:pt x="444" y="50"/>
                  </a:lnTo>
                  <a:lnTo>
                    <a:pt x="444" y="28"/>
                  </a:lnTo>
                  <a:lnTo>
                    <a:pt x="441" y="16"/>
                  </a:lnTo>
                  <a:lnTo>
                    <a:pt x="437" y="7"/>
                  </a:lnTo>
                  <a:lnTo>
                    <a:pt x="448" y="8"/>
                  </a:lnTo>
                  <a:lnTo>
                    <a:pt x="456" y="0"/>
                  </a:lnTo>
                  <a:lnTo>
                    <a:pt x="464" y="1"/>
                  </a:lnTo>
                  <a:lnTo>
                    <a:pt x="468" y="13"/>
                  </a:lnTo>
                  <a:lnTo>
                    <a:pt x="480" y="19"/>
                  </a:lnTo>
                  <a:lnTo>
                    <a:pt x="482" y="31"/>
                  </a:lnTo>
                  <a:lnTo>
                    <a:pt x="479" y="36"/>
                  </a:lnTo>
                  <a:lnTo>
                    <a:pt x="495" y="49"/>
                  </a:lnTo>
                  <a:lnTo>
                    <a:pt x="501" y="49"/>
                  </a:lnTo>
                  <a:lnTo>
                    <a:pt x="504" y="44"/>
                  </a:lnTo>
                  <a:lnTo>
                    <a:pt x="502" y="36"/>
                  </a:lnTo>
                  <a:lnTo>
                    <a:pt x="518" y="36"/>
                  </a:lnTo>
                  <a:lnTo>
                    <a:pt x="523" y="23"/>
                  </a:lnTo>
                  <a:lnTo>
                    <a:pt x="530" y="20"/>
                  </a:lnTo>
                  <a:lnTo>
                    <a:pt x="543" y="19"/>
                  </a:lnTo>
                  <a:lnTo>
                    <a:pt x="547" y="23"/>
                  </a:lnTo>
                  <a:lnTo>
                    <a:pt x="532" y="30"/>
                  </a:lnTo>
                  <a:lnTo>
                    <a:pt x="515" y="59"/>
                  </a:lnTo>
                  <a:lnTo>
                    <a:pt x="518" y="67"/>
                  </a:lnTo>
                  <a:lnTo>
                    <a:pt x="523" y="72"/>
                  </a:lnTo>
                  <a:lnTo>
                    <a:pt x="538" y="63"/>
                  </a:lnTo>
                  <a:lnTo>
                    <a:pt x="542" y="82"/>
                  </a:lnTo>
                  <a:lnTo>
                    <a:pt x="536" y="99"/>
                  </a:lnTo>
                  <a:lnTo>
                    <a:pt x="536" y="109"/>
                  </a:lnTo>
                  <a:lnTo>
                    <a:pt x="560" y="106"/>
                  </a:lnTo>
                  <a:lnTo>
                    <a:pt x="559" y="115"/>
                  </a:lnTo>
                  <a:lnTo>
                    <a:pt x="560" y="124"/>
                  </a:lnTo>
                  <a:lnTo>
                    <a:pt x="576" y="129"/>
                  </a:lnTo>
                  <a:lnTo>
                    <a:pt x="577" y="115"/>
                  </a:lnTo>
                  <a:lnTo>
                    <a:pt x="582" y="120"/>
                  </a:lnTo>
                  <a:lnTo>
                    <a:pt x="593" y="147"/>
                  </a:lnTo>
                  <a:lnTo>
                    <a:pt x="592" y="159"/>
                  </a:lnTo>
                  <a:lnTo>
                    <a:pt x="586" y="165"/>
                  </a:lnTo>
                  <a:lnTo>
                    <a:pt x="592" y="180"/>
                  </a:lnTo>
                  <a:lnTo>
                    <a:pt x="600" y="179"/>
                  </a:lnTo>
                  <a:lnTo>
                    <a:pt x="603" y="174"/>
                  </a:lnTo>
                  <a:lnTo>
                    <a:pt x="603" y="189"/>
                  </a:lnTo>
                  <a:lnTo>
                    <a:pt x="600" y="202"/>
                  </a:lnTo>
                  <a:lnTo>
                    <a:pt x="591" y="206"/>
                  </a:lnTo>
                  <a:lnTo>
                    <a:pt x="591" y="217"/>
                  </a:lnTo>
                  <a:lnTo>
                    <a:pt x="587" y="219"/>
                  </a:lnTo>
                  <a:lnTo>
                    <a:pt x="580" y="229"/>
                  </a:lnTo>
                  <a:lnTo>
                    <a:pt x="560" y="234"/>
                  </a:lnTo>
                  <a:lnTo>
                    <a:pt x="560" y="244"/>
                  </a:lnTo>
                  <a:lnTo>
                    <a:pt x="550" y="243"/>
                  </a:lnTo>
                  <a:lnTo>
                    <a:pt x="553" y="246"/>
                  </a:lnTo>
                  <a:lnTo>
                    <a:pt x="548" y="253"/>
                  </a:lnTo>
                  <a:lnTo>
                    <a:pt x="555" y="254"/>
                  </a:lnTo>
                  <a:lnTo>
                    <a:pt x="565" y="246"/>
                  </a:lnTo>
                  <a:lnTo>
                    <a:pt x="555" y="270"/>
                  </a:lnTo>
                  <a:lnTo>
                    <a:pt x="545" y="282"/>
                  </a:lnTo>
                  <a:lnTo>
                    <a:pt x="532" y="287"/>
                  </a:lnTo>
                  <a:lnTo>
                    <a:pt x="528" y="299"/>
                  </a:lnTo>
                  <a:lnTo>
                    <a:pt x="516" y="292"/>
                  </a:lnTo>
                  <a:lnTo>
                    <a:pt x="516" y="285"/>
                  </a:lnTo>
                  <a:lnTo>
                    <a:pt x="510" y="278"/>
                  </a:lnTo>
                  <a:lnTo>
                    <a:pt x="504" y="277"/>
                  </a:lnTo>
                  <a:lnTo>
                    <a:pt x="501" y="291"/>
                  </a:lnTo>
                  <a:lnTo>
                    <a:pt x="488" y="300"/>
                  </a:lnTo>
                  <a:lnTo>
                    <a:pt x="483" y="309"/>
                  </a:lnTo>
                  <a:lnTo>
                    <a:pt x="467" y="325"/>
                  </a:lnTo>
                  <a:lnTo>
                    <a:pt x="450" y="337"/>
                  </a:lnTo>
                  <a:lnTo>
                    <a:pt x="437" y="345"/>
                  </a:lnTo>
                  <a:lnTo>
                    <a:pt x="423" y="343"/>
                  </a:lnTo>
                  <a:lnTo>
                    <a:pt x="413" y="347"/>
                  </a:lnTo>
                  <a:lnTo>
                    <a:pt x="410" y="341"/>
                  </a:lnTo>
                  <a:lnTo>
                    <a:pt x="404" y="346"/>
                  </a:lnTo>
                  <a:lnTo>
                    <a:pt x="401" y="351"/>
                  </a:lnTo>
                  <a:lnTo>
                    <a:pt x="401" y="359"/>
                  </a:lnTo>
                  <a:lnTo>
                    <a:pt x="385" y="364"/>
                  </a:lnTo>
                  <a:lnTo>
                    <a:pt x="356" y="394"/>
                  </a:lnTo>
                  <a:lnTo>
                    <a:pt x="332" y="402"/>
                  </a:lnTo>
                  <a:lnTo>
                    <a:pt x="324" y="409"/>
                  </a:lnTo>
                  <a:lnTo>
                    <a:pt x="310" y="404"/>
                  </a:lnTo>
                  <a:lnTo>
                    <a:pt x="302" y="407"/>
                  </a:lnTo>
                  <a:lnTo>
                    <a:pt x="291" y="399"/>
                  </a:lnTo>
                  <a:lnTo>
                    <a:pt x="279" y="396"/>
                  </a:lnTo>
                  <a:lnTo>
                    <a:pt x="260" y="388"/>
                  </a:lnTo>
                  <a:lnTo>
                    <a:pt x="251" y="389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grpSp>
          <p:nvGrpSpPr>
            <p:cNvPr id="36" name="Group 166">
              <a:extLst>
                <a:ext uri="{FF2B5EF4-FFF2-40B4-BE49-F238E27FC236}">
                  <a16:creationId xmlns:a16="http://schemas.microsoft.com/office/drawing/2014/main" id="{2D61FAF1-EB19-59AE-46CD-8EB095E99EF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734612" y="339725"/>
              <a:ext cx="3299981" cy="1816925"/>
              <a:chOff x="2730" y="960"/>
              <a:chExt cx="1873" cy="1032"/>
            </a:xfrm>
            <a:grpFill/>
          </p:grpSpPr>
          <p:grpSp>
            <p:nvGrpSpPr>
              <p:cNvPr id="84" name="Group 167">
                <a:extLst>
                  <a:ext uri="{FF2B5EF4-FFF2-40B4-BE49-F238E27FC236}">
                    <a16:creationId xmlns:a16="http://schemas.microsoft.com/office/drawing/2014/main" id="{951B7F39-F9D8-161F-B80F-6BCF4203BE70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044" y="960"/>
                <a:ext cx="1473" cy="481"/>
                <a:chOff x="3044" y="960"/>
                <a:chExt cx="1473" cy="481"/>
              </a:xfrm>
              <a:grpFill/>
            </p:grpSpPr>
            <p:sp>
              <p:nvSpPr>
                <p:cNvPr id="88" name="Freeform 168">
                  <a:extLst>
                    <a:ext uri="{FF2B5EF4-FFF2-40B4-BE49-F238E27FC236}">
                      <a16:creationId xmlns:a16="http://schemas.microsoft.com/office/drawing/2014/main" id="{9E711AD4-F45B-E691-C48D-3CE25508228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044" y="1416"/>
                  <a:ext cx="23" cy="25"/>
                </a:xfrm>
                <a:custGeom>
                  <a:avLst/>
                  <a:gdLst>
                    <a:gd name="T0" fmla="*/ 1 w 116"/>
                    <a:gd name="T1" fmla="*/ 0 h 126"/>
                    <a:gd name="T2" fmla="*/ 1 w 116"/>
                    <a:gd name="T3" fmla="*/ 0 h 126"/>
                    <a:gd name="T4" fmla="*/ 1 w 116"/>
                    <a:gd name="T5" fmla="*/ 0 h 126"/>
                    <a:gd name="T6" fmla="*/ 2 w 116"/>
                    <a:gd name="T7" fmla="*/ 0 h 126"/>
                    <a:gd name="T8" fmla="*/ 2 w 116"/>
                    <a:gd name="T9" fmla="*/ 0 h 126"/>
                    <a:gd name="T10" fmla="*/ 2 w 116"/>
                    <a:gd name="T11" fmla="*/ 0 h 126"/>
                    <a:gd name="T12" fmla="*/ 4 w 116"/>
                    <a:gd name="T13" fmla="*/ 1 h 126"/>
                    <a:gd name="T14" fmla="*/ 4 w 116"/>
                    <a:gd name="T15" fmla="*/ 2 h 126"/>
                    <a:gd name="T16" fmla="*/ 4 w 116"/>
                    <a:gd name="T17" fmla="*/ 2 h 126"/>
                    <a:gd name="T18" fmla="*/ 4 w 116"/>
                    <a:gd name="T19" fmla="*/ 1 h 126"/>
                    <a:gd name="T20" fmla="*/ 4 w 116"/>
                    <a:gd name="T21" fmla="*/ 2 h 126"/>
                    <a:gd name="T22" fmla="*/ 5 w 116"/>
                    <a:gd name="T23" fmla="*/ 3 h 126"/>
                    <a:gd name="T24" fmla="*/ 5 w 116"/>
                    <a:gd name="T25" fmla="*/ 3 h 126"/>
                    <a:gd name="T26" fmla="*/ 4 w 116"/>
                    <a:gd name="T27" fmla="*/ 3 h 126"/>
                    <a:gd name="T28" fmla="*/ 4 w 116"/>
                    <a:gd name="T29" fmla="*/ 3 h 126"/>
                    <a:gd name="T30" fmla="*/ 3 w 116"/>
                    <a:gd name="T31" fmla="*/ 4 h 126"/>
                    <a:gd name="T32" fmla="*/ 2 w 116"/>
                    <a:gd name="T33" fmla="*/ 4 h 126"/>
                    <a:gd name="T34" fmla="*/ 2 w 116"/>
                    <a:gd name="T35" fmla="*/ 4 h 126"/>
                    <a:gd name="T36" fmla="*/ 2 w 116"/>
                    <a:gd name="T37" fmla="*/ 5 h 126"/>
                    <a:gd name="T38" fmla="*/ 1 w 116"/>
                    <a:gd name="T39" fmla="*/ 5 h 126"/>
                    <a:gd name="T40" fmla="*/ 1 w 116"/>
                    <a:gd name="T41" fmla="*/ 5 h 126"/>
                    <a:gd name="T42" fmla="*/ 1 w 116"/>
                    <a:gd name="T43" fmla="*/ 5 h 126"/>
                    <a:gd name="T44" fmla="*/ 1 w 116"/>
                    <a:gd name="T45" fmla="*/ 5 h 126"/>
                    <a:gd name="T46" fmla="*/ 0 w 116"/>
                    <a:gd name="T47" fmla="*/ 4 h 126"/>
                    <a:gd name="T48" fmla="*/ 0 w 116"/>
                    <a:gd name="T49" fmla="*/ 4 h 126"/>
                    <a:gd name="T50" fmla="*/ 0 w 116"/>
                    <a:gd name="T51" fmla="*/ 5 h 126"/>
                    <a:gd name="T52" fmla="*/ 0 w 116"/>
                    <a:gd name="T53" fmla="*/ 5 h 126"/>
                    <a:gd name="T54" fmla="*/ 0 w 116"/>
                    <a:gd name="T55" fmla="*/ 5 h 126"/>
                    <a:gd name="T56" fmla="*/ 0 w 116"/>
                    <a:gd name="T57" fmla="*/ 4 h 126"/>
                    <a:gd name="T58" fmla="*/ 0 w 116"/>
                    <a:gd name="T59" fmla="*/ 4 h 126"/>
                    <a:gd name="T60" fmla="*/ 0 w 116"/>
                    <a:gd name="T61" fmla="*/ 2 h 126"/>
                    <a:gd name="T62" fmla="*/ 0 w 116"/>
                    <a:gd name="T63" fmla="*/ 2 h 126"/>
                    <a:gd name="T64" fmla="*/ 1 w 116"/>
                    <a:gd name="T65" fmla="*/ 1 h 126"/>
                    <a:gd name="T66" fmla="*/ 1 w 116"/>
                    <a:gd name="T67" fmla="*/ 0 h 12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116"/>
                    <a:gd name="T103" fmla="*/ 0 h 126"/>
                    <a:gd name="T104" fmla="*/ 116 w 116"/>
                    <a:gd name="T105" fmla="*/ 126 h 12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116" h="126">
                      <a:moveTo>
                        <a:pt x="27" y="8"/>
                      </a:moveTo>
                      <a:lnTo>
                        <a:pt x="29" y="5"/>
                      </a:lnTo>
                      <a:lnTo>
                        <a:pt x="34" y="3"/>
                      </a:lnTo>
                      <a:lnTo>
                        <a:pt x="38" y="7"/>
                      </a:lnTo>
                      <a:lnTo>
                        <a:pt x="49" y="0"/>
                      </a:lnTo>
                      <a:lnTo>
                        <a:pt x="54" y="0"/>
                      </a:lnTo>
                      <a:lnTo>
                        <a:pt x="94" y="37"/>
                      </a:lnTo>
                      <a:lnTo>
                        <a:pt x="100" y="51"/>
                      </a:lnTo>
                      <a:lnTo>
                        <a:pt x="105" y="53"/>
                      </a:lnTo>
                      <a:lnTo>
                        <a:pt x="105" y="34"/>
                      </a:lnTo>
                      <a:lnTo>
                        <a:pt x="109" y="49"/>
                      </a:lnTo>
                      <a:lnTo>
                        <a:pt x="116" y="65"/>
                      </a:lnTo>
                      <a:lnTo>
                        <a:pt x="115" y="78"/>
                      </a:lnTo>
                      <a:lnTo>
                        <a:pt x="109" y="64"/>
                      </a:lnTo>
                      <a:lnTo>
                        <a:pt x="97" y="76"/>
                      </a:lnTo>
                      <a:lnTo>
                        <a:pt x="77" y="105"/>
                      </a:lnTo>
                      <a:lnTo>
                        <a:pt x="63" y="113"/>
                      </a:lnTo>
                      <a:lnTo>
                        <a:pt x="55" y="113"/>
                      </a:lnTo>
                      <a:lnTo>
                        <a:pt x="45" y="124"/>
                      </a:lnTo>
                      <a:lnTo>
                        <a:pt x="35" y="125"/>
                      </a:lnTo>
                      <a:lnTo>
                        <a:pt x="30" y="118"/>
                      </a:lnTo>
                      <a:lnTo>
                        <a:pt x="28" y="126"/>
                      </a:lnTo>
                      <a:lnTo>
                        <a:pt x="19" y="118"/>
                      </a:lnTo>
                      <a:lnTo>
                        <a:pt x="12" y="105"/>
                      </a:lnTo>
                      <a:lnTo>
                        <a:pt x="6" y="105"/>
                      </a:lnTo>
                      <a:lnTo>
                        <a:pt x="4" y="118"/>
                      </a:lnTo>
                      <a:lnTo>
                        <a:pt x="8" y="125"/>
                      </a:lnTo>
                      <a:lnTo>
                        <a:pt x="2" y="115"/>
                      </a:lnTo>
                      <a:lnTo>
                        <a:pt x="0" y="104"/>
                      </a:lnTo>
                      <a:lnTo>
                        <a:pt x="2" y="91"/>
                      </a:lnTo>
                      <a:lnTo>
                        <a:pt x="3" y="56"/>
                      </a:lnTo>
                      <a:lnTo>
                        <a:pt x="7" y="41"/>
                      </a:lnTo>
                      <a:lnTo>
                        <a:pt x="19" y="17"/>
                      </a:lnTo>
                      <a:lnTo>
                        <a:pt x="27" y="8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rgbClr val="77E2C3">
                      <a:lumMod val="40000"/>
                      <a:lumOff val="6000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77898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313C"/>
                    </a:solidFill>
                    <a:effectLst/>
                    <a:uLnTx/>
                    <a:uFillTx/>
                    <a:latin typeface="Arial"/>
                    <a:cs typeface="+mn-cs"/>
                  </a:endParaRPr>
                </a:p>
              </p:txBody>
            </p:sp>
            <p:sp>
              <p:nvSpPr>
                <p:cNvPr id="89" name="Freeform 169">
                  <a:extLst>
                    <a:ext uri="{FF2B5EF4-FFF2-40B4-BE49-F238E27FC236}">
                      <a16:creationId xmlns:a16="http://schemas.microsoft.com/office/drawing/2014/main" id="{47CD85CF-2311-92B6-BB3E-6D79EF0DED6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605" y="995"/>
                  <a:ext cx="67" cy="84"/>
                </a:xfrm>
                <a:custGeom>
                  <a:avLst/>
                  <a:gdLst>
                    <a:gd name="T0" fmla="*/ 2 w 337"/>
                    <a:gd name="T1" fmla="*/ 11 h 418"/>
                    <a:gd name="T2" fmla="*/ 2 w 337"/>
                    <a:gd name="T3" fmla="*/ 10 h 418"/>
                    <a:gd name="T4" fmla="*/ 3 w 337"/>
                    <a:gd name="T5" fmla="*/ 7 h 418"/>
                    <a:gd name="T6" fmla="*/ 4 w 337"/>
                    <a:gd name="T7" fmla="*/ 8 h 418"/>
                    <a:gd name="T8" fmla="*/ 3 w 337"/>
                    <a:gd name="T9" fmla="*/ 6 h 418"/>
                    <a:gd name="T10" fmla="*/ 4 w 337"/>
                    <a:gd name="T11" fmla="*/ 5 h 418"/>
                    <a:gd name="T12" fmla="*/ 4 w 337"/>
                    <a:gd name="T13" fmla="*/ 5 h 418"/>
                    <a:gd name="T14" fmla="*/ 4 w 337"/>
                    <a:gd name="T15" fmla="*/ 4 h 418"/>
                    <a:gd name="T16" fmla="*/ 4 w 337"/>
                    <a:gd name="T17" fmla="*/ 4 h 418"/>
                    <a:gd name="T18" fmla="*/ 5 w 337"/>
                    <a:gd name="T19" fmla="*/ 2 h 418"/>
                    <a:gd name="T20" fmla="*/ 5 w 337"/>
                    <a:gd name="T21" fmla="*/ 1 h 418"/>
                    <a:gd name="T22" fmla="*/ 5 w 337"/>
                    <a:gd name="T23" fmla="*/ 2 h 418"/>
                    <a:gd name="T24" fmla="*/ 6 w 337"/>
                    <a:gd name="T25" fmla="*/ 2 h 418"/>
                    <a:gd name="T26" fmla="*/ 6 w 337"/>
                    <a:gd name="T27" fmla="*/ 1 h 418"/>
                    <a:gd name="T28" fmla="*/ 8 w 337"/>
                    <a:gd name="T29" fmla="*/ 0 h 418"/>
                    <a:gd name="T30" fmla="*/ 8 w 337"/>
                    <a:gd name="T31" fmla="*/ 1 h 418"/>
                    <a:gd name="T32" fmla="*/ 8 w 337"/>
                    <a:gd name="T33" fmla="*/ 1 h 418"/>
                    <a:gd name="T34" fmla="*/ 8 w 337"/>
                    <a:gd name="T35" fmla="*/ 3 h 418"/>
                    <a:gd name="T36" fmla="*/ 8 w 337"/>
                    <a:gd name="T37" fmla="*/ 4 h 418"/>
                    <a:gd name="T38" fmla="*/ 8 w 337"/>
                    <a:gd name="T39" fmla="*/ 4 h 418"/>
                    <a:gd name="T40" fmla="*/ 9 w 337"/>
                    <a:gd name="T41" fmla="*/ 3 h 418"/>
                    <a:gd name="T42" fmla="*/ 9 w 337"/>
                    <a:gd name="T43" fmla="*/ 3 h 418"/>
                    <a:gd name="T44" fmla="*/ 9 w 337"/>
                    <a:gd name="T45" fmla="*/ 4 h 418"/>
                    <a:gd name="T46" fmla="*/ 10 w 337"/>
                    <a:gd name="T47" fmla="*/ 3 h 418"/>
                    <a:gd name="T48" fmla="*/ 10 w 337"/>
                    <a:gd name="T49" fmla="*/ 4 h 418"/>
                    <a:gd name="T50" fmla="*/ 10 w 337"/>
                    <a:gd name="T51" fmla="*/ 5 h 418"/>
                    <a:gd name="T52" fmla="*/ 11 w 337"/>
                    <a:gd name="T53" fmla="*/ 5 h 418"/>
                    <a:gd name="T54" fmla="*/ 11 w 337"/>
                    <a:gd name="T55" fmla="*/ 4 h 418"/>
                    <a:gd name="T56" fmla="*/ 12 w 337"/>
                    <a:gd name="T57" fmla="*/ 7 h 418"/>
                    <a:gd name="T58" fmla="*/ 13 w 337"/>
                    <a:gd name="T59" fmla="*/ 8 h 418"/>
                    <a:gd name="T60" fmla="*/ 13 w 337"/>
                    <a:gd name="T61" fmla="*/ 9 h 418"/>
                    <a:gd name="T62" fmla="*/ 13 w 337"/>
                    <a:gd name="T63" fmla="*/ 10 h 418"/>
                    <a:gd name="T64" fmla="*/ 13 w 337"/>
                    <a:gd name="T65" fmla="*/ 13 h 418"/>
                    <a:gd name="T66" fmla="*/ 12 w 337"/>
                    <a:gd name="T67" fmla="*/ 13 h 418"/>
                    <a:gd name="T68" fmla="*/ 10 w 337"/>
                    <a:gd name="T69" fmla="*/ 14 h 418"/>
                    <a:gd name="T70" fmla="*/ 9 w 337"/>
                    <a:gd name="T71" fmla="*/ 14 h 418"/>
                    <a:gd name="T72" fmla="*/ 8 w 337"/>
                    <a:gd name="T73" fmla="*/ 14 h 418"/>
                    <a:gd name="T74" fmla="*/ 8 w 337"/>
                    <a:gd name="T75" fmla="*/ 14 h 418"/>
                    <a:gd name="T76" fmla="*/ 6 w 337"/>
                    <a:gd name="T77" fmla="*/ 14 h 418"/>
                    <a:gd name="T78" fmla="*/ 5 w 337"/>
                    <a:gd name="T79" fmla="*/ 14 h 418"/>
                    <a:gd name="T80" fmla="*/ 4 w 337"/>
                    <a:gd name="T81" fmla="*/ 15 h 418"/>
                    <a:gd name="T82" fmla="*/ 3 w 337"/>
                    <a:gd name="T83" fmla="*/ 15 h 418"/>
                    <a:gd name="T84" fmla="*/ 2 w 337"/>
                    <a:gd name="T85" fmla="*/ 16 h 418"/>
                    <a:gd name="T86" fmla="*/ 0 w 337"/>
                    <a:gd name="T87" fmla="*/ 17 h 418"/>
                    <a:gd name="T88" fmla="*/ 0 w 337"/>
                    <a:gd name="T89" fmla="*/ 16 h 418"/>
                    <a:gd name="T90" fmla="*/ 0 w 337"/>
                    <a:gd name="T91" fmla="*/ 16 h 418"/>
                    <a:gd name="T92" fmla="*/ 0 w 337"/>
                    <a:gd name="T93" fmla="*/ 14 h 418"/>
                    <a:gd name="T94" fmla="*/ 1 w 337"/>
                    <a:gd name="T95" fmla="*/ 12 h 418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337"/>
                    <a:gd name="T145" fmla="*/ 0 h 418"/>
                    <a:gd name="T146" fmla="*/ 337 w 337"/>
                    <a:gd name="T147" fmla="*/ 418 h 418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337" h="418">
                      <a:moveTo>
                        <a:pt x="33" y="286"/>
                      </a:moveTo>
                      <a:lnTo>
                        <a:pt x="42" y="277"/>
                      </a:lnTo>
                      <a:lnTo>
                        <a:pt x="42" y="269"/>
                      </a:lnTo>
                      <a:lnTo>
                        <a:pt x="52" y="238"/>
                      </a:lnTo>
                      <a:lnTo>
                        <a:pt x="49" y="228"/>
                      </a:lnTo>
                      <a:lnTo>
                        <a:pt x="66" y="185"/>
                      </a:lnTo>
                      <a:lnTo>
                        <a:pt x="85" y="202"/>
                      </a:lnTo>
                      <a:lnTo>
                        <a:pt x="96" y="201"/>
                      </a:lnTo>
                      <a:lnTo>
                        <a:pt x="80" y="183"/>
                      </a:lnTo>
                      <a:lnTo>
                        <a:pt x="80" y="149"/>
                      </a:lnTo>
                      <a:lnTo>
                        <a:pt x="81" y="131"/>
                      </a:lnTo>
                      <a:lnTo>
                        <a:pt x="92" y="119"/>
                      </a:lnTo>
                      <a:lnTo>
                        <a:pt x="100" y="118"/>
                      </a:lnTo>
                      <a:lnTo>
                        <a:pt x="93" y="115"/>
                      </a:lnTo>
                      <a:lnTo>
                        <a:pt x="93" y="103"/>
                      </a:lnTo>
                      <a:lnTo>
                        <a:pt x="100" y="94"/>
                      </a:lnTo>
                      <a:lnTo>
                        <a:pt x="109" y="92"/>
                      </a:lnTo>
                      <a:lnTo>
                        <a:pt x="105" y="88"/>
                      </a:lnTo>
                      <a:lnTo>
                        <a:pt x="105" y="73"/>
                      </a:lnTo>
                      <a:lnTo>
                        <a:pt x="124" y="52"/>
                      </a:lnTo>
                      <a:lnTo>
                        <a:pt x="125" y="44"/>
                      </a:lnTo>
                      <a:lnTo>
                        <a:pt x="124" y="29"/>
                      </a:lnTo>
                      <a:lnTo>
                        <a:pt x="130" y="24"/>
                      </a:lnTo>
                      <a:lnTo>
                        <a:pt x="136" y="39"/>
                      </a:lnTo>
                      <a:lnTo>
                        <a:pt x="139" y="56"/>
                      </a:lnTo>
                      <a:lnTo>
                        <a:pt x="155" y="62"/>
                      </a:lnTo>
                      <a:lnTo>
                        <a:pt x="157" y="48"/>
                      </a:lnTo>
                      <a:lnTo>
                        <a:pt x="155" y="16"/>
                      </a:lnTo>
                      <a:lnTo>
                        <a:pt x="166" y="0"/>
                      </a:lnTo>
                      <a:lnTo>
                        <a:pt x="194" y="12"/>
                      </a:lnTo>
                      <a:lnTo>
                        <a:pt x="194" y="36"/>
                      </a:lnTo>
                      <a:lnTo>
                        <a:pt x="195" y="29"/>
                      </a:lnTo>
                      <a:lnTo>
                        <a:pt x="200" y="23"/>
                      </a:lnTo>
                      <a:lnTo>
                        <a:pt x="208" y="30"/>
                      </a:lnTo>
                      <a:lnTo>
                        <a:pt x="208" y="43"/>
                      </a:lnTo>
                      <a:lnTo>
                        <a:pt x="195" y="73"/>
                      </a:lnTo>
                      <a:lnTo>
                        <a:pt x="197" y="94"/>
                      </a:lnTo>
                      <a:lnTo>
                        <a:pt x="194" y="108"/>
                      </a:lnTo>
                      <a:lnTo>
                        <a:pt x="194" y="122"/>
                      </a:lnTo>
                      <a:lnTo>
                        <a:pt x="209" y="103"/>
                      </a:lnTo>
                      <a:lnTo>
                        <a:pt x="219" y="84"/>
                      </a:lnTo>
                      <a:lnTo>
                        <a:pt x="219" y="66"/>
                      </a:lnTo>
                      <a:lnTo>
                        <a:pt x="224" y="65"/>
                      </a:lnTo>
                      <a:lnTo>
                        <a:pt x="233" y="79"/>
                      </a:lnTo>
                      <a:lnTo>
                        <a:pt x="236" y="94"/>
                      </a:lnTo>
                      <a:lnTo>
                        <a:pt x="238" y="99"/>
                      </a:lnTo>
                      <a:lnTo>
                        <a:pt x="245" y="88"/>
                      </a:lnTo>
                      <a:lnTo>
                        <a:pt x="249" y="72"/>
                      </a:lnTo>
                      <a:lnTo>
                        <a:pt x="258" y="77"/>
                      </a:lnTo>
                      <a:lnTo>
                        <a:pt x="262" y="95"/>
                      </a:lnTo>
                      <a:lnTo>
                        <a:pt x="259" y="110"/>
                      </a:lnTo>
                      <a:lnTo>
                        <a:pt x="261" y="119"/>
                      </a:lnTo>
                      <a:lnTo>
                        <a:pt x="267" y="131"/>
                      </a:lnTo>
                      <a:lnTo>
                        <a:pt x="273" y="131"/>
                      </a:lnTo>
                      <a:lnTo>
                        <a:pt x="272" y="118"/>
                      </a:lnTo>
                      <a:lnTo>
                        <a:pt x="279" y="110"/>
                      </a:lnTo>
                      <a:lnTo>
                        <a:pt x="284" y="137"/>
                      </a:lnTo>
                      <a:lnTo>
                        <a:pt x="292" y="163"/>
                      </a:lnTo>
                      <a:lnTo>
                        <a:pt x="326" y="184"/>
                      </a:lnTo>
                      <a:lnTo>
                        <a:pt x="334" y="195"/>
                      </a:lnTo>
                      <a:lnTo>
                        <a:pt x="337" y="217"/>
                      </a:lnTo>
                      <a:lnTo>
                        <a:pt x="337" y="234"/>
                      </a:lnTo>
                      <a:lnTo>
                        <a:pt x="333" y="245"/>
                      </a:lnTo>
                      <a:lnTo>
                        <a:pt x="337" y="259"/>
                      </a:lnTo>
                      <a:lnTo>
                        <a:pt x="337" y="276"/>
                      </a:lnTo>
                      <a:lnTo>
                        <a:pt x="318" y="312"/>
                      </a:lnTo>
                      <a:lnTo>
                        <a:pt x="307" y="323"/>
                      </a:lnTo>
                      <a:lnTo>
                        <a:pt x="301" y="317"/>
                      </a:lnTo>
                      <a:lnTo>
                        <a:pt x="280" y="321"/>
                      </a:lnTo>
                      <a:lnTo>
                        <a:pt x="242" y="344"/>
                      </a:lnTo>
                      <a:lnTo>
                        <a:pt x="226" y="341"/>
                      </a:lnTo>
                      <a:lnTo>
                        <a:pt x="216" y="347"/>
                      </a:lnTo>
                      <a:lnTo>
                        <a:pt x="205" y="344"/>
                      </a:lnTo>
                      <a:lnTo>
                        <a:pt x="200" y="346"/>
                      </a:lnTo>
                      <a:lnTo>
                        <a:pt x="199" y="355"/>
                      </a:lnTo>
                      <a:lnTo>
                        <a:pt x="190" y="360"/>
                      </a:lnTo>
                      <a:lnTo>
                        <a:pt x="176" y="342"/>
                      </a:lnTo>
                      <a:lnTo>
                        <a:pt x="149" y="352"/>
                      </a:lnTo>
                      <a:lnTo>
                        <a:pt x="143" y="346"/>
                      </a:lnTo>
                      <a:lnTo>
                        <a:pt x="133" y="352"/>
                      </a:lnTo>
                      <a:lnTo>
                        <a:pt x="98" y="350"/>
                      </a:lnTo>
                      <a:lnTo>
                        <a:pt x="92" y="368"/>
                      </a:lnTo>
                      <a:lnTo>
                        <a:pt x="86" y="371"/>
                      </a:lnTo>
                      <a:lnTo>
                        <a:pt x="77" y="385"/>
                      </a:lnTo>
                      <a:lnTo>
                        <a:pt x="53" y="396"/>
                      </a:lnTo>
                      <a:lnTo>
                        <a:pt x="41" y="409"/>
                      </a:lnTo>
                      <a:lnTo>
                        <a:pt x="33" y="418"/>
                      </a:lnTo>
                      <a:lnTo>
                        <a:pt x="6" y="416"/>
                      </a:lnTo>
                      <a:lnTo>
                        <a:pt x="7" y="409"/>
                      </a:lnTo>
                      <a:lnTo>
                        <a:pt x="12" y="398"/>
                      </a:lnTo>
                      <a:lnTo>
                        <a:pt x="11" y="387"/>
                      </a:lnTo>
                      <a:lnTo>
                        <a:pt x="0" y="393"/>
                      </a:lnTo>
                      <a:lnTo>
                        <a:pt x="4" y="366"/>
                      </a:lnTo>
                      <a:lnTo>
                        <a:pt x="9" y="355"/>
                      </a:lnTo>
                      <a:lnTo>
                        <a:pt x="38" y="302"/>
                      </a:lnTo>
                      <a:lnTo>
                        <a:pt x="33" y="297"/>
                      </a:lnTo>
                      <a:lnTo>
                        <a:pt x="33" y="286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rgbClr val="77E2C3">
                      <a:lumMod val="40000"/>
                      <a:lumOff val="6000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77898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313C"/>
                    </a:solidFill>
                    <a:effectLst/>
                    <a:uLnTx/>
                    <a:uFillTx/>
                    <a:latin typeface="Arial"/>
                    <a:cs typeface="+mn-cs"/>
                  </a:endParaRPr>
                </a:p>
              </p:txBody>
            </p:sp>
            <p:sp>
              <p:nvSpPr>
                <p:cNvPr id="90" name="Freeform 170">
                  <a:extLst>
                    <a:ext uri="{FF2B5EF4-FFF2-40B4-BE49-F238E27FC236}">
                      <a16:creationId xmlns:a16="http://schemas.microsoft.com/office/drawing/2014/main" id="{DD67D284-D608-6D96-A028-530B55488EA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015" y="1163"/>
                  <a:ext cx="73" cy="67"/>
                </a:xfrm>
                <a:custGeom>
                  <a:avLst/>
                  <a:gdLst>
                    <a:gd name="T0" fmla="*/ 7 w 365"/>
                    <a:gd name="T1" fmla="*/ 4 h 334"/>
                    <a:gd name="T2" fmla="*/ 7 w 365"/>
                    <a:gd name="T3" fmla="*/ 4 h 334"/>
                    <a:gd name="T4" fmla="*/ 8 w 365"/>
                    <a:gd name="T5" fmla="*/ 4 h 334"/>
                    <a:gd name="T6" fmla="*/ 8 w 365"/>
                    <a:gd name="T7" fmla="*/ 5 h 334"/>
                    <a:gd name="T8" fmla="*/ 8 w 365"/>
                    <a:gd name="T9" fmla="*/ 5 h 334"/>
                    <a:gd name="T10" fmla="*/ 8 w 365"/>
                    <a:gd name="T11" fmla="*/ 5 h 334"/>
                    <a:gd name="T12" fmla="*/ 9 w 365"/>
                    <a:gd name="T13" fmla="*/ 5 h 334"/>
                    <a:gd name="T14" fmla="*/ 9 w 365"/>
                    <a:gd name="T15" fmla="*/ 5 h 334"/>
                    <a:gd name="T16" fmla="*/ 9 w 365"/>
                    <a:gd name="T17" fmla="*/ 4 h 334"/>
                    <a:gd name="T18" fmla="*/ 9 w 365"/>
                    <a:gd name="T19" fmla="*/ 2 h 334"/>
                    <a:gd name="T20" fmla="*/ 9 w 365"/>
                    <a:gd name="T21" fmla="*/ 1 h 334"/>
                    <a:gd name="T22" fmla="*/ 11 w 365"/>
                    <a:gd name="T23" fmla="*/ 2 h 334"/>
                    <a:gd name="T24" fmla="*/ 12 w 365"/>
                    <a:gd name="T25" fmla="*/ 4 h 334"/>
                    <a:gd name="T26" fmla="*/ 12 w 365"/>
                    <a:gd name="T27" fmla="*/ 4 h 334"/>
                    <a:gd name="T28" fmla="*/ 13 w 365"/>
                    <a:gd name="T29" fmla="*/ 5 h 334"/>
                    <a:gd name="T30" fmla="*/ 12 w 365"/>
                    <a:gd name="T31" fmla="*/ 6 h 334"/>
                    <a:gd name="T32" fmla="*/ 12 w 365"/>
                    <a:gd name="T33" fmla="*/ 7 h 334"/>
                    <a:gd name="T34" fmla="*/ 12 w 365"/>
                    <a:gd name="T35" fmla="*/ 8 h 334"/>
                    <a:gd name="T36" fmla="*/ 12 w 365"/>
                    <a:gd name="T37" fmla="*/ 9 h 334"/>
                    <a:gd name="T38" fmla="*/ 14 w 365"/>
                    <a:gd name="T39" fmla="*/ 10 h 334"/>
                    <a:gd name="T40" fmla="*/ 15 w 365"/>
                    <a:gd name="T41" fmla="*/ 11 h 334"/>
                    <a:gd name="T42" fmla="*/ 14 w 365"/>
                    <a:gd name="T43" fmla="*/ 12 h 334"/>
                    <a:gd name="T44" fmla="*/ 13 w 365"/>
                    <a:gd name="T45" fmla="*/ 12 h 334"/>
                    <a:gd name="T46" fmla="*/ 12 w 365"/>
                    <a:gd name="T47" fmla="*/ 12 h 334"/>
                    <a:gd name="T48" fmla="*/ 11 w 365"/>
                    <a:gd name="T49" fmla="*/ 11 h 334"/>
                    <a:gd name="T50" fmla="*/ 11 w 365"/>
                    <a:gd name="T51" fmla="*/ 10 h 334"/>
                    <a:gd name="T52" fmla="*/ 10 w 365"/>
                    <a:gd name="T53" fmla="*/ 11 h 334"/>
                    <a:gd name="T54" fmla="*/ 8 w 365"/>
                    <a:gd name="T55" fmla="*/ 12 h 334"/>
                    <a:gd name="T56" fmla="*/ 7 w 365"/>
                    <a:gd name="T57" fmla="*/ 12 h 334"/>
                    <a:gd name="T58" fmla="*/ 7 w 365"/>
                    <a:gd name="T59" fmla="*/ 12 h 334"/>
                    <a:gd name="T60" fmla="*/ 7 w 365"/>
                    <a:gd name="T61" fmla="*/ 12 h 334"/>
                    <a:gd name="T62" fmla="*/ 6 w 365"/>
                    <a:gd name="T63" fmla="*/ 10 h 334"/>
                    <a:gd name="T64" fmla="*/ 6 w 365"/>
                    <a:gd name="T65" fmla="*/ 12 h 334"/>
                    <a:gd name="T66" fmla="*/ 6 w 365"/>
                    <a:gd name="T67" fmla="*/ 12 h 334"/>
                    <a:gd name="T68" fmla="*/ 6 w 365"/>
                    <a:gd name="T69" fmla="*/ 13 h 334"/>
                    <a:gd name="T70" fmla="*/ 5 w 365"/>
                    <a:gd name="T71" fmla="*/ 13 h 334"/>
                    <a:gd name="T72" fmla="*/ 3 w 365"/>
                    <a:gd name="T73" fmla="*/ 12 h 334"/>
                    <a:gd name="T74" fmla="*/ 2 w 365"/>
                    <a:gd name="T75" fmla="*/ 10 h 334"/>
                    <a:gd name="T76" fmla="*/ 1 w 365"/>
                    <a:gd name="T77" fmla="*/ 10 h 334"/>
                    <a:gd name="T78" fmla="*/ 0 w 365"/>
                    <a:gd name="T79" fmla="*/ 8 h 334"/>
                    <a:gd name="T80" fmla="*/ 1 w 365"/>
                    <a:gd name="T81" fmla="*/ 8 h 334"/>
                    <a:gd name="T82" fmla="*/ 1 w 365"/>
                    <a:gd name="T83" fmla="*/ 7 h 334"/>
                    <a:gd name="T84" fmla="*/ 1 w 365"/>
                    <a:gd name="T85" fmla="*/ 7 h 334"/>
                    <a:gd name="T86" fmla="*/ 1 w 365"/>
                    <a:gd name="T87" fmla="*/ 7 h 334"/>
                    <a:gd name="T88" fmla="*/ 1 w 365"/>
                    <a:gd name="T89" fmla="*/ 6 h 334"/>
                    <a:gd name="T90" fmla="*/ 0 w 365"/>
                    <a:gd name="T91" fmla="*/ 6 h 334"/>
                    <a:gd name="T92" fmla="*/ 1 w 365"/>
                    <a:gd name="T93" fmla="*/ 6 h 334"/>
                    <a:gd name="T94" fmla="*/ 1 w 365"/>
                    <a:gd name="T95" fmla="*/ 5 h 334"/>
                    <a:gd name="T96" fmla="*/ 1 w 365"/>
                    <a:gd name="T97" fmla="*/ 4 h 334"/>
                    <a:gd name="T98" fmla="*/ 2 w 365"/>
                    <a:gd name="T99" fmla="*/ 4 h 334"/>
                    <a:gd name="T100" fmla="*/ 1 w 365"/>
                    <a:gd name="T101" fmla="*/ 4 h 334"/>
                    <a:gd name="T102" fmla="*/ 1 w 365"/>
                    <a:gd name="T103" fmla="*/ 3 h 334"/>
                    <a:gd name="T104" fmla="*/ 1 w 365"/>
                    <a:gd name="T105" fmla="*/ 2 h 334"/>
                    <a:gd name="T106" fmla="*/ 3 w 365"/>
                    <a:gd name="T107" fmla="*/ 2 h 334"/>
                    <a:gd name="T108" fmla="*/ 3 w 365"/>
                    <a:gd name="T109" fmla="*/ 1 h 334"/>
                    <a:gd name="T110" fmla="*/ 5 w 365"/>
                    <a:gd name="T111" fmla="*/ 0 h 334"/>
                    <a:gd name="T112" fmla="*/ 5 w 365"/>
                    <a:gd name="T113" fmla="*/ 1 h 334"/>
                    <a:gd name="T114" fmla="*/ 6 w 365"/>
                    <a:gd name="T115" fmla="*/ 2 h 334"/>
                    <a:gd name="T116" fmla="*/ 6 w 365"/>
                    <a:gd name="T117" fmla="*/ 2 h 334"/>
                    <a:gd name="T118" fmla="*/ 7 w 365"/>
                    <a:gd name="T119" fmla="*/ 3 h 334"/>
                    <a:gd name="T120" fmla="*/ 7 w 365"/>
                    <a:gd name="T121" fmla="*/ 3 h 334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365"/>
                    <a:gd name="T184" fmla="*/ 0 h 334"/>
                    <a:gd name="T185" fmla="*/ 365 w 365"/>
                    <a:gd name="T186" fmla="*/ 334 h 334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365" h="334">
                      <a:moveTo>
                        <a:pt x="178" y="86"/>
                      </a:moveTo>
                      <a:lnTo>
                        <a:pt x="179" y="89"/>
                      </a:lnTo>
                      <a:lnTo>
                        <a:pt x="180" y="95"/>
                      </a:lnTo>
                      <a:lnTo>
                        <a:pt x="185" y="89"/>
                      </a:lnTo>
                      <a:lnTo>
                        <a:pt x="201" y="94"/>
                      </a:lnTo>
                      <a:lnTo>
                        <a:pt x="200" y="103"/>
                      </a:lnTo>
                      <a:lnTo>
                        <a:pt x="201" y="106"/>
                      </a:lnTo>
                      <a:lnTo>
                        <a:pt x="194" y="120"/>
                      </a:lnTo>
                      <a:lnTo>
                        <a:pt x="196" y="121"/>
                      </a:lnTo>
                      <a:lnTo>
                        <a:pt x="195" y="127"/>
                      </a:lnTo>
                      <a:lnTo>
                        <a:pt x="198" y="135"/>
                      </a:lnTo>
                      <a:lnTo>
                        <a:pt x="205" y="132"/>
                      </a:lnTo>
                      <a:lnTo>
                        <a:pt x="210" y="138"/>
                      </a:lnTo>
                      <a:lnTo>
                        <a:pt x="216" y="133"/>
                      </a:lnTo>
                      <a:lnTo>
                        <a:pt x="226" y="137"/>
                      </a:lnTo>
                      <a:lnTo>
                        <a:pt x="228" y="133"/>
                      </a:lnTo>
                      <a:lnTo>
                        <a:pt x="228" y="109"/>
                      </a:lnTo>
                      <a:lnTo>
                        <a:pt x="233" y="103"/>
                      </a:lnTo>
                      <a:lnTo>
                        <a:pt x="226" y="92"/>
                      </a:lnTo>
                      <a:lnTo>
                        <a:pt x="225" y="60"/>
                      </a:lnTo>
                      <a:lnTo>
                        <a:pt x="225" y="47"/>
                      </a:lnTo>
                      <a:lnTo>
                        <a:pt x="235" y="34"/>
                      </a:lnTo>
                      <a:lnTo>
                        <a:pt x="242" y="30"/>
                      </a:lnTo>
                      <a:lnTo>
                        <a:pt x="268" y="49"/>
                      </a:lnTo>
                      <a:lnTo>
                        <a:pt x="287" y="78"/>
                      </a:lnTo>
                      <a:lnTo>
                        <a:pt x="290" y="89"/>
                      </a:lnTo>
                      <a:lnTo>
                        <a:pt x="297" y="109"/>
                      </a:lnTo>
                      <a:lnTo>
                        <a:pt x="307" y="109"/>
                      </a:lnTo>
                      <a:lnTo>
                        <a:pt x="314" y="115"/>
                      </a:lnTo>
                      <a:lnTo>
                        <a:pt x="314" y="127"/>
                      </a:lnTo>
                      <a:lnTo>
                        <a:pt x="311" y="138"/>
                      </a:lnTo>
                      <a:lnTo>
                        <a:pt x="309" y="151"/>
                      </a:lnTo>
                      <a:lnTo>
                        <a:pt x="305" y="163"/>
                      </a:lnTo>
                      <a:lnTo>
                        <a:pt x="300" y="170"/>
                      </a:lnTo>
                      <a:lnTo>
                        <a:pt x="296" y="181"/>
                      </a:lnTo>
                      <a:lnTo>
                        <a:pt x="296" y="191"/>
                      </a:lnTo>
                      <a:lnTo>
                        <a:pt x="298" y="201"/>
                      </a:lnTo>
                      <a:lnTo>
                        <a:pt x="309" y="234"/>
                      </a:lnTo>
                      <a:lnTo>
                        <a:pt x="323" y="254"/>
                      </a:lnTo>
                      <a:lnTo>
                        <a:pt x="344" y="259"/>
                      </a:lnTo>
                      <a:lnTo>
                        <a:pt x="361" y="272"/>
                      </a:lnTo>
                      <a:lnTo>
                        <a:pt x="365" y="280"/>
                      </a:lnTo>
                      <a:lnTo>
                        <a:pt x="364" y="283"/>
                      </a:lnTo>
                      <a:lnTo>
                        <a:pt x="343" y="289"/>
                      </a:lnTo>
                      <a:lnTo>
                        <a:pt x="317" y="277"/>
                      </a:lnTo>
                      <a:lnTo>
                        <a:pt x="314" y="287"/>
                      </a:lnTo>
                      <a:lnTo>
                        <a:pt x="314" y="296"/>
                      </a:lnTo>
                      <a:lnTo>
                        <a:pt x="305" y="302"/>
                      </a:lnTo>
                      <a:lnTo>
                        <a:pt x="281" y="273"/>
                      </a:lnTo>
                      <a:lnTo>
                        <a:pt x="287" y="272"/>
                      </a:lnTo>
                      <a:lnTo>
                        <a:pt x="289" y="261"/>
                      </a:lnTo>
                      <a:lnTo>
                        <a:pt x="279" y="253"/>
                      </a:lnTo>
                      <a:lnTo>
                        <a:pt x="265" y="272"/>
                      </a:lnTo>
                      <a:lnTo>
                        <a:pt x="238" y="280"/>
                      </a:lnTo>
                      <a:lnTo>
                        <a:pt x="225" y="287"/>
                      </a:lnTo>
                      <a:lnTo>
                        <a:pt x="211" y="301"/>
                      </a:lnTo>
                      <a:lnTo>
                        <a:pt x="183" y="312"/>
                      </a:lnTo>
                      <a:lnTo>
                        <a:pt x="174" y="310"/>
                      </a:lnTo>
                      <a:lnTo>
                        <a:pt x="165" y="302"/>
                      </a:lnTo>
                      <a:lnTo>
                        <a:pt x="172" y="303"/>
                      </a:lnTo>
                      <a:lnTo>
                        <a:pt x="179" y="296"/>
                      </a:lnTo>
                      <a:lnTo>
                        <a:pt x="169" y="289"/>
                      </a:lnTo>
                      <a:lnTo>
                        <a:pt x="162" y="276"/>
                      </a:lnTo>
                      <a:lnTo>
                        <a:pt x="162" y="256"/>
                      </a:lnTo>
                      <a:lnTo>
                        <a:pt x="149" y="265"/>
                      </a:lnTo>
                      <a:lnTo>
                        <a:pt x="146" y="288"/>
                      </a:lnTo>
                      <a:lnTo>
                        <a:pt x="155" y="285"/>
                      </a:lnTo>
                      <a:lnTo>
                        <a:pt x="150" y="298"/>
                      </a:lnTo>
                      <a:lnTo>
                        <a:pt x="146" y="320"/>
                      </a:lnTo>
                      <a:lnTo>
                        <a:pt x="140" y="331"/>
                      </a:lnTo>
                      <a:lnTo>
                        <a:pt x="130" y="334"/>
                      </a:lnTo>
                      <a:lnTo>
                        <a:pt x="113" y="324"/>
                      </a:lnTo>
                      <a:lnTo>
                        <a:pt x="90" y="320"/>
                      </a:lnTo>
                      <a:lnTo>
                        <a:pt x="70" y="307"/>
                      </a:lnTo>
                      <a:lnTo>
                        <a:pt x="61" y="289"/>
                      </a:lnTo>
                      <a:lnTo>
                        <a:pt x="54" y="260"/>
                      </a:lnTo>
                      <a:lnTo>
                        <a:pt x="42" y="262"/>
                      </a:lnTo>
                      <a:lnTo>
                        <a:pt x="15" y="242"/>
                      </a:lnTo>
                      <a:lnTo>
                        <a:pt x="10" y="223"/>
                      </a:lnTo>
                      <a:lnTo>
                        <a:pt x="0" y="196"/>
                      </a:lnTo>
                      <a:lnTo>
                        <a:pt x="10" y="190"/>
                      </a:lnTo>
                      <a:lnTo>
                        <a:pt x="20" y="196"/>
                      </a:lnTo>
                      <a:lnTo>
                        <a:pt x="32" y="190"/>
                      </a:lnTo>
                      <a:lnTo>
                        <a:pt x="27" y="179"/>
                      </a:lnTo>
                      <a:lnTo>
                        <a:pt x="17" y="181"/>
                      </a:lnTo>
                      <a:lnTo>
                        <a:pt x="15" y="176"/>
                      </a:lnTo>
                      <a:lnTo>
                        <a:pt x="17" y="173"/>
                      </a:lnTo>
                      <a:lnTo>
                        <a:pt x="26" y="173"/>
                      </a:lnTo>
                      <a:lnTo>
                        <a:pt x="24" y="159"/>
                      </a:lnTo>
                      <a:lnTo>
                        <a:pt x="13" y="152"/>
                      </a:lnTo>
                      <a:lnTo>
                        <a:pt x="7" y="141"/>
                      </a:lnTo>
                      <a:lnTo>
                        <a:pt x="8" y="140"/>
                      </a:lnTo>
                      <a:lnTo>
                        <a:pt x="17" y="151"/>
                      </a:lnTo>
                      <a:lnTo>
                        <a:pt x="21" y="143"/>
                      </a:lnTo>
                      <a:lnTo>
                        <a:pt x="22" y="132"/>
                      </a:lnTo>
                      <a:lnTo>
                        <a:pt x="17" y="122"/>
                      </a:lnTo>
                      <a:lnTo>
                        <a:pt x="17" y="106"/>
                      </a:lnTo>
                      <a:lnTo>
                        <a:pt x="26" y="99"/>
                      </a:lnTo>
                      <a:lnTo>
                        <a:pt x="39" y="103"/>
                      </a:lnTo>
                      <a:lnTo>
                        <a:pt x="44" y="95"/>
                      </a:lnTo>
                      <a:lnTo>
                        <a:pt x="38" y="83"/>
                      </a:lnTo>
                      <a:lnTo>
                        <a:pt x="33" y="88"/>
                      </a:lnTo>
                      <a:lnTo>
                        <a:pt x="29" y="82"/>
                      </a:lnTo>
                      <a:lnTo>
                        <a:pt x="26" y="67"/>
                      </a:lnTo>
                      <a:lnTo>
                        <a:pt x="28" y="62"/>
                      </a:lnTo>
                      <a:lnTo>
                        <a:pt x="36" y="51"/>
                      </a:lnTo>
                      <a:lnTo>
                        <a:pt x="42" y="55"/>
                      </a:lnTo>
                      <a:lnTo>
                        <a:pt x="67" y="43"/>
                      </a:lnTo>
                      <a:lnTo>
                        <a:pt x="77" y="18"/>
                      </a:lnTo>
                      <a:lnTo>
                        <a:pt x="80" y="22"/>
                      </a:lnTo>
                      <a:lnTo>
                        <a:pt x="103" y="4"/>
                      </a:lnTo>
                      <a:lnTo>
                        <a:pt x="119" y="0"/>
                      </a:lnTo>
                      <a:lnTo>
                        <a:pt x="123" y="1"/>
                      </a:lnTo>
                      <a:lnTo>
                        <a:pt x="117" y="13"/>
                      </a:lnTo>
                      <a:lnTo>
                        <a:pt x="119" y="24"/>
                      </a:lnTo>
                      <a:lnTo>
                        <a:pt x="146" y="54"/>
                      </a:lnTo>
                      <a:lnTo>
                        <a:pt x="151" y="57"/>
                      </a:lnTo>
                      <a:lnTo>
                        <a:pt x="160" y="54"/>
                      </a:lnTo>
                      <a:lnTo>
                        <a:pt x="162" y="62"/>
                      </a:lnTo>
                      <a:lnTo>
                        <a:pt x="169" y="68"/>
                      </a:lnTo>
                      <a:lnTo>
                        <a:pt x="163" y="78"/>
                      </a:lnTo>
                      <a:lnTo>
                        <a:pt x="168" y="87"/>
                      </a:lnTo>
                      <a:lnTo>
                        <a:pt x="178" y="86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rgbClr val="77E2C3">
                      <a:lumMod val="40000"/>
                      <a:lumOff val="6000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77898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313C"/>
                    </a:solidFill>
                    <a:effectLst/>
                    <a:uLnTx/>
                    <a:uFillTx/>
                    <a:latin typeface="Arial"/>
                    <a:cs typeface="+mn-cs"/>
                  </a:endParaRPr>
                </a:p>
              </p:txBody>
            </p:sp>
            <p:sp>
              <p:nvSpPr>
                <p:cNvPr id="91" name="Freeform 171">
                  <a:extLst>
                    <a:ext uri="{FF2B5EF4-FFF2-40B4-BE49-F238E27FC236}">
                      <a16:creationId xmlns:a16="http://schemas.microsoft.com/office/drawing/2014/main" id="{D7F29E38-831D-1548-A257-6F65B2D2F8F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066" y="1166"/>
                  <a:ext cx="44" cy="50"/>
                </a:xfrm>
                <a:custGeom>
                  <a:avLst/>
                  <a:gdLst>
                    <a:gd name="T0" fmla="*/ 0 w 224"/>
                    <a:gd name="T1" fmla="*/ 0 h 248"/>
                    <a:gd name="T2" fmla="*/ 1 w 224"/>
                    <a:gd name="T3" fmla="*/ 0 h 248"/>
                    <a:gd name="T4" fmla="*/ 1 w 224"/>
                    <a:gd name="T5" fmla="*/ 1 h 248"/>
                    <a:gd name="T6" fmla="*/ 2 w 224"/>
                    <a:gd name="T7" fmla="*/ 2 h 248"/>
                    <a:gd name="T8" fmla="*/ 2 w 224"/>
                    <a:gd name="T9" fmla="*/ 2 h 248"/>
                    <a:gd name="T10" fmla="*/ 3 w 224"/>
                    <a:gd name="T11" fmla="*/ 3 h 248"/>
                    <a:gd name="T12" fmla="*/ 3 w 224"/>
                    <a:gd name="T13" fmla="*/ 3 h 248"/>
                    <a:gd name="T14" fmla="*/ 4 w 224"/>
                    <a:gd name="T15" fmla="*/ 2 h 248"/>
                    <a:gd name="T16" fmla="*/ 5 w 224"/>
                    <a:gd name="T17" fmla="*/ 2 h 248"/>
                    <a:gd name="T18" fmla="*/ 5 w 224"/>
                    <a:gd name="T19" fmla="*/ 3 h 248"/>
                    <a:gd name="T20" fmla="*/ 6 w 224"/>
                    <a:gd name="T21" fmla="*/ 4 h 248"/>
                    <a:gd name="T22" fmla="*/ 6 w 224"/>
                    <a:gd name="T23" fmla="*/ 4 h 248"/>
                    <a:gd name="T24" fmla="*/ 7 w 224"/>
                    <a:gd name="T25" fmla="*/ 4 h 248"/>
                    <a:gd name="T26" fmla="*/ 8 w 224"/>
                    <a:gd name="T27" fmla="*/ 5 h 248"/>
                    <a:gd name="T28" fmla="*/ 8 w 224"/>
                    <a:gd name="T29" fmla="*/ 5 h 248"/>
                    <a:gd name="T30" fmla="*/ 9 w 224"/>
                    <a:gd name="T31" fmla="*/ 5 h 248"/>
                    <a:gd name="T32" fmla="*/ 9 w 224"/>
                    <a:gd name="T33" fmla="*/ 6 h 248"/>
                    <a:gd name="T34" fmla="*/ 8 w 224"/>
                    <a:gd name="T35" fmla="*/ 6 h 248"/>
                    <a:gd name="T36" fmla="*/ 8 w 224"/>
                    <a:gd name="T37" fmla="*/ 6 h 248"/>
                    <a:gd name="T38" fmla="*/ 7 w 224"/>
                    <a:gd name="T39" fmla="*/ 6 h 248"/>
                    <a:gd name="T40" fmla="*/ 7 w 224"/>
                    <a:gd name="T41" fmla="*/ 6 h 248"/>
                    <a:gd name="T42" fmla="*/ 7 w 224"/>
                    <a:gd name="T43" fmla="*/ 6 h 248"/>
                    <a:gd name="T44" fmla="*/ 7 w 224"/>
                    <a:gd name="T45" fmla="*/ 7 h 248"/>
                    <a:gd name="T46" fmla="*/ 7 w 224"/>
                    <a:gd name="T47" fmla="*/ 7 h 248"/>
                    <a:gd name="T48" fmla="*/ 7 w 224"/>
                    <a:gd name="T49" fmla="*/ 8 h 248"/>
                    <a:gd name="T50" fmla="*/ 7 w 224"/>
                    <a:gd name="T51" fmla="*/ 8 h 248"/>
                    <a:gd name="T52" fmla="*/ 7 w 224"/>
                    <a:gd name="T53" fmla="*/ 9 h 248"/>
                    <a:gd name="T54" fmla="*/ 6 w 224"/>
                    <a:gd name="T55" fmla="*/ 9 h 248"/>
                    <a:gd name="T56" fmla="*/ 6 w 224"/>
                    <a:gd name="T57" fmla="*/ 9 h 248"/>
                    <a:gd name="T58" fmla="*/ 5 w 224"/>
                    <a:gd name="T59" fmla="*/ 10 h 248"/>
                    <a:gd name="T60" fmla="*/ 5 w 224"/>
                    <a:gd name="T61" fmla="*/ 10 h 248"/>
                    <a:gd name="T62" fmla="*/ 4 w 224"/>
                    <a:gd name="T63" fmla="*/ 9 h 248"/>
                    <a:gd name="T64" fmla="*/ 3 w 224"/>
                    <a:gd name="T65" fmla="*/ 9 h 248"/>
                    <a:gd name="T66" fmla="*/ 2 w 224"/>
                    <a:gd name="T67" fmla="*/ 7 h 248"/>
                    <a:gd name="T68" fmla="*/ 2 w 224"/>
                    <a:gd name="T69" fmla="*/ 6 h 248"/>
                    <a:gd name="T70" fmla="*/ 3 w 224"/>
                    <a:gd name="T71" fmla="*/ 4 h 248"/>
                    <a:gd name="T72" fmla="*/ 3 w 224"/>
                    <a:gd name="T73" fmla="*/ 3 h 248"/>
                    <a:gd name="T74" fmla="*/ 3 w 224"/>
                    <a:gd name="T75" fmla="*/ 3 h 248"/>
                    <a:gd name="T76" fmla="*/ 2 w 224"/>
                    <a:gd name="T77" fmla="*/ 3 h 248"/>
                    <a:gd name="T78" fmla="*/ 1 w 224"/>
                    <a:gd name="T79" fmla="*/ 1 h 248"/>
                    <a:gd name="T80" fmla="*/ 0 w 224"/>
                    <a:gd name="T81" fmla="*/ 0 h 248"/>
                    <a:gd name="T82" fmla="*/ 0 w 224"/>
                    <a:gd name="T83" fmla="*/ 0 h 248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224"/>
                    <a:gd name="T127" fmla="*/ 0 h 248"/>
                    <a:gd name="T128" fmla="*/ 224 w 224"/>
                    <a:gd name="T129" fmla="*/ 248 h 248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224" h="248">
                      <a:moveTo>
                        <a:pt x="0" y="0"/>
                      </a:moveTo>
                      <a:lnTo>
                        <a:pt x="16" y="8"/>
                      </a:lnTo>
                      <a:lnTo>
                        <a:pt x="32" y="30"/>
                      </a:lnTo>
                      <a:lnTo>
                        <a:pt x="42" y="38"/>
                      </a:lnTo>
                      <a:lnTo>
                        <a:pt x="56" y="59"/>
                      </a:lnTo>
                      <a:lnTo>
                        <a:pt x="64" y="66"/>
                      </a:lnTo>
                      <a:lnTo>
                        <a:pt x="89" y="71"/>
                      </a:lnTo>
                      <a:lnTo>
                        <a:pt x="106" y="59"/>
                      </a:lnTo>
                      <a:lnTo>
                        <a:pt x="116" y="56"/>
                      </a:lnTo>
                      <a:lnTo>
                        <a:pt x="138" y="64"/>
                      </a:lnTo>
                      <a:lnTo>
                        <a:pt x="152" y="89"/>
                      </a:lnTo>
                      <a:lnTo>
                        <a:pt x="169" y="97"/>
                      </a:lnTo>
                      <a:lnTo>
                        <a:pt x="182" y="110"/>
                      </a:lnTo>
                      <a:lnTo>
                        <a:pt x="201" y="120"/>
                      </a:lnTo>
                      <a:lnTo>
                        <a:pt x="215" y="136"/>
                      </a:lnTo>
                      <a:lnTo>
                        <a:pt x="222" y="136"/>
                      </a:lnTo>
                      <a:lnTo>
                        <a:pt x="224" y="145"/>
                      </a:lnTo>
                      <a:lnTo>
                        <a:pt x="206" y="142"/>
                      </a:lnTo>
                      <a:lnTo>
                        <a:pt x="197" y="146"/>
                      </a:lnTo>
                      <a:lnTo>
                        <a:pt x="193" y="155"/>
                      </a:lnTo>
                      <a:lnTo>
                        <a:pt x="181" y="156"/>
                      </a:lnTo>
                      <a:lnTo>
                        <a:pt x="185" y="161"/>
                      </a:lnTo>
                      <a:lnTo>
                        <a:pt x="182" y="169"/>
                      </a:lnTo>
                      <a:lnTo>
                        <a:pt x="182" y="183"/>
                      </a:lnTo>
                      <a:lnTo>
                        <a:pt x="188" y="194"/>
                      </a:lnTo>
                      <a:lnTo>
                        <a:pt x="183" y="200"/>
                      </a:lnTo>
                      <a:lnTo>
                        <a:pt x="180" y="217"/>
                      </a:lnTo>
                      <a:lnTo>
                        <a:pt x="167" y="226"/>
                      </a:lnTo>
                      <a:lnTo>
                        <a:pt x="163" y="232"/>
                      </a:lnTo>
                      <a:lnTo>
                        <a:pt x="138" y="248"/>
                      </a:lnTo>
                      <a:lnTo>
                        <a:pt x="128" y="241"/>
                      </a:lnTo>
                      <a:lnTo>
                        <a:pt x="91" y="233"/>
                      </a:lnTo>
                      <a:lnTo>
                        <a:pt x="77" y="222"/>
                      </a:lnTo>
                      <a:lnTo>
                        <a:pt x="54" y="164"/>
                      </a:lnTo>
                      <a:lnTo>
                        <a:pt x="56" y="147"/>
                      </a:lnTo>
                      <a:lnTo>
                        <a:pt x="69" y="108"/>
                      </a:lnTo>
                      <a:lnTo>
                        <a:pt x="73" y="85"/>
                      </a:lnTo>
                      <a:lnTo>
                        <a:pt x="64" y="85"/>
                      </a:lnTo>
                      <a:lnTo>
                        <a:pt x="61" y="73"/>
                      </a:lnTo>
                      <a:lnTo>
                        <a:pt x="16" y="19"/>
                      </a:lnTo>
                      <a:lnTo>
                        <a:pt x="8" y="1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rgbClr val="77E2C3">
                      <a:lumMod val="40000"/>
                      <a:lumOff val="6000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77898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313C"/>
                    </a:solidFill>
                    <a:effectLst/>
                    <a:uLnTx/>
                    <a:uFillTx/>
                    <a:latin typeface="Arial"/>
                    <a:cs typeface="+mn-cs"/>
                  </a:endParaRPr>
                </a:p>
              </p:txBody>
            </p:sp>
            <p:sp>
              <p:nvSpPr>
                <p:cNvPr id="92" name="Freeform 172">
                  <a:extLst>
                    <a:ext uri="{FF2B5EF4-FFF2-40B4-BE49-F238E27FC236}">
                      <a16:creationId xmlns:a16="http://schemas.microsoft.com/office/drawing/2014/main" id="{198D06D2-E1EA-46BA-7688-A47495C79DE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119" y="1193"/>
                  <a:ext cx="54" cy="36"/>
                </a:xfrm>
                <a:custGeom>
                  <a:avLst/>
                  <a:gdLst>
                    <a:gd name="T0" fmla="*/ 0 w 266"/>
                    <a:gd name="T1" fmla="*/ 0 h 180"/>
                    <a:gd name="T2" fmla="*/ 0 w 266"/>
                    <a:gd name="T3" fmla="*/ 0 h 180"/>
                    <a:gd name="T4" fmla="*/ 1 w 266"/>
                    <a:gd name="T5" fmla="*/ 0 h 180"/>
                    <a:gd name="T6" fmla="*/ 1 w 266"/>
                    <a:gd name="T7" fmla="*/ 1 h 180"/>
                    <a:gd name="T8" fmla="*/ 1 w 266"/>
                    <a:gd name="T9" fmla="*/ 1 h 180"/>
                    <a:gd name="T10" fmla="*/ 1 w 266"/>
                    <a:gd name="T11" fmla="*/ 1 h 180"/>
                    <a:gd name="T12" fmla="*/ 2 w 266"/>
                    <a:gd name="T13" fmla="*/ 1 h 180"/>
                    <a:gd name="T14" fmla="*/ 3 w 266"/>
                    <a:gd name="T15" fmla="*/ 1 h 180"/>
                    <a:gd name="T16" fmla="*/ 3 w 266"/>
                    <a:gd name="T17" fmla="*/ 1 h 180"/>
                    <a:gd name="T18" fmla="*/ 5 w 266"/>
                    <a:gd name="T19" fmla="*/ 2 h 180"/>
                    <a:gd name="T20" fmla="*/ 5 w 266"/>
                    <a:gd name="T21" fmla="*/ 2 h 180"/>
                    <a:gd name="T22" fmla="*/ 5 w 266"/>
                    <a:gd name="T23" fmla="*/ 2 h 180"/>
                    <a:gd name="T24" fmla="*/ 5 w 266"/>
                    <a:gd name="T25" fmla="*/ 2 h 180"/>
                    <a:gd name="T26" fmla="*/ 4 w 266"/>
                    <a:gd name="T27" fmla="*/ 3 h 180"/>
                    <a:gd name="T28" fmla="*/ 5 w 266"/>
                    <a:gd name="T29" fmla="*/ 3 h 180"/>
                    <a:gd name="T30" fmla="*/ 6 w 266"/>
                    <a:gd name="T31" fmla="*/ 3 h 180"/>
                    <a:gd name="T32" fmla="*/ 7 w 266"/>
                    <a:gd name="T33" fmla="*/ 2 h 180"/>
                    <a:gd name="T34" fmla="*/ 7 w 266"/>
                    <a:gd name="T35" fmla="*/ 2 h 180"/>
                    <a:gd name="T36" fmla="*/ 8 w 266"/>
                    <a:gd name="T37" fmla="*/ 3 h 180"/>
                    <a:gd name="T38" fmla="*/ 8 w 266"/>
                    <a:gd name="T39" fmla="*/ 3 h 180"/>
                    <a:gd name="T40" fmla="*/ 9 w 266"/>
                    <a:gd name="T41" fmla="*/ 3 h 180"/>
                    <a:gd name="T42" fmla="*/ 9 w 266"/>
                    <a:gd name="T43" fmla="*/ 3 h 180"/>
                    <a:gd name="T44" fmla="*/ 9 w 266"/>
                    <a:gd name="T45" fmla="*/ 4 h 180"/>
                    <a:gd name="T46" fmla="*/ 11 w 266"/>
                    <a:gd name="T47" fmla="*/ 4 h 180"/>
                    <a:gd name="T48" fmla="*/ 11 w 266"/>
                    <a:gd name="T49" fmla="*/ 4 h 180"/>
                    <a:gd name="T50" fmla="*/ 11 w 266"/>
                    <a:gd name="T51" fmla="*/ 5 h 180"/>
                    <a:gd name="T52" fmla="*/ 10 w 266"/>
                    <a:gd name="T53" fmla="*/ 6 h 180"/>
                    <a:gd name="T54" fmla="*/ 9 w 266"/>
                    <a:gd name="T55" fmla="*/ 7 h 180"/>
                    <a:gd name="T56" fmla="*/ 8 w 266"/>
                    <a:gd name="T57" fmla="*/ 7 h 180"/>
                    <a:gd name="T58" fmla="*/ 8 w 266"/>
                    <a:gd name="T59" fmla="*/ 7 h 180"/>
                    <a:gd name="T60" fmla="*/ 8 w 266"/>
                    <a:gd name="T61" fmla="*/ 7 h 180"/>
                    <a:gd name="T62" fmla="*/ 7 w 266"/>
                    <a:gd name="T63" fmla="*/ 7 h 180"/>
                    <a:gd name="T64" fmla="*/ 7 w 266"/>
                    <a:gd name="T65" fmla="*/ 7 h 180"/>
                    <a:gd name="T66" fmla="*/ 7 w 266"/>
                    <a:gd name="T67" fmla="*/ 7 h 180"/>
                    <a:gd name="T68" fmla="*/ 6 w 266"/>
                    <a:gd name="T69" fmla="*/ 7 h 180"/>
                    <a:gd name="T70" fmla="*/ 6 w 266"/>
                    <a:gd name="T71" fmla="*/ 7 h 180"/>
                    <a:gd name="T72" fmla="*/ 5 w 266"/>
                    <a:gd name="T73" fmla="*/ 6 h 180"/>
                    <a:gd name="T74" fmla="*/ 5 w 266"/>
                    <a:gd name="T75" fmla="*/ 6 h 180"/>
                    <a:gd name="T76" fmla="*/ 4 w 266"/>
                    <a:gd name="T77" fmla="*/ 6 h 180"/>
                    <a:gd name="T78" fmla="*/ 4 w 266"/>
                    <a:gd name="T79" fmla="*/ 6 h 180"/>
                    <a:gd name="T80" fmla="*/ 3 w 266"/>
                    <a:gd name="T81" fmla="*/ 5 h 180"/>
                    <a:gd name="T82" fmla="*/ 3 w 266"/>
                    <a:gd name="T83" fmla="*/ 5 h 180"/>
                    <a:gd name="T84" fmla="*/ 2 w 266"/>
                    <a:gd name="T85" fmla="*/ 5 h 180"/>
                    <a:gd name="T86" fmla="*/ 2 w 266"/>
                    <a:gd name="T87" fmla="*/ 4 h 180"/>
                    <a:gd name="T88" fmla="*/ 2 w 266"/>
                    <a:gd name="T89" fmla="*/ 3 h 180"/>
                    <a:gd name="T90" fmla="*/ 1 w 266"/>
                    <a:gd name="T91" fmla="*/ 3 h 180"/>
                    <a:gd name="T92" fmla="*/ 1 w 266"/>
                    <a:gd name="T93" fmla="*/ 2 h 180"/>
                    <a:gd name="T94" fmla="*/ 0 w 266"/>
                    <a:gd name="T95" fmla="*/ 1 h 180"/>
                    <a:gd name="T96" fmla="*/ 0 w 266"/>
                    <a:gd name="T97" fmla="*/ 0 h 180"/>
                    <a:gd name="T98" fmla="*/ 0 w 266"/>
                    <a:gd name="T99" fmla="*/ 0 h 180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w 266"/>
                    <a:gd name="T151" fmla="*/ 0 h 180"/>
                    <a:gd name="T152" fmla="*/ 266 w 266"/>
                    <a:gd name="T153" fmla="*/ 180 h 180"/>
                  </a:gdLst>
                  <a:ahLst/>
                  <a:cxnLst>
                    <a:cxn ang="T100">
                      <a:pos x="T0" y="T1"/>
                    </a:cxn>
                    <a:cxn ang="T101">
                      <a:pos x="T2" y="T3"/>
                    </a:cxn>
                    <a:cxn ang="T102">
                      <a:pos x="T4" y="T5"/>
                    </a:cxn>
                    <a:cxn ang="T103">
                      <a:pos x="T6" y="T7"/>
                    </a:cxn>
                    <a:cxn ang="T104">
                      <a:pos x="T8" y="T9"/>
                    </a:cxn>
                    <a:cxn ang="T105">
                      <a:pos x="T10" y="T11"/>
                    </a:cxn>
                    <a:cxn ang="T106">
                      <a:pos x="T12" y="T13"/>
                    </a:cxn>
                    <a:cxn ang="T107">
                      <a:pos x="T14" y="T15"/>
                    </a:cxn>
                    <a:cxn ang="T108">
                      <a:pos x="T16" y="T17"/>
                    </a:cxn>
                    <a:cxn ang="T109">
                      <a:pos x="T18" y="T19"/>
                    </a:cxn>
                    <a:cxn ang="T110">
                      <a:pos x="T20" y="T21"/>
                    </a:cxn>
                    <a:cxn ang="T111">
                      <a:pos x="T22" y="T23"/>
                    </a:cxn>
                    <a:cxn ang="T112">
                      <a:pos x="T24" y="T25"/>
                    </a:cxn>
                    <a:cxn ang="T113">
                      <a:pos x="T26" y="T27"/>
                    </a:cxn>
                    <a:cxn ang="T114">
                      <a:pos x="T28" y="T29"/>
                    </a:cxn>
                    <a:cxn ang="T115">
                      <a:pos x="T30" y="T31"/>
                    </a:cxn>
                    <a:cxn ang="T116">
                      <a:pos x="T32" y="T33"/>
                    </a:cxn>
                    <a:cxn ang="T117">
                      <a:pos x="T34" y="T35"/>
                    </a:cxn>
                    <a:cxn ang="T118">
                      <a:pos x="T36" y="T37"/>
                    </a:cxn>
                    <a:cxn ang="T119">
                      <a:pos x="T38" y="T39"/>
                    </a:cxn>
                    <a:cxn ang="T120">
                      <a:pos x="T40" y="T41"/>
                    </a:cxn>
                    <a:cxn ang="T121">
                      <a:pos x="T42" y="T43"/>
                    </a:cxn>
                    <a:cxn ang="T122">
                      <a:pos x="T44" y="T45"/>
                    </a:cxn>
                    <a:cxn ang="T123">
                      <a:pos x="T46" y="T47"/>
                    </a:cxn>
                    <a:cxn ang="T124">
                      <a:pos x="T48" y="T49"/>
                    </a:cxn>
                    <a:cxn ang="T125">
                      <a:pos x="T50" y="T51"/>
                    </a:cxn>
                    <a:cxn ang="T126">
                      <a:pos x="T52" y="T53"/>
                    </a:cxn>
                    <a:cxn ang="T127">
                      <a:pos x="T54" y="T55"/>
                    </a:cxn>
                    <a:cxn ang="T128">
                      <a:pos x="T56" y="T57"/>
                    </a:cxn>
                    <a:cxn ang="T129">
                      <a:pos x="T58" y="T59"/>
                    </a:cxn>
                    <a:cxn ang="T130">
                      <a:pos x="T60" y="T61"/>
                    </a:cxn>
                    <a:cxn ang="T131">
                      <a:pos x="T62" y="T63"/>
                    </a:cxn>
                    <a:cxn ang="T132">
                      <a:pos x="T64" y="T65"/>
                    </a:cxn>
                    <a:cxn ang="T133">
                      <a:pos x="T66" y="T67"/>
                    </a:cxn>
                    <a:cxn ang="T134">
                      <a:pos x="T68" y="T69"/>
                    </a:cxn>
                    <a:cxn ang="T135">
                      <a:pos x="T70" y="T71"/>
                    </a:cxn>
                    <a:cxn ang="T136">
                      <a:pos x="T72" y="T73"/>
                    </a:cxn>
                    <a:cxn ang="T137">
                      <a:pos x="T74" y="T75"/>
                    </a:cxn>
                    <a:cxn ang="T138">
                      <a:pos x="T76" y="T77"/>
                    </a:cxn>
                    <a:cxn ang="T139">
                      <a:pos x="T78" y="T79"/>
                    </a:cxn>
                    <a:cxn ang="T140">
                      <a:pos x="T80" y="T81"/>
                    </a:cxn>
                    <a:cxn ang="T141">
                      <a:pos x="T82" y="T83"/>
                    </a:cxn>
                    <a:cxn ang="T142">
                      <a:pos x="T84" y="T85"/>
                    </a:cxn>
                    <a:cxn ang="T143">
                      <a:pos x="T86" y="T87"/>
                    </a:cxn>
                    <a:cxn ang="T144">
                      <a:pos x="T88" y="T89"/>
                    </a:cxn>
                    <a:cxn ang="T145">
                      <a:pos x="T90" y="T91"/>
                    </a:cxn>
                    <a:cxn ang="T146">
                      <a:pos x="T92" y="T93"/>
                    </a:cxn>
                    <a:cxn ang="T147">
                      <a:pos x="T94" y="T95"/>
                    </a:cxn>
                    <a:cxn ang="T148">
                      <a:pos x="T96" y="T97"/>
                    </a:cxn>
                    <a:cxn ang="T149">
                      <a:pos x="T98" y="T99"/>
                    </a:cxn>
                  </a:cxnLst>
                  <a:rect l="T150" t="T151" r="T152" b="T153"/>
                  <a:pathLst>
                    <a:path w="266" h="180">
                      <a:moveTo>
                        <a:pt x="3" y="0"/>
                      </a:moveTo>
                      <a:lnTo>
                        <a:pt x="9" y="6"/>
                      </a:lnTo>
                      <a:lnTo>
                        <a:pt x="19" y="10"/>
                      </a:lnTo>
                      <a:lnTo>
                        <a:pt x="24" y="15"/>
                      </a:lnTo>
                      <a:lnTo>
                        <a:pt x="26" y="25"/>
                      </a:lnTo>
                      <a:lnTo>
                        <a:pt x="36" y="30"/>
                      </a:lnTo>
                      <a:lnTo>
                        <a:pt x="51" y="33"/>
                      </a:lnTo>
                      <a:lnTo>
                        <a:pt x="66" y="35"/>
                      </a:lnTo>
                      <a:lnTo>
                        <a:pt x="73" y="31"/>
                      </a:lnTo>
                      <a:lnTo>
                        <a:pt x="127" y="41"/>
                      </a:lnTo>
                      <a:lnTo>
                        <a:pt x="129" y="49"/>
                      </a:lnTo>
                      <a:lnTo>
                        <a:pt x="122" y="49"/>
                      </a:lnTo>
                      <a:lnTo>
                        <a:pt x="121" y="55"/>
                      </a:lnTo>
                      <a:lnTo>
                        <a:pt x="109" y="67"/>
                      </a:lnTo>
                      <a:lnTo>
                        <a:pt x="132" y="64"/>
                      </a:lnTo>
                      <a:lnTo>
                        <a:pt x="154" y="68"/>
                      </a:lnTo>
                      <a:lnTo>
                        <a:pt x="163" y="62"/>
                      </a:lnTo>
                      <a:lnTo>
                        <a:pt x="172" y="62"/>
                      </a:lnTo>
                      <a:lnTo>
                        <a:pt x="182" y="68"/>
                      </a:lnTo>
                      <a:lnTo>
                        <a:pt x="188" y="79"/>
                      </a:lnTo>
                      <a:lnTo>
                        <a:pt x="207" y="75"/>
                      </a:lnTo>
                      <a:lnTo>
                        <a:pt x="218" y="79"/>
                      </a:lnTo>
                      <a:lnTo>
                        <a:pt x="225" y="91"/>
                      </a:lnTo>
                      <a:lnTo>
                        <a:pt x="266" y="100"/>
                      </a:lnTo>
                      <a:lnTo>
                        <a:pt x="256" y="108"/>
                      </a:lnTo>
                      <a:lnTo>
                        <a:pt x="257" y="135"/>
                      </a:lnTo>
                      <a:lnTo>
                        <a:pt x="245" y="154"/>
                      </a:lnTo>
                      <a:lnTo>
                        <a:pt x="208" y="176"/>
                      </a:lnTo>
                      <a:lnTo>
                        <a:pt x="198" y="180"/>
                      </a:lnTo>
                      <a:lnTo>
                        <a:pt x="191" y="171"/>
                      </a:lnTo>
                      <a:lnTo>
                        <a:pt x="186" y="176"/>
                      </a:lnTo>
                      <a:lnTo>
                        <a:pt x="179" y="173"/>
                      </a:lnTo>
                      <a:lnTo>
                        <a:pt x="174" y="164"/>
                      </a:lnTo>
                      <a:lnTo>
                        <a:pt x="171" y="175"/>
                      </a:lnTo>
                      <a:lnTo>
                        <a:pt x="160" y="175"/>
                      </a:lnTo>
                      <a:lnTo>
                        <a:pt x="144" y="170"/>
                      </a:lnTo>
                      <a:lnTo>
                        <a:pt x="133" y="156"/>
                      </a:lnTo>
                      <a:lnTo>
                        <a:pt x="117" y="156"/>
                      </a:lnTo>
                      <a:lnTo>
                        <a:pt x="104" y="151"/>
                      </a:lnTo>
                      <a:lnTo>
                        <a:pt x="95" y="140"/>
                      </a:lnTo>
                      <a:lnTo>
                        <a:pt x="85" y="135"/>
                      </a:lnTo>
                      <a:lnTo>
                        <a:pt x="75" y="123"/>
                      </a:lnTo>
                      <a:lnTo>
                        <a:pt x="57" y="118"/>
                      </a:lnTo>
                      <a:lnTo>
                        <a:pt x="46" y="110"/>
                      </a:lnTo>
                      <a:lnTo>
                        <a:pt x="45" y="81"/>
                      </a:lnTo>
                      <a:lnTo>
                        <a:pt x="31" y="67"/>
                      </a:lnTo>
                      <a:lnTo>
                        <a:pt x="26" y="47"/>
                      </a:lnTo>
                      <a:lnTo>
                        <a:pt x="5" y="20"/>
                      </a:lnTo>
                      <a:lnTo>
                        <a:pt x="0" y="3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rgbClr val="77E2C3">
                      <a:lumMod val="40000"/>
                      <a:lumOff val="6000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77898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313C"/>
                    </a:solidFill>
                    <a:effectLst/>
                    <a:uLnTx/>
                    <a:uFillTx/>
                    <a:latin typeface="Arial"/>
                    <a:cs typeface="+mn-cs"/>
                  </a:endParaRPr>
                </a:p>
              </p:txBody>
            </p:sp>
            <p:sp>
              <p:nvSpPr>
                <p:cNvPr id="93" name="Freeform 173">
                  <a:extLst>
                    <a:ext uri="{FF2B5EF4-FFF2-40B4-BE49-F238E27FC236}">
                      <a16:creationId xmlns:a16="http://schemas.microsoft.com/office/drawing/2014/main" id="{88803AD1-D437-8D9D-9536-79FA6639DA6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047" y="1261"/>
                  <a:ext cx="43" cy="27"/>
                </a:xfrm>
                <a:custGeom>
                  <a:avLst/>
                  <a:gdLst>
                    <a:gd name="T0" fmla="*/ 4 w 212"/>
                    <a:gd name="T1" fmla="*/ 0 h 136"/>
                    <a:gd name="T2" fmla="*/ 4 w 212"/>
                    <a:gd name="T3" fmla="*/ 0 h 136"/>
                    <a:gd name="T4" fmla="*/ 5 w 212"/>
                    <a:gd name="T5" fmla="*/ 0 h 136"/>
                    <a:gd name="T6" fmla="*/ 6 w 212"/>
                    <a:gd name="T7" fmla="*/ 0 h 136"/>
                    <a:gd name="T8" fmla="*/ 6 w 212"/>
                    <a:gd name="T9" fmla="*/ 1 h 136"/>
                    <a:gd name="T10" fmla="*/ 6 w 212"/>
                    <a:gd name="T11" fmla="*/ 1 h 136"/>
                    <a:gd name="T12" fmla="*/ 7 w 212"/>
                    <a:gd name="T13" fmla="*/ 1 h 136"/>
                    <a:gd name="T14" fmla="*/ 8 w 212"/>
                    <a:gd name="T15" fmla="*/ 2 h 136"/>
                    <a:gd name="T16" fmla="*/ 8 w 212"/>
                    <a:gd name="T17" fmla="*/ 3 h 136"/>
                    <a:gd name="T18" fmla="*/ 9 w 212"/>
                    <a:gd name="T19" fmla="*/ 4 h 136"/>
                    <a:gd name="T20" fmla="*/ 9 w 212"/>
                    <a:gd name="T21" fmla="*/ 4 h 136"/>
                    <a:gd name="T22" fmla="*/ 9 w 212"/>
                    <a:gd name="T23" fmla="*/ 5 h 136"/>
                    <a:gd name="T24" fmla="*/ 9 w 212"/>
                    <a:gd name="T25" fmla="*/ 5 h 136"/>
                    <a:gd name="T26" fmla="*/ 8 w 212"/>
                    <a:gd name="T27" fmla="*/ 5 h 136"/>
                    <a:gd name="T28" fmla="*/ 8 w 212"/>
                    <a:gd name="T29" fmla="*/ 5 h 136"/>
                    <a:gd name="T30" fmla="*/ 8 w 212"/>
                    <a:gd name="T31" fmla="*/ 5 h 136"/>
                    <a:gd name="T32" fmla="*/ 7 w 212"/>
                    <a:gd name="T33" fmla="*/ 5 h 136"/>
                    <a:gd name="T34" fmla="*/ 6 w 212"/>
                    <a:gd name="T35" fmla="*/ 5 h 136"/>
                    <a:gd name="T36" fmla="*/ 5 w 212"/>
                    <a:gd name="T37" fmla="*/ 5 h 136"/>
                    <a:gd name="T38" fmla="*/ 5 w 212"/>
                    <a:gd name="T39" fmla="*/ 4 h 136"/>
                    <a:gd name="T40" fmla="*/ 4 w 212"/>
                    <a:gd name="T41" fmla="*/ 5 h 136"/>
                    <a:gd name="T42" fmla="*/ 3 w 212"/>
                    <a:gd name="T43" fmla="*/ 4 h 136"/>
                    <a:gd name="T44" fmla="*/ 3 w 212"/>
                    <a:gd name="T45" fmla="*/ 4 h 136"/>
                    <a:gd name="T46" fmla="*/ 2 w 212"/>
                    <a:gd name="T47" fmla="*/ 4 h 136"/>
                    <a:gd name="T48" fmla="*/ 1 w 212"/>
                    <a:gd name="T49" fmla="*/ 4 h 136"/>
                    <a:gd name="T50" fmla="*/ 0 w 212"/>
                    <a:gd name="T51" fmla="*/ 4 h 136"/>
                    <a:gd name="T52" fmla="*/ 0 w 212"/>
                    <a:gd name="T53" fmla="*/ 4 h 136"/>
                    <a:gd name="T54" fmla="*/ 0 w 212"/>
                    <a:gd name="T55" fmla="*/ 4 h 136"/>
                    <a:gd name="T56" fmla="*/ 2 w 212"/>
                    <a:gd name="T57" fmla="*/ 3 h 136"/>
                    <a:gd name="T58" fmla="*/ 2 w 212"/>
                    <a:gd name="T59" fmla="*/ 3 h 136"/>
                    <a:gd name="T60" fmla="*/ 2 w 212"/>
                    <a:gd name="T61" fmla="*/ 2 h 136"/>
                    <a:gd name="T62" fmla="*/ 2 w 212"/>
                    <a:gd name="T63" fmla="*/ 1 h 136"/>
                    <a:gd name="T64" fmla="*/ 2 w 212"/>
                    <a:gd name="T65" fmla="*/ 1 h 136"/>
                    <a:gd name="T66" fmla="*/ 3 w 212"/>
                    <a:gd name="T67" fmla="*/ 0 h 136"/>
                    <a:gd name="T68" fmla="*/ 4 w 212"/>
                    <a:gd name="T69" fmla="*/ 0 h 1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212"/>
                    <a:gd name="T106" fmla="*/ 0 h 136"/>
                    <a:gd name="T107" fmla="*/ 212 w 212"/>
                    <a:gd name="T108" fmla="*/ 136 h 136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212" h="136">
                      <a:moveTo>
                        <a:pt x="92" y="7"/>
                      </a:moveTo>
                      <a:lnTo>
                        <a:pt x="110" y="0"/>
                      </a:lnTo>
                      <a:lnTo>
                        <a:pt x="126" y="2"/>
                      </a:lnTo>
                      <a:lnTo>
                        <a:pt x="137" y="5"/>
                      </a:lnTo>
                      <a:lnTo>
                        <a:pt x="148" y="16"/>
                      </a:lnTo>
                      <a:lnTo>
                        <a:pt x="156" y="18"/>
                      </a:lnTo>
                      <a:lnTo>
                        <a:pt x="169" y="36"/>
                      </a:lnTo>
                      <a:lnTo>
                        <a:pt x="187" y="51"/>
                      </a:lnTo>
                      <a:lnTo>
                        <a:pt x="203" y="78"/>
                      </a:lnTo>
                      <a:lnTo>
                        <a:pt x="207" y="93"/>
                      </a:lnTo>
                      <a:lnTo>
                        <a:pt x="207" y="112"/>
                      </a:lnTo>
                      <a:lnTo>
                        <a:pt x="212" y="126"/>
                      </a:lnTo>
                      <a:lnTo>
                        <a:pt x="212" y="136"/>
                      </a:lnTo>
                      <a:lnTo>
                        <a:pt x="202" y="132"/>
                      </a:lnTo>
                      <a:lnTo>
                        <a:pt x="193" y="136"/>
                      </a:lnTo>
                      <a:lnTo>
                        <a:pt x="181" y="134"/>
                      </a:lnTo>
                      <a:lnTo>
                        <a:pt x="167" y="127"/>
                      </a:lnTo>
                      <a:lnTo>
                        <a:pt x="139" y="128"/>
                      </a:lnTo>
                      <a:lnTo>
                        <a:pt x="122" y="120"/>
                      </a:lnTo>
                      <a:lnTo>
                        <a:pt x="115" y="112"/>
                      </a:lnTo>
                      <a:lnTo>
                        <a:pt x="102" y="115"/>
                      </a:lnTo>
                      <a:lnTo>
                        <a:pt x="85" y="110"/>
                      </a:lnTo>
                      <a:lnTo>
                        <a:pt x="68" y="99"/>
                      </a:lnTo>
                      <a:lnTo>
                        <a:pt x="48" y="95"/>
                      </a:lnTo>
                      <a:lnTo>
                        <a:pt x="21" y="110"/>
                      </a:lnTo>
                      <a:lnTo>
                        <a:pt x="10" y="109"/>
                      </a:lnTo>
                      <a:lnTo>
                        <a:pt x="0" y="95"/>
                      </a:lnTo>
                      <a:lnTo>
                        <a:pt x="8" y="89"/>
                      </a:lnTo>
                      <a:lnTo>
                        <a:pt x="37" y="86"/>
                      </a:lnTo>
                      <a:lnTo>
                        <a:pt x="41" y="79"/>
                      </a:lnTo>
                      <a:lnTo>
                        <a:pt x="48" y="62"/>
                      </a:lnTo>
                      <a:lnTo>
                        <a:pt x="60" y="31"/>
                      </a:lnTo>
                      <a:lnTo>
                        <a:pt x="60" y="19"/>
                      </a:lnTo>
                      <a:lnTo>
                        <a:pt x="65" y="10"/>
                      </a:lnTo>
                      <a:lnTo>
                        <a:pt x="92" y="7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rgbClr val="77E2C3">
                      <a:lumMod val="40000"/>
                      <a:lumOff val="6000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77898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313C"/>
                    </a:solidFill>
                    <a:effectLst/>
                    <a:uLnTx/>
                    <a:uFillTx/>
                    <a:latin typeface="Arial"/>
                    <a:cs typeface="+mn-cs"/>
                  </a:endParaRPr>
                </a:p>
              </p:txBody>
            </p:sp>
            <p:sp>
              <p:nvSpPr>
                <p:cNvPr id="94" name="Freeform 174">
                  <a:extLst>
                    <a:ext uri="{FF2B5EF4-FFF2-40B4-BE49-F238E27FC236}">
                      <a16:creationId xmlns:a16="http://schemas.microsoft.com/office/drawing/2014/main" id="{99AD9EF2-7409-B7E1-4A9D-B6DD0E39FBD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080" y="1282"/>
                  <a:ext cx="68" cy="102"/>
                </a:xfrm>
                <a:custGeom>
                  <a:avLst/>
                  <a:gdLst>
                    <a:gd name="T0" fmla="*/ 6 w 338"/>
                    <a:gd name="T1" fmla="*/ 1 h 508"/>
                    <a:gd name="T2" fmla="*/ 8 w 338"/>
                    <a:gd name="T3" fmla="*/ 0 h 508"/>
                    <a:gd name="T4" fmla="*/ 9 w 338"/>
                    <a:gd name="T5" fmla="*/ 1 h 508"/>
                    <a:gd name="T6" fmla="*/ 11 w 338"/>
                    <a:gd name="T7" fmla="*/ 2 h 508"/>
                    <a:gd name="T8" fmla="*/ 11 w 338"/>
                    <a:gd name="T9" fmla="*/ 3 h 508"/>
                    <a:gd name="T10" fmla="*/ 9 w 338"/>
                    <a:gd name="T11" fmla="*/ 3 h 508"/>
                    <a:gd name="T12" fmla="*/ 11 w 338"/>
                    <a:gd name="T13" fmla="*/ 4 h 508"/>
                    <a:gd name="T14" fmla="*/ 10 w 338"/>
                    <a:gd name="T15" fmla="*/ 5 h 508"/>
                    <a:gd name="T16" fmla="*/ 10 w 338"/>
                    <a:gd name="T17" fmla="*/ 5 h 508"/>
                    <a:gd name="T18" fmla="*/ 9 w 338"/>
                    <a:gd name="T19" fmla="*/ 6 h 508"/>
                    <a:gd name="T20" fmla="*/ 9 w 338"/>
                    <a:gd name="T21" fmla="*/ 7 h 508"/>
                    <a:gd name="T22" fmla="*/ 9 w 338"/>
                    <a:gd name="T23" fmla="*/ 8 h 508"/>
                    <a:gd name="T24" fmla="*/ 9 w 338"/>
                    <a:gd name="T25" fmla="*/ 9 h 508"/>
                    <a:gd name="T26" fmla="*/ 9 w 338"/>
                    <a:gd name="T27" fmla="*/ 11 h 508"/>
                    <a:gd name="T28" fmla="*/ 9 w 338"/>
                    <a:gd name="T29" fmla="*/ 13 h 508"/>
                    <a:gd name="T30" fmla="*/ 10 w 338"/>
                    <a:gd name="T31" fmla="*/ 15 h 508"/>
                    <a:gd name="T32" fmla="*/ 11 w 338"/>
                    <a:gd name="T33" fmla="*/ 17 h 508"/>
                    <a:gd name="T34" fmla="*/ 12 w 338"/>
                    <a:gd name="T35" fmla="*/ 18 h 508"/>
                    <a:gd name="T36" fmla="*/ 14 w 338"/>
                    <a:gd name="T37" fmla="*/ 19 h 508"/>
                    <a:gd name="T38" fmla="*/ 13 w 338"/>
                    <a:gd name="T39" fmla="*/ 20 h 508"/>
                    <a:gd name="T40" fmla="*/ 13 w 338"/>
                    <a:gd name="T41" fmla="*/ 20 h 508"/>
                    <a:gd name="T42" fmla="*/ 12 w 338"/>
                    <a:gd name="T43" fmla="*/ 20 h 508"/>
                    <a:gd name="T44" fmla="*/ 11 w 338"/>
                    <a:gd name="T45" fmla="*/ 19 h 508"/>
                    <a:gd name="T46" fmla="*/ 11 w 338"/>
                    <a:gd name="T47" fmla="*/ 19 h 508"/>
                    <a:gd name="T48" fmla="*/ 11 w 338"/>
                    <a:gd name="T49" fmla="*/ 20 h 508"/>
                    <a:gd name="T50" fmla="*/ 10 w 338"/>
                    <a:gd name="T51" fmla="*/ 20 h 508"/>
                    <a:gd name="T52" fmla="*/ 10 w 338"/>
                    <a:gd name="T53" fmla="*/ 20 h 508"/>
                    <a:gd name="T54" fmla="*/ 9 w 338"/>
                    <a:gd name="T55" fmla="*/ 19 h 508"/>
                    <a:gd name="T56" fmla="*/ 8 w 338"/>
                    <a:gd name="T57" fmla="*/ 20 h 508"/>
                    <a:gd name="T58" fmla="*/ 7 w 338"/>
                    <a:gd name="T59" fmla="*/ 19 h 508"/>
                    <a:gd name="T60" fmla="*/ 8 w 338"/>
                    <a:gd name="T61" fmla="*/ 19 h 508"/>
                    <a:gd name="T62" fmla="*/ 6 w 338"/>
                    <a:gd name="T63" fmla="*/ 19 h 508"/>
                    <a:gd name="T64" fmla="*/ 5 w 338"/>
                    <a:gd name="T65" fmla="*/ 19 h 508"/>
                    <a:gd name="T66" fmla="*/ 5 w 338"/>
                    <a:gd name="T67" fmla="*/ 18 h 508"/>
                    <a:gd name="T68" fmla="*/ 5 w 338"/>
                    <a:gd name="T69" fmla="*/ 17 h 508"/>
                    <a:gd name="T70" fmla="*/ 5 w 338"/>
                    <a:gd name="T71" fmla="*/ 17 h 508"/>
                    <a:gd name="T72" fmla="*/ 6 w 338"/>
                    <a:gd name="T73" fmla="*/ 17 h 508"/>
                    <a:gd name="T74" fmla="*/ 6 w 338"/>
                    <a:gd name="T75" fmla="*/ 16 h 508"/>
                    <a:gd name="T76" fmla="*/ 5 w 338"/>
                    <a:gd name="T77" fmla="*/ 15 h 508"/>
                    <a:gd name="T78" fmla="*/ 6 w 338"/>
                    <a:gd name="T79" fmla="*/ 14 h 508"/>
                    <a:gd name="T80" fmla="*/ 4 w 338"/>
                    <a:gd name="T81" fmla="*/ 15 h 508"/>
                    <a:gd name="T82" fmla="*/ 4 w 338"/>
                    <a:gd name="T83" fmla="*/ 14 h 508"/>
                    <a:gd name="T84" fmla="*/ 4 w 338"/>
                    <a:gd name="T85" fmla="*/ 14 h 508"/>
                    <a:gd name="T86" fmla="*/ 3 w 338"/>
                    <a:gd name="T87" fmla="*/ 14 h 508"/>
                    <a:gd name="T88" fmla="*/ 3 w 338"/>
                    <a:gd name="T89" fmla="*/ 13 h 508"/>
                    <a:gd name="T90" fmla="*/ 2 w 338"/>
                    <a:gd name="T91" fmla="*/ 13 h 508"/>
                    <a:gd name="T92" fmla="*/ 1 w 338"/>
                    <a:gd name="T93" fmla="*/ 14 h 508"/>
                    <a:gd name="T94" fmla="*/ 1 w 338"/>
                    <a:gd name="T95" fmla="*/ 14 h 508"/>
                    <a:gd name="T96" fmla="*/ 0 w 338"/>
                    <a:gd name="T97" fmla="*/ 12 h 508"/>
                    <a:gd name="T98" fmla="*/ 0 w 338"/>
                    <a:gd name="T99" fmla="*/ 10 h 508"/>
                    <a:gd name="T100" fmla="*/ 1 w 338"/>
                    <a:gd name="T101" fmla="*/ 10 h 508"/>
                    <a:gd name="T102" fmla="*/ 2 w 338"/>
                    <a:gd name="T103" fmla="*/ 10 h 508"/>
                    <a:gd name="T104" fmla="*/ 2 w 338"/>
                    <a:gd name="T105" fmla="*/ 9 h 508"/>
                    <a:gd name="T106" fmla="*/ 3 w 338"/>
                    <a:gd name="T107" fmla="*/ 8 h 508"/>
                    <a:gd name="T108" fmla="*/ 3 w 338"/>
                    <a:gd name="T109" fmla="*/ 7 h 508"/>
                    <a:gd name="T110" fmla="*/ 3 w 338"/>
                    <a:gd name="T111" fmla="*/ 7 h 508"/>
                    <a:gd name="T112" fmla="*/ 3 w 338"/>
                    <a:gd name="T113" fmla="*/ 6 h 508"/>
                    <a:gd name="T114" fmla="*/ 3 w 338"/>
                    <a:gd name="T115" fmla="*/ 6 h 508"/>
                    <a:gd name="T116" fmla="*/ 3 w 338"/>
                    <a:gd name="T117" fmla="*/ 4 h 508"/>
                    <a:gd name="T118" fmla="*/ 4 w 338"/>
                    <a:gd name="T119" fmla="*/ 3 h 508"/>
                    <a:gd name="T120" fmla="*/ 4 w 338"/>
                    <a:gd name="T121" fmla="*/ 3 h 508"/>
                    <a:gd name="T122" fmla="*/ 4 w 338"/>
                    <a:gd name="T123" fmla="*/ 2 h 508"/>
                    <a:gd name="T124" fmla="*/ 5 w 338"/>
                    <a:gd name="T125" fmla="*/ 1 h 508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338"/>
                    <a:gd name="T190" fmla="*/ 0 h 508"/>
                    <a:gd name="T191" fmla="*/ 338 w 338"/>
                    <a:gd name="T192" fmla="*/ 508 h 508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338" h="508">
                      <a:moveTo>
                        <a:pt x="124" y="20"/>
                      </a:moveTo>
                      <a:lnTo>
                        <a:pt x="128" y="17"/>
                      </a:lnTo>
                      <a:lnTo>
                        <a:pt x="152" y="22"/>
                      </a:lnTo>
                      <a:lnTo>
                        <a:pt x="161" y="12"/>
                      </a:lnTo>
                      <a:lnTo>
                        <a:pt x="187" y="0"/>
                      </a:lnTo>
                      <a:lnTo>
                        <a:pt x="199" y="0"/>
                      </a:lnTo>
                      <a:lnTo>
                        <a:pt x="210" y="9"/>
                      </a:lnTo>
                      <a:lnTo>
                        <a:pt x="219" y="14"/>
                      </a:lnTo>
                      <a:lnTo>
                        <a:pt x="234" y="15"/>
                      </a:lnTo>
                      <a:lnTo>
                        <a:pt x="256" y="33"/>
                      </a:lnTo>
                      <a:lnTo>
                        <a:pt x="268" y="34"/>
                      </a:lnTo>
                      <a:lnTo>
                        <a:pt x="277" y="45"/>
                      </a:lnTo>
                      <a:lnTo>
                        <a:pt x="279" y="55"/>
                      </a:lnTo>
                      <a:lnTo>
                        <a:pt x="245" y="63"/>
                      </a:lnTo>
                      <a:lnTo>
                        <a:pt x="272" y="68"/>
                      </a:lnTo>
                      <a:lnTo>
                        <a:pt x="268" y="74"/>
                      </a:lnTo>
                      <a:lnTo>
                        <a:pt x="256" y="73"/>
                      </a:lnTo>
                      <a:lnTo>
                        <a:pt x="234" y="86"/>
                      </a:lnTo>
                      <a:lnTo>
                        <a:pt x="246" y="88"/>
                      </a:lnTo>
                      <a:lnTo>
                        <a:pt x="265" y="82"/>
                      </a:lnTo>
                      <a:lnTo>
                        <a:pt x="267" y="94"/>
                      </a:lnTo>
                      <a:lnTo>
                        <a:pt x="262" y="103"/>
                      </a:lnTo>
                      <a:lnTo>
                        <a:pt x="253" y="111"/>
                      </a:lnTo>
                      <a:lnTo>
                        <a:pt x="245" y="114"/>
                      </a:lnTo>
                      <a:lnTo>
                        <a:pt x="225" y="111"/>
                      </a:lnTo>
                      <a:lnTo>
                        <a:pt x="222" y="121"/>
                      </a:lnTo>
                      <a:lnTo>
                        <a:pt x="238" y="119"/>
                      </a:lnTo>
                      <a:lnTo>
                        <a:pt x="242" y="131"/>
                      </a:lnTo>
                      <a:lnTo>
                        <a:pt x="235" y="143"/>
                      </a:lnTo>
                      <a:lnTo>
                        <a:pt x="232" y="158"/>
                      </a:lnTo>
                      <a:lnTo>
                        <a:pt x="226" y="156"/>
                      </a:lnTo>
                      <a:lnTo>
                        <a:pt x="222" y="160"/>
                      </a:lnTo>
                      <a:lnTo>
                        <a:pt x="226" y="165"/>
                      </a:lnTo>
                      <a:lnTo>
                        <a:pt x="225" y="176"/>
                      </a:lnTo>
                      <a:lnTo>
                        <a:pt x="219" y="178"/>
                      </a:lnTo>
                      <a:lnTo>
                        <a:pt x="219" y="189"/>
                      </a:lnTo>
                      <a:lnTo>
                        <a:pt x="218" y="201"/>
                      </a:lnTo>
                      <a:lnTo>
                        <a:pt x="219" y="214"/>
                      </a:lnTo>
                      <a:lnTo>
                        <a:pt x="224" y="226"/>
                      </a:lnTo>
                      <a:lnTo>
                        <a:pt x="224" y="235"/>
                      </a:lnTo>
                      <a:lnTo>
                        <a:pt x="216" y="255"/>
                      </a:lnTo>
                      <a:lnTo>
                        <a:pt x="218" y="267"/>
                      </a:lnTo>
                      <a:lnTo>
                        <a:pt x="222" y="273"/>
                      </a:lnTo>
                      <a:lnTo>
                        <a:pt x="226" y="313"/>
                      </a:lnTo>
                      <a:lnTo>
                        <a:pt x="230" y="331"/>
                      </a:lnTo>
                      <a:lnTo>
                        <a:pt x="234" y="341"/>
                      </a:lnTo>
                      <a:lnTo>
                        <a:pt x="242" y="353"/>
                      </a:lnTo>
                      <a:lnTo>
                        <a:pt x="250" y="373"/>
                      </a:lnTo>
                      <a:lnTo>
                        <a:pt x="253" y="382"/>
                      </a:lnTo>
                      <a:lnTo>
                        <a:pt x="254" y="394"/>
                      </a:lnTo>
                      <a:lnTo>
                        <a:pt x="278" y="426"/>
                      </a:lnTo>
                      <a:lnTo>
                        <a:pt x="288" y="436"/>
                      </a:lnTo>
                      <a:lnTo>
                        <a:pt x="296" y="439"/>
                      </a:lnTo>
                      <a:lnTo>
                        <a:pt x="306" y="450"/>
                      </a:lnTo>
                      <a:lnTo>
                        <a:pt x="322" y="464"/>
                      </a:lnTo>
                      <a:lnTo>
                        <a:pt x="327" y="463"/>
                      </a:lnTo>
                      <a:lnTo>
                        <a:pt x="338" y="472"/>
                      </a:lnTo>
                      <a:lnTo>
                        <a:pt x="332" y="475"/>
                      </a:lnTo>
                      <a:lnTo>
                        <a:pt x="332" y="485"/>
                      </a:lnTo>
                      <a:lnTo>
                        <a:pt x="322" y="490"/>
                      </a:lnTo>
                      <a:lnTo>
                        <a:pt x="301" y="486"/>
                      </a:lnTo>
                      <a:lnTo>
                        <a:pt x="296" y="491"/>
                      </a:lnTo>
                      <a:lnTo>
                        <a:pt x="320" y="498"/>
                      </a:lnTo>
                      <a:lnTo>
                        <a:pt x="311" y="499"/>
                      </a:lnTo>
                      <a:lnTo>
                        <a:pt x="310" y="508"/>
                      </a:lnTo>
                      <a:lnTo>
                        <a:pt x="301" y="502"/>
                      </a:lnTo>
                      <a:lnTo>
                        <a:pt x="286" y="486"/>
                      </a:lnTo>
                      <a:lnTo>
                        <a:pt x="281" y="482"/>
                      </a:lnTo>
                      <a:lnTo>
                        <a:pt x="284" y="470"/>
                      </a:lnTo>
                      <a:lnTo>
                        <a:pt x="274" y="475"/>
                      </a:lnTo>
                      <a:lnTo>
                        <a:pt x="265" y="475"/>
                      </a:lnTo>
                      <a:lnTo>
                        <a:pt x="261" y="481"/>
                      </a:lnTo>
                      <a:lnTo>
                        <a:pt x="262" y="487"/>
                      </a:lnTo>
                      <a:lnTo>
                        <a:pt x="268" y="491"/>
                      </a:lnTo>
                      <a:lnTo>
                        <a:pt x="273" y="487"/>
                      </a:lnTo>
                      <a:lnTo>
                        <a:pt x="275" y="498"/>
                      </a:lnTo>
                      <a:lnTo>
                        <a:pt x="261" y="499"/>
                      </a:lnTo>
                      <a:lnTo>
                        <a:pt x="251" y="491"/>
                      </a:lnTo>
                      <a:lnTo>
                        <a:pt x="246" y="491"/>
                      </a:lnTo>
                      <a:lnTo>
                        <a:pt x="248" y="498"/>
                      </a:lnTo>
                      <a:lnTo>
                        <a:pt x="243" y="495"/>
                      </a:lnTo>
                      <a:lnTo>
                        <a:pt x="237" y="481"/>
                      </a:lnTo>
                      <a:lnTo>
                        <a:pt x="229" y="482"/>
                      </a:lnTo>
                      <a:lnTo>
                        <a:pt x="220" y="476"/>
                      </a:lnTo>
                      <a:lnTo>
                        <a:pt x="216" y="487"/>
                      </a:lnTo>
                      <a:lnTo>
                        <a:pt x="213" y="483"/>
                      </a:lnTo>
                      <a:lnTo>
                        <a:pt x="210" y="488"/>
                      </a:lnTo>
                      <a:lnTo>
                        <a:pt x="209" y="499"/>
                      </a:lnTo>
                      <a:lnTo>
                        <a:pt x="204" y="499"/>
                      </a:lnTo>
                      <a:lnTo>
                        <a:pt x="182" y="480"/>
                      </a:lnTo>
                      <a:lnTo>
                        <a:pt x="178" y="471"/>
                      </a:lnTo>
                      <a:lnTo>
                        <a:pt x="191" y="471"/>
                      </a:lnTo>
                      <a:lnTo>
                        <a:pt x="189" y="466"/>
                      </a:lnTo>
                      <a:lnTo>
                        <a:pt x="173" y="465"/>
                      </a:lnTo>
                      <a:lnTo>
                        <a:pt x="151" y="472"/>
                      </a:lnTo>
                      <a:lnTo>
                        <a:pt x="144" y="470"/>
                      </a:lnTo>
                      <a:lnTo>
                        <a:pt x="139" y="461"/>
                      </a:lnTo>
                      <a:lnTo>
                        <a:pt x="134" y="465"/>
                      </a:lnTo>
                      <a:lnTo>
                        <a:pt x="127" y="461"/>
                      </a:lnTo>
                      <a:lnTo>
                        <a:pt x="125" y="458"/>
                      </a:lnTo>
                      <a:lnTo>
                        <a:pt x="124" y="449"/>
                      </a:lnTo>
                      <a:lnTo>
                        <a:pt x="125" y="438"/>
                      </a:lnTo>
                      <a:lnTo>
                        <a:pt x="125" y="431"/>
                      </a:lnTo>
                      <a:lnTo>
                        <a:pt x="122" y="423"/>
                      </a:lnTo>
                      <a:lnTo>
                        <a:pt x="124" y="421"/>
                      </a:lnTo>
                      <a:lnTo>
                        <a:pt x="137" y="427"/>
                      </a:lnTo>
                      <a:lnTo>
                        <a:pt x="139" y="422"/>
                      </a:lnTo>
                      <a:lnTo>
                        <a:pt x="135" y="413"/>
                      </a:lnTo>
                      <a:lnTo>
                        <a:pt x="144" y="418"/>
                      </a:lnTo>
                      <a:lnTo>
                        <a:pt x="156" y="416"/>
                      </a:lnTo>
                      <a:lnTo>
                        <a:pt x="157" y="412"/>
                      </a:lnTo>
                      <a:lnTo>
                        <a:pt x="145" y="410"/>
                      </a:lnTo>
                      <a:lnTo>
                        <a:pt x="150" y="404"/>
                      </a:lnTo>
                      <a:lnTo>
                        <a:pt x="143" y="400"/>
                      </a:lnTo>
                      <a:lnTo>
                        <a:pt x="124" y="397"/>
                      </a:lnTo>
                      <a:lnTo>
                        <a:pt x="116" y="388"/>
                      </a:lnTo>
                      <a:lnTo>
                        <a:pt x="116" y="380"/>
                      </a:lnTo>
                      <a:lnTo>
                        <a:pt x="119" y="382"/>
                      </a:lnTo>
                      <a:lnTo>
                        <a:pt x="121" y="372"/>
                      </a:lnTo>
                      <a:lnTo>
                        <a:pt x="138" y="348"/>
                      </a:lnTo>
                      <a:lnTo>
                        <a:pt x="124" y="357"/>
                      </a:lnTo>
                      <a:lnTo>
                        <a:pt x="116" y="373"/>
                      </a:lnTo>
                      <a:lnTo>
                        <a:pt x="109" y="380"/>
                      </a:lnTo>
                      <a:lnTo>
                        <a:pt x="109" y="364"/>
                      </a:lnTo>
                      <a:lnTo>
                        <a:pt x="107" y="356"/>
                      </a:lnTo>
                      <a:lnTo>
                        <a:pt x="107" y="345"/>
                      </a:lnTo>
                      <a:lnTo>
                        <a:pt x="109" y="336"/>
                      </a:lnTo>
                      <a:lnTo>
                        <a:pt x="97" y="348"/>
                      </a:lnTo>
                      <a:lnTo>
                        <a:pt x="90" y="342"/>
                      </a:lnTo>
                      <a:lnTo>
                        <a:pt x="86" y="352"/>
                      </a:lnTo>
                      <a:lnTo>
                        <a:pt x="80" y="348"/>
                      </a:lnTo>
                      <a:lnTo>
                        <a:pt x="76" y="353"/>
                      </a:lnTo>
                      <a:lnTo>
                        <a:pt x="73" y="341"/>
                      </a:lnTo>
                      <a:lnTo>
                        <a:pt x="73" y="325"/>
                      </a:lnTo>
                      <a:lnTo>
                        <a:pt x="65" y="319"/>
                      </a:lnTo>
                      <a:lnTo>
                        <a:pt x="57" y="335"/>
                      </a:lnTo>
                      <a:lnTo>
                        <a:pt x="55" y="346"/>
                      </a:lnTo>
                      <a:lnTo>
                        <a:pt x="51" y="331"/>
                      </a:lnTo>
                      <a:lnTo>
                        <a:pt x="46" y="336"/>
                      </a:lnTo>
                      <a:lnTo>
                        <a:pt x="44" y="347"/>
                      </a:lnTo>
                      <a:lnTo>
                        <a:pt x="32" y="347"/>
                      </a:lnTo>
                      <a:lnTo>
                        <a:pt x="26" y="346"/>
                      </a:lnTo>
                      <a:lnTo>
                        <a:pt x="22" y="341"/>
                      </a:lnTo>
                      <a:lnTo>
                        <a:pt x="16" y="340"/>
                      </a:lnTo>
                      <a:lnTo>
                        <a:pt x="10" y="330"/>
                      </a:lnTo>
                      <a:lnTo>
                        <a:pt x="3" y="309"/>
                      </a:lnTo>
                      <a:lnTo>
                        <a:pt x="1" y="294"/>
                      </a:lnTo>
                      <a:lnTo>
                        <a:pt x="0" y="280"/>
                      </a:lnTo>
                      <a:lnTo>
                        <a:pt x="3" y="269"/>
                      </a:lnTo>
                      <a:lnTo>
                        <a:pt x="3" y="255"/>
                      </a:lnTo>
                      <a:lnTo>
                        <a:pt x="6" y="246"/>
                      </a:lnTo>
                      <a:lnTo>
                        <a:pt x="21" y="234"/>
                      </a:lnTo>
                      <a:lnTo>
                        <a:pt x="27" y="242"/>
                      </a:lnTo>
                      <a:lnTo>
                        <a:pt x="33" y="235"/>
                      </a:lnTo>
                      <a:lnTo>
                        <a:pt x="43" y="234"/>
                      </a:lnTo>
                      <a:lnTo>
                        <a:pt x="42" y="244"/>
                      </a:lnTo>
                      <a:lnTo>
                        <a:pt x="48" y="249"/>
                      </a:lnTo>
                      <a:lnTo>
                        <a:pt x="52" y="240"/>
                      </a:lnTo>
                      <a:lnTo>
                        <a:pt x="53" y="230"/>
                      </a:lnTo>
                      <a:lnTo>
                        <a:pt x="57" y="228"/>
                      </a:lnTo>
                      <a:lnTo>
                        <a:pt x="58" y="206"/>
                      </a:lnTo>
                      <a:lnTo>
                        <a:pt x="64" y="206"/>
                      </a:lnTo>
                      <a:lnTo>
                        <a:pt x="65" y="199"/>
                      </a:lnTo>
                      <a:lnTo>
                        <a:pt x="62" y="189"/>
                      </a:lnTo>
                      <a:lnTo>
                        <a:pt x="70" y="186"/>
                      </a:lnTo>
                      <a:lnTo>
                        <a:pt x="70" y="174"/>
                      </a:lnTo>
                      <a:lnTo>
                        <a:pt x="74" y="171"/>
                      </a:lnTo>
                      <a:lnTo>
                        <a:pt x="79" y="162"/>
                      </a:lnTo>
                      <a:lnTo>
                        <a:pt x="85" y="156"/>
                      </a:lnTo>
                      <a:lnTo>
                        <a:pt x="86" y="149"/>
                      </a:lnTo>
                      <a:lnTo>
                        <a:pt x="75" y="158"/>
                      </a:lnTo>
                      <a:lnTo>
                        <a:pt x="71" y="152"/>
                      </a:lnTo>
                      <a:lnTo>
                        <a:pt x="76" y="140"/>
                      </a:lnTo>
                      <a:lnTo>
                        <a:pt x="68" y="141"/>
                      </a:lnTo>
                      <a:lnTo>
                        <a:pt x="52" y="126"/>
                      </a:lnTo>
                      <a:lnTo>
                        <a:pt x="55" y="111"/>
                      </a:lnTo>
                      <a:lnTo>
                        <a:pt x="73" y="97"/>
                      </a:lnTo>
                      <a:lnTo>
                        <a:pt x="85" y="90"/>
                      </a:lnTo>
                      <a:lnTo>
                        <a:pt x="91" y="95"/>
                      </a:lnTo>
                      <a:lnTo>
                        <a:pt x="103" y="87"/>
                      </a:lnTo>
                      <a:lnTo>
                        <a:pt x="95" y="87"/>
                      </a:lnTo>
                      <a:lnTo>
                        <a:pt x="90" y="81"/>
                      </a:lnTo>
                      <a:lnTo>
                        <a:pt x="94" y="74"/>
                      </a:lnTo>
                      <a:lnTo>
                        <a:pt x="100" y="72"/>
                      </a:lnTo>
                      <a:lnTo>
                        <a:pt x="97" y="66"/>
                      </a:lnTo>
                      <a:lnTo>
                        <a:pt x="92" y="61"/>
                      </a:lnTo>
                      <a:lnTo>
                        <a:pt x="91" y="52"/>
                      </a:lnTo>
                      <a:lnTo>
                        <a:pt x="109" y="30"/>
                      </a:lnTo>
                      <a:lnTo>
                        <a:pt x="124" y="2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rgbClr val="77E2C3">
                      <a:lumMod val="40000"/>
                      <a:lumOff val="6000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77898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313C"/>
                    </a:solidFill>
                    <a:effectLst/>
                    <a:uLnTx/>
                    <a:uFillTx/>
                    <a:latin typeface="Arial"/>
                    <a:cs typeface="+mn-cs"/>
                  </a:endParaRPr>
                </a:p>
              </p:txBody>
            </p:sp>
            <p:sp>
              <p:nvSpPr>
                <p:cNvPr id="95" name="Freeform 175">
                  <a:extLst>
                    <a:ext uri="{FF2B5EF4-FFF2-40B4-BE49-F238E27FC236}">
                      <a16:creationId xmlns:a16="http://schemas.microsoft.com/office/drawing/2014/main" id="{1EDD1F8A-DFB7-A794-E754-8D96391E2C0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104" y="1129"/>
                  <a:ext cx="169" cy="159"/>
                </a:xfrm>
                <a:custGeom>
                  <a:avLst/>
                  <a:gdLst>
                    <a:gd name="T0" fmla="*/ 1 w 843"/>
                    <a:gd name="T1" fmla="*/ 27 h 796"/>
                    <a:gd name="T2" fmla="*/ 4 w 843"/>
                    <a:gd name="T3" fmla="*/ 25 h 796"/>
                    <a:gd name="T4" fmla="*/ 3 w 843"/>
                    <a:gd name="T5" fmla="*/ 25 h 796"/>
                    <a:gd name="T6" fmla="*/ 3 w 843"/>
                    <a:gd name="T7" fmla="*/ 23 h 796"/>
                    <a:gd name="T8" fmla="*/ 4 w 843"/>
                    <a:gd name="T9" fmla="*/ 22 h 796"/>
                    <a:gd name="T10" fmla="*/ 4 w 843"/>
                    <a:gd name="T11" fmla="*/ 21 h 796"/>
                    <a:gd name="T12" fmla="*/ 6 w 843"/>
                    <a:gd name="T13" fmla="*/ 20 h 796"/>
                    <a:gd name="T14" fmla="*/ 5 w 843"/>
                    <a:gd name="T15" fmla="*/ 19 h 796"/>
                    <a:gd name="T16" fmla="*/ 4 w 843"/>
                    <a:gd name="T17" fmla="*/ 18 h 796"/>
                    <a:gd name="T18" fmla="*/ 4 w 843"/>
                    <a:gd name="T19" fmla="*/ 16 h 796"/>
                    <a:gd name="T20" fmla="*/ 7 w 843"/>
                    <a:gd name="T21" fmla="*/ 16 h 796"/>
                    <a:gd name="T22" fmla="*/ 9 w 843"/>
                    <a:gd name="T23" fmla="*/ 14 h 796"/>
                    <a:gd name="T24" fmla="*/ 10 w 843"/>
                    <a:gd name="T25" fmla="*/ 12 h 796"/>
                    <a:gd name="T26" fmla="*/ 12 w 843"/>
                    <a:gd name="T27" fmla="*/ 10 h 796"/>
                    <a:gd name="T28" fmla="*/ 15 w 843"/>
                    <a:gd name="T29" fmla="*/ 8 h 796"/>
                    <a:gd name="T30" fmla="*/ 15 w 843"/>
                    <a:gd name="T31" fmla="*/ 9 h 796"/>
                    <a:gd name="T32" fmla="*/ 16 w 843"/>
                    <a:gd name="T33" fmla="*/ 7 h 796"/>
                    <a:gd name="T34" fmla="*/ 17 w 843"/>
                    <a:gd name="T35" fmla="*/ 6 h 796"/>
                    <a:gd name="T36" fmla="*/ 20 w 843"/>
                    <a:gd name="T37" fmla="*/ 7 h 796"/>
                    <a:gd name="T38" fmla="*/ 23 w 843"/>
                    <a:gd name="T39" fmla="*/ 6 h 796"/>
                    <a:gd name="T40" fmla="*/ 25 w 843"/>
                    <a:gd name="T41" fmla="*/ 5 h 796"/>
                    <a:gd name="T42" fmla="*/ 26 w 843"/>
                    <a:gd name="T43" fmla="*/ 4 h 796"/>
                    <a:gd name="T44" fmla="*/ 28 w 843"/>
                    <a:gd name="T45" fmla="*/ 2 h 796"/>
                    <a:gd name="T46" fmla="*/ 30 w 843"/>
                    <a:gd name="T47" fmla="*/ 0 h 796"/>
                    <a:gd name="T48" fmla="*/ 33 w 843"/>
                    <a:gd name="T49" fmla="*/ 1 h 796"/>
                    <a:gd name="T50" fmla="*/ 33 w 843"/>
                    <a:gd name="T51" fmla="*/ 4 h 796"/>
                    <a:gd name="T52" fmla="*/ 32 w 843"/>
                    <a:gd name="T53" fmla="*/ 7 h 796"/>
                    <a:gd name="T54" fmla="*/ 29 w 843"/>
                    <a:gd name="T55" fmla="*/ 9 h 796"/>
                    <a:gd name="T56" fmla="*/ 26 w 843"/>
                    <a:gd name="T57" fmla="*/ 10 h 796"/>
                    <a:gd name="T58" fmla="*/ 25 w 843"/>
                    <a:gd name="T59" fmla="*/ 11 h 796"/>
                    <a:gd name="T60" fmla="*/ 22 w 843"/>
                    <a:gd name="T61" fmla="*/ 12 h 796"/>
                    <a:gd name="T62" fmla="*/ 19 w 843"/>
                    <a:gd name="T63" fmla="*/ 15 h 796"/>
                    <a:gd name="T64" fmla="*/ 16 w 843"/>
                    <a:gd name="T65" fmla="*/ 18 h 796"/>
                    <a:gd name="T66" fmla="*/ 15 w 843"/>
                    <a:gd name="T67" fmla="*/ 18 h 796"/>
                    <a:gd name="T68" fmla="*/ 14 w 843"/>
                    <a:gd name="T69" fmla="*/ 20 h 796"/>
                    <a:gd name="T70" fmla="*/ 13 w 843"/>
                    <a:gd name="T71" fmla="*/ 21 h 796"/>
                    <a:gd name="T72" fmla="*/ 12 w 843"/>
                    <a:gd name="T73" fmla="*/ 21 h 796"/>
                    <a:gd name="T74" fmla="*/ 12 w 843"/>
                    <a:gd name="T75" fmla="*/ 22 h 796"/>
                    <a:gd name="T76" fmla="*/ 10 w 843"/>
                    <a:gd name="T77" fmla="*/ 22 h 796"/>
                    <a:gd name="T78" fmla="*/ 11 w 843"/>
                    <a:gd name="T79" fmla="*/ 24 h 796"/>
                    <a:gd name="T80" fmla="*/ 11 w 843"/>
                    <a:gd name="T81" fmla="*/ 25 h 796"/>
                    <a:gd name="T82" fmla="*/ 10 w 843"/>
                    <a:gd name="T83" fmla="*/ 26 h 796"/>
                    <a:gd name="T84" fmla="*/ 9 w 843"/>
                    <a:gd name="T85" fmla="*/ 24 h 796"/>
                    <a:gd name="T86" fmla="*/ 9 w 843"/>
                    <a:gd name="T87" fmla="*/ 26 h 796"/>
                    <a:gd name="T88" fmla="*/ 9 w 843"/>
                    <a:gd name="T89" fmla="*/ 27 h 796"/>
                    <a:gd name="T90" fmla="*/ 7 w 843"/>
                    <a:gd name="T91" fmla="*/ 27 h 796"/>
                    <a:gd name="T92" fmla="*/ 8 w 843"/>
                    <a:gd name="T93" fmla="*/ 29 h 796"/>
                    <a:gd name="T94" fmla="*/ 7 w 843"/>
                    <a:gd name="T95" fmla="*/ 29 h 796"/>
                    <a:gd name="T96" fmla="*/ 8 w 843"/>
                    <a:gd name="T97" fmla="*/ 30 h 796"/>
                    <a:gd name="T98" fmla="*/ 6 w 843"/>
                    <a:gd name="T99" fmla="*/ 32 h 796"/>
                    <a:gd name="T100" fmla="*/ 3 w 843"/>
                    <a:gd name="T101" fmla="*/ 30 h 796"/>
                    <a:gd name="T102" fmla="*/ 2 w 843"/>
                    <a:gd name="T103" fmla="*/ 30 h 796"/>
                    <a:gd name="T104" fmla="*/ 3 w 843"/>
                    <a:gd name="T105" fmla="*/ 29 h 796"/>
                    <a:gd name="T106" fmla="*/ 2 w 843"/>
                    <a:gd name="T107" fmla="*/ 28 h 796"/>
                    <a:gd name="T108" fmla="*/ 0 w 843"/>
                    <a:gd name="T109" fmla="*/ 28 h 79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843"/>
                    <a:gd name="T166" fmla="*/ 0 h 796"/>
                    <a:gd name="T167" fmla="*/ 843 w 843"/>
                    <a:gd name="T168" fmla="*/ 796 h 796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843" h="796">
                      <a:moveTo>
                        <a:pt x="0" y="692"/>
                      </a:moveTo>
                      <a:lnTo>
                        <a:pt x="0" y="687"/>
                      </a:lnTo>
                      <a:lnTo>
                        <a:pt x="4" y="692"/>
                      </a:lnTo>
                      <a:lnTo>
                        <a:pt x="17" y="689"/>
                      </a:lnTo>
                      <a:lnTo>
                        <a:pt x="31" y="669"/>
                      </a:lnTo>
                      <a:lnTo>
                        <a:pt x="60" y="659"/>
                      </a:lnTo>
                      <a:lnTo>
                        <a:pt x="55" y="653"/>
                      </a:lnTo>
                      <a:lnTo>
                        <a:pt x="60" y="636"/>
                      </a:lnTo>
                      <a:lnTo>
                        <a:pt x="77" y="621"/>
                      </a:lnTo>
                      <a:lnTo>
                        <a:pt x="88" y="629"/>
                      </a:lnTo>
                      <a:lnTo>
                        <a:pt x="101" y="631"/>
                      </a:lnTo>
                      <a:lnTo>
                        <a:pt x="116" y="641"/>
                      </a:lnTo>
                      <a:lnTo>
                        <a:pt x="133" y="644"/>
                      </a:lnTo>
                      <a:lnTo>
                        <a:pt x="124" y="631"/>
                      </a:lnTo>
                      <a:lnTo>
                        <a:pt x="84" y="616"/>
                      </a:lnTo>
                      <a:lnTo>
                        <a:pt x="77" y="604"/>
                      </a:lnTo>
                      <a:lnTo>
                        <a:pt x="86" y="606"/>
                      </a:lnTo>
                      <a:lnTo>
                        <a:pt x="103" y="604"/>
                      </a:lnTo>
                      <a:lnTo>
                        <a:pt x="108" y="593"/>
                      </a:lnTo>
                      <a:lnTo>
                        <a:pt x="83" y="578"/>
                      </a:lnTo>
                      <a:lnTo>
                        <a:pt x="86" y="572"/>
                      </a:lnTo>
                      <a:lnTo>
                        <a:pt x="120" y="570"/>
                      </a:lnTo>
                      <a:lnTo>
                        <a:pt x="127" y="565"/>
                      </a:lnTo>
                      <a:lnTo>
                        <a:pt x="121" y="556"/>
                      </a:lnTo>
                      <a:lnTo>
                        <a:pt x="109" y="554"/>
                      </a:lnTo>
                      <a:lnTo>
                        <a:pt x="103" y="545"/>
                      </a:lnTo>
                      <a:lnTo>
                        <a:pt x="98" y="536"/>
                      </a:lnTo>
                      <a:lnTo>
                        <a:pt x="98" y="523"/>
                      </a:lnTo>
                      <a:lnTo>
                        <a:pt x="100" y="519"/>
                      </a:lnTo>
                      <a:lnTo>
                        <a:pt x="106" y="527"/>
                      </a:lnTo>
                      <a:lnTo>
                        <a:pt x="129" y="513"/>
                      </a:lnTo>
                      <a:lnTo>
                        <a:pt x="151" y="519"/>
                      </a:lnTo>
                      <a:lnTo>
                        <a:pt x="163" y="511"/>
                      </a:lnTo>
                      <a:lnTo>
                        <a:pt x="152" y="513"/>
                      </a:lnTo>
                      <a:lnTo>
                        <a:pt x="144" y="509"/>
                      </a:lnTo>
                      <a:lnTo>
                        <a:pt x="138" y="496"/>
                      </a:lnTo>
                      <a:lnTo>
                        <a:pt x="127" y="493"/>
                      </a:lnTo>
                      <a:lnTo>
                        <a:pt x="108" y="498"/>
                      </a:lnTo>
                      <a:lnTo>
                        <a:pt x="105" y="490"/>
                      </a:lnTo>
                      <a:lnTo>
                        <a:pt x="113" y="481"/>
                      </a:lnTo>
                      <a:lnTo>
                        <a:pt x="122" y="455"/>
                      </a:lnTo>
                      <a:lnTo>
                        <a:pt x="117" y="457"/>
                      </a:lnTo>
                      <a:lnTo>
                        <a:pt x="116" y="452"/>
                      </a:lnTo>
                      <a:lnTo>
                        <a:pt x="113" y="443"/>
                      </a:lnTo>
                      <a:lnTo>
                        <a:pt x="103" y="457"/>
                      </a:lnTo>
                      <a:lnTo>
                        <a:pt x="103" y="442"/>
                      </a:lnTo>
                      <a:lnTo>
                        <a:pt x="97" y="437"/>
                      </a:lnTo>
                      <a:lnTo>
                        <a:pt x="103" y="426"/>
                      </a:lnTo>
                      <a:lnTo>
                        <a:pt x="100" y="421"/>
                      </a:lnTo>
                      <a:lnTo>
                        <a:pt x="105" y="410"/>
                      </a:lnTo>
                      <a:lnTo>
                        <a:pt x="124" y="410"/>
                      </a:lnTo>
                      <a:lnTo>
                        <a:pt x="124" y="426"/>
                      </a:lnTo>
                      <a:lnTo>
                        <a:pt x="131" y="431"/>
                      </a:lnTo>
                      <a:lnTo>
                        <a:pt x="153" y="418"/>
                      </a:lnTo>
                      <a:lnTo>
                        <a:pt x="163" y="404"/>
                      </a:lnTo>
                      <a:lnTo>
                        <a:pt x="165" y="387"/>
                      </a:lnTo>
                      <a:lnTo>
                        <a:pt x="184" y="378"/>
                      </a:lnTo>
                      <a:lnTo>
                        <a:pt x="208" y="383"/>
                      </a:lnTo>
                      <a:lnTo>
                        <a:pt x="229" y="362"/>
                      </a:lnTo>
                      <a:lnTo>
                        <a:pt x="230" y="351"/>
                      </a:lnTo>
                      <a:lnTo>
                        <a:pt x="226" y="340"/>
                      </a:lnTo>
                      <a:lnTo>
                        <a:pt x="237" y="332"/>
                      </a:lnTo>
                      <a:lnTo>
                        <a:pt x="234" y="320"/>
                      </a:lnTo>
                      <a:lnTo>
                        <a:pt x="249" y="308"/>
                      </a:lnTo>
                      <a:lnTo>
                        <a:pt x="259" y="310"/>
                      </a:lnTo>
                      <a:lnTo>
                        <a:pt x="269" y="304"/>
                      </a:lnTo>
                      <a:lnTo>
                        <a:pt x="265" y="298"/>
                      </a:lnTo>
                      <a:lnTo>
                        <a:pt x="271" y="277"/>
                      </a:lnTo>
                      <a:lnTo>
                        <a:pt x="278" y="269"/>
                      </a:lnTo>
                      <a:lnTo>
                        <a:pt x="302" y="253"/>
                      </a:lnTo>
                      <a:lnTo>
                        <a:pt x="334" y="240"/>
                      </a:lnTo>
                      <a:lnTo>
                        <a:pt x="341" y="233"/>
                      </a:lnTo>
                      <a:lnTo>
                        <a:pt x="343" y="222"/>
                      </a:lnTo>
                      <a:lnTo>
                        <a:pt x="348" y="211"/>
                      </a:lnTo>
                      <a:lnTo>
                        <a:pt x="372" y="196"/>
                      </a:lnTo>
                      <a:lnTo>
                        <a:pt x="383" y="201"/>
                      </a:lnTo>
                      <a:lnTo>
                        <a:pt x="377" y="212"/>
                      </a:lnTo>
                      <a:lnTo>
                        <a:pt x="371" y="229"/>
                      </a:lnTo>
                      <a:lnTo>
                        <a:pt x="380" y="232"/>
                      </a:lnTo>
                      <a:lnTo>
                        <a:pt x="385" y="219"/>
                      </a:lnTo>
                      <a:lnTo>
                        <a:pt x="404" y="212"/>
                      </a:lnTo>
                      <a:lnTo>
                        <a:pt x="409" y="201"/>
                      </a:lnTo>
                      <a:lnTo>
                        <a:pt x="401" y="195"/>
                      </a:lnTo>
                      <a:lnTo>
                        <a:pt x="398" y="184"/>
                      </a:lnTo>
                      <a:lnTo>
                        <a:pt x="398" y="169"/>
                      </a:lnTo>
                      <a:lnTo>
                        <a:pt x="404" y="170"/>
                      </a:lnTo>
                      <a:lnTo>
                        <a:pt x="407" y="162"/>
                      </a:lnTo>
                      <a:lnTo>
                        <a:pt x="402" y="157"/>
                      </a:lnTo>
                      <a:lnTo>
                        <a:pt x="423" y="152"/>
                      </a:lnTo>
                      <a:lnTo>
                        <a:pt x="426" y="161"/>
                      </a:lnTo>
                      <a:lnTo>
                        <a:pt x="470" y="165"/>
                      </a:lnTo>
                      <a:lnTo>
                        <a:pt x="470" y="185"/>
                      </a:lnTo>
                      <a:lnTo>
                        <a:pt x="481" y="190"/>
                      </a:lnTo>
                      <a:lnTo>
                        <a:pt x="488" y="178"/>
                      </a:lnTo>
                      <a:lnTo>
                        <a:pt x="502" y="184"/>
                      </a:lnTo>
                      <a:lnTo>
                        <a:pt x="546" y="152"/>
                      </a:lnTo>
                      <a:lnTo>
                        <a:pt x="557" y="152"/>
                      </a:lnTo>
                      <a:lnTo>
                        <a:pt x="560" y="161"/>
                      </a:lnTo>
                      <a:lnTo>
                        <a:pt x="562" y="162"/>
                      </a:lnTo>
                      <a:lnTo>
                        <a:pt x="572" y="161"/>
                      </a:lnTo>
                      <a:lnTo>
                        <a:pt x="577" y="154"/>
                      </a:lnTo>
                      <a:lnTo>
                        <a:pt x="583" y="156"/>
                      </a:lnTo>
                      <a:lnTo>
                        <a:pt x="588" y="147"/>
                      </a:lnTo>
                      <a:lnTo>
                        <a:pt x="595" y="146"/>
                      </a:lnTo>
                      <a:lnTo>
                        <a:pt x="615" y="124"/>
                      </a:lnTo>
                      <a:lnTo>
                        <a:pt x="633" y="124"/>
                      </a:lnTo>
                      <a:lnTo>
                        <a:pt x="638" y="118"/>
                      </a:lnTo>
                      <a:lnTo>
                        <a:pt x="643" y="102"/>
                      </a:lnTo>
                      <a:lnTo>
                        <a:pt x="653" y="109"/>
                      </a:lnTo>
                      <a:lnTo>
                        <a:pt x="660" y="105"/>
                      </a:lnTo>
                      <a:lnTo>
                        <a:pt x="667" y="97"/>
                      </a:lnTo>
                      <a:lnTo>
                        <a:pt x="663" y="70"/>
                      </a:lnTo>
                      <a:lnTo>
                        <a:pt x="668" y="56"/>
                      </a:lnTo>
                      <a:lnTo>
                        <a:pt x="680" y="51"/>
                      </a:lnTo>
                      <a:lnTo>
                        <a:pt x="689" y="39"/>
                      </a:lnTo>
                      <a:lnTo>
                        <a:pt x="697" y="39"/>
                      </a:lnTo>
                      <a:lnTo>
                        <a:pt x="708" y="25"/>
                      </a:lnTo>
                      <a:lnTo>
                        <a:pt x="713" y="14"/>
                      </a:lnTo>
                      <a:lnTo>
                        <a:pt x="726" y="20"/>
                      </a:lnTo>
                      <a:lnTo>
                        <a:pt x="750" y="0"/>
                      </a:lnTo>
                      <a:lnTo>
                        <a:pt x="782" y="1"/>
                      </a:lnTo>
                      <a:lnTo>
                        <a:pt x="812" y="12"/>
                      </a:lnTo>
                      <a:lnTo>
                        <a:pt x="820" y="20"/>
                      </a:lnTo>
                      <a:lnTo>
                        <a:pt x="825" y="29"/>
                      </a:lnTo>
                      <a:lnTo>
                        <a:pt x="832" y="36"/>
                      </a:lnTo>
                      <a:lnTo>
                        <a:pt x="831" y="46"/>
                      </a:lnTo>
                      <a:lnTo>
                        <a:pt x="842" y="76"/>
                      </a:lnTo>
                      <a:lnTo>
                        <a:pt x="842" y="87"/>
                      </a:lnTo>
                      <a:lnTo>
                        <a:pt x="834" y="93"/>
                      </a:lnTo>
                      <a:lnTo>
                        <a:pt x="829" y="110"/>
                      </a:lnTo>
                      <a:lnTo>
                        <a:pt x="843" y="111"/>
                      </a:lnTo>
                      <a:lnTo>
                        <a:pt x="841" y="119"/>
                      </a:lnTo>
                      <a:lnTo>
                        <a:pt x="829" y="127"/>
                      </a:lnTo>
                      <a:lnTo>
                        <a:pt x="819" y="141"/>
                      </a:lnTo>
                      <a:lnTo>
                        <a:pt x="799" y="176"/>
                      </a:lnTo>
                      <a:lnTo>
                        <a:pt x="807" y="189"/>
                      </a:lnTo>
                      <a:lnTo>
                        <a:pt x="789" y="180"/>
                      </a:lnTo>
                      <a:lnTo>
                        <a:pt x="781" y="180"/>
                      </a:lnTo>
                      <a:lnTo>
                        <a:pt x="772" y="184"/>
                      </a:lnTo>
                      <a:lnTo>
                        <a:pt x="733" y="221"/>
                      </a:lnTo>
                      <a:lnTo>
                        <a:pt x="712" y="229"/>
                      </a:lnTo>
                      <a:lnTo>
                        <a:pt x="702" y="229"/>
                      </a:lnTo>
                      <a:lnTo>
                        <a:pt x="680" y="240"/>
                      </a:lnTo>
                      <a:lnTo>
                        <a:pt x="669" y="238"/>
                      </a:lnTo>
                      <a:lnTo>
                        <a:pt x="648" y="244"/>
                      </a:lnTo>
                      <a:lnTo>
                        <a:pt x="641" y="251"/>
                      </a:lnTo>
                      <a:lnTo>
                        <a:pt x="638" y="261"/>
                      </a:lnTo>
                      <a:lnTo>
                        <a:pt x="628" y="271"/>
                      </a:lnTo>
                      <a:lnTo>
                        <a:pt x="624" y="260"/>
                      </a:lnTo>
                      <a:lnTo>
                        <a:pt x="614" y="276"/>
                      </a:lnTo>
                      <a:lnTo>
                        <a:pt x="558" y="310"/>
                      </a:lnTo>
                      <a:lnTo>
                        <a:pt x="552" y="309"/>
                      </a:lnTo>
                      <a:lnTo>
                        <a:pt x="545" y="289"/>
                      </a:lnTo>
                      <a:lnTo>
                        <a:pt x="539" y="294"/>
                      </a:lnTo>
                      <a:lnTo>
                        <a:pt x="540" y="304"/>
                      </a:lnTo>
                      <a:lnTo>
                        <a:pt x="538" y="308"/>
                      </a:lnTo>
                      <a:lnTo>
                        <a:pt x="534" y="318"/>
                      </a:lnTo>
                      <a:lnTo>
                        <a:pt x="506" y="350"/>
                      </a:lnTo>
                      <a:lnTo>
                        <a:pt x="481" y="356"/>
                      </a:lnTo>
                      <a:lnTo>
                        <a:pt x="472" y="372"/>
                      </a:lnTo>
                      <a:lnTo>
                        <a:pt x="469" y="363"/>
                      </a:lnTo>
                      <a:lnTo>
                        <a:pt x="449" y="398"/>
                      </a:lnTo>
                      <a:lnTo>
                        <a:pt x="422" y="431"/>
                      </a:lnTo>
                      <a:lnTo>
                        <a:pt x="395" y="436"/>
                      </a:lnTo>
                      <a:lnTo>
                        <a:pt x="391" y="442"/>
                      </a:lnTo>
                      <a:lnTo>
                        <a:pt x="389" y="434"/>
                      </a:lnTo>
                      <a:lnTo>
                        <a:pt x="378" y="436"/>
                      </a:lnTo>
                      <a:lnTo>
                        <a:pt x="373" y="430"/>
                      </a:lnTo>
                      <a:lnTo>
                        <a:pt x="367" y="445"/>
                      </a:lnTo>
                      <a:lnTo>
                        <a:pt x="374" y="453"/>
                      </a:lnTo>
                      <a:lnTo>
                        <a:pt x="383" y="454"/>
                      </a:lnTo>
                      <a:lnTo>
                        <a:pt x="385" y="465"/>
                      </a:lnTo>
                      <a:lnTo>
                        <a:pt x="359" y="491"/>
                      </a:lnTo>
                      <a:lnTo>
                        <a:pt x="362" y="501"/>
                      </a:lnTo>
                      <a:lnTo>
                        <a:pt x="358" y="511"/>
                      </a:lnTo>
                      <a:lnTo>
                        <a:pt x="340" y="514"/>
                      </a:lnTo>
                      <a:lnTo>
                        <a:pt x="331" y="504"/>
                      </a:lnTo>
                      <a:lnTo>
                        <a:pt x="316" y="498"/>
                      </a:lnTo>
                      <a:lnTo>
                        <a:pt x="319" y="506"/>
                      </a:lnTo>
                      <a:lnTo>
                        <a:pt x="331" y="520"/>
                      </a:lnTo>
                      <a:lnTo>
                        <a:pt x="341" y="543"/>
                      </a:lnTo>
                      <a:lnTo>
                        <a:pt x="304" y="517"/>
                      </a:lnTo>
                      <a:lnTo>
                        <a:pt x="294" y="520"/>
                      </a:lnTo>
                      <a:lnTo>
                        <a:pt x="296" y="524"/>
                      </a:lnTo>
                      <a:lnTo>
                        <a:pt x="294" y="530"/>
                      </a:lnTo>
                      <a:lnTo>
                        <a:pt x="299" y="544"/>
                      </a:lnTo>
                      <a:lnTo>
                        <a:pt x="304" y="549"/>
                      </a:lnTo>
                      <a:lnTo>
                        <a:pt x="293" y="541"/>
                      </a:lnTo>
                      <a:lnTo>
                        <a:pt x="291" y="547"/>
                      </a:lnTo>
                      <a:lnTo>
                        <a:pt x="297" y="562"/>
                      </a:lnTo>
                      <a:lnTo>
                        <a:pt x="293" y="570"/>
                      </a:lnTo>
                      <a:lnTo>
                        <a:pt x="285" y="571"/>
                      </a:lnTo>
                      <a:lnTo>
                        <a:pt x="280" y="561"/>
                      </a:lnTo>
                      <a:lnTo>
                        <a:pt x="251" y="538"/>
                      </a:lnTo>
                      <a:lnTo>
                        <a:pt x="249" y="547"/>
                      </a:lnTo>
                      <a:lnTo>
                        <a:pt x="262" y="561"/>
                      </a:lnTo>
                      <a:lnTo>
                        <a:pt x="270" y="574"/>
                      </a:lnTo>
                      <a:lnTo>
                        <a:pt x="278" y="593"/>
                      </a:lnTo>
                      <a:lnTo>
                        <a:pt x="278" y="604"/>
                      </a:lnTo>
                      <a:lnTo>
                        <a:pt x="273" y="603"/>
                      </a:lnTo>
                      <a:lnTo>
                        <a:pt x="271" y="610"/>
                      </a:lnTo>
                      <a:lnTo>
                        <a:pt x="270" y="620"/>
                      </a:lnTo>
                      <a:lnTo>
                        <a:pt x="264" y="613"/>
                      </a:lnTo>
                      <a:lnTo>
                        <a:pt x="261" y="613"/>
                      </a:lnTo>
                      <a:lnTo>
                        <a:pt x="262" y="625"/>
                      </a:lnTo>
                      <a:lnTo>
                        <a:pt x="265" y="629"/>
                      </a:lnTo>
                      <a:lnTo>
                        <a:pt x="260" y="633"/>
                      </a:lnTo>
                      <a:lnTo>
                        <a:pt x="251" y="625"/>
                      </a:lnTo>
                      <a:lnTo>
                        <a:pt x="249" y="636"/>
                      </a:lnTo>
                      <a:lnTo>
                        <a:pt x="251" y="651"/>
                      </a:lnTo>
                      <a:lnTo>
                        <a:pt x="244" y="653"/>
                      </a:lnTo>
                      <a:lnTo>
                        <a:pt x="239" y="644"/>
                      </a:lnTo>
                      <a:lnTo>
                        <a:pt x="232" y="643"/>
                      </a:lnTo>
                      <a:lnTo>
                        <a:pt x="228" y="630"/>
                      </a:lnTo>
                      <a:lnTo>
                        <a:pt x="213" y="601"/>
                      </a:lnTo>
                      <a:lnTo>
                        <a:pt x="207" y="621"/>
                      </a:lnTo>
                      <a:lnTo>
                        <a:pt x="210" y="633"/>
                      </a:lnTo>
                      <a:lnTo>
                        <a:pt x="197" y="640"/>
                      </a:lnTo>
                      <a:lnTo>
                        <a:pt x="213" y="646"/>
                      </a:lnTo>
                      <a:lnTo>
                        <a:pt x="221" y="652"/>
                      </a:lnTo>
                      <a:lnTo>
                        <a:pt x="221" y="663"/>
                      </a:lnTo>
                      <a:lnTo>
                        <a:pt x="230" y="668"/>
                      </a:lnTo>
                      <a:lnTo>
                        <a:pt x="226" y="671"/>
                      </a:lnTo>
                      <a:lnTo>
                        <a:pt x="228" y="678"/>
                      </a:lnTo>
                      <a:lnTo>
                        <a:pt x="228" y="687"/>
                      </a:lnTo>
                      <a:lnTo>
                        <a:pt x="226" y="700"/>
                      </a:lnTo>
                      <a:lnTo>
                        <a:pt x="216" y="701"/>
                      </a:lnTo>
                      <a:lnTo>
                        <a:pt x="211" y="686"/>
                      </a:lnTo>
                      <a:lnTo>
                        <a:pt x="205" y="684"/>
                      </a:lnTo>
                      <a:lnTo>
                        <a:pt x="179" y="679"/>
                      </a:lnTo>
                      <a:lnTo>
                        <a:pt x="170" y="681"/>
                      </a:lnTo>
                      <a:lnTo>
                        <a:pt x="179" y="689"/>
                      </a:lnTo>
                      <a:lnTo>
                        <a:pt x="194" y="691"/>
                      </a:lnTo>
                      <a:lnTo>
                        <a:pt x="207" y="712"/>
                      </a:lnTo>
                      <a:lnTo>
                        <a:pt x="211" y="723"/>
                      </a:lnTo>
                      <a:lnTo>
                        <a:pt x="207" y="730"/>
                      </a:lnTo>
                      <a:lnTo>
                        <a:pt x="202" y="733"/>
                      </a:lnTo>
                      <a:lnTo>
                        <a:pt x="200" y="739"/>
                      </a:lnTo>
                      <a:lnTo>
                        <a:pt x="190" y="730"/>
                      </a:lnTo>
                      <a:lnTo>
                        <a:pt x="185" y="718"/>
                      </a:lnTo>
                      <a:lnTo>
                        <a:pt x="174" y="714"/>
                      </a:lnTo>
                      <a:lnTo>
                        <a:pt x="179" y="732"/>
                      </a:lnTo>
                      <a:lnTo>
                        <a:pt x="184" y="744"/>
                      </a:lnTo>
                      <a:lnTo>
                        <a:pt x="191" y="751"/>
                      </a:lnTo>
                      <a:lnTo>
                        <a:pt x="192" y="760"/>
                      </a:lnTo>
                      <a:lnTo>
                        <a:pt x="185" y="769"/>
                      </a:lnTo>
                      <a:lnTo>
                        <a:pt x="180" y="781"/>
                      </a:lnTo>
                      <a:lnTo>
                        <a:pt x="174" y="782"/>
                      </a:lnTo>
                      <a:lnTo>
                        <a:pt x="167" y="796"/>
                      </a:lnTo>
                      <a:lnTo>
                        <a:pt x="159" y="794"/>
                      </a:lnTo>
                      <a:lnTo>
                        <a:pt x="152" y="788"/>
                      </a:lnTo>
                      <a:lnTo>
                        <a:pt x="133" y="789"/>
                      </a:lnTo>
                      <a:lnTo>
                        <a:pt x="115" y="777"/>
                      </a:lnTo>
                      <a:lnTo>
                        <a:pt x="97" y="776"/>
                      </a:lnTo>
                      <a:lnTo>
                        <a:pt x="82" y="761"/>
                      </a:lnTo>
                      <a:lnTo>
                        <a:pt x="61" y="764"/>
                      </a:lnTo>
                      <a:lnTo>
                        <a:pt x="39" y="777"/>
                      </a:lnTo>
                      <a:lnTo>
                        <a:pt x="24" y="776"/>
                      </a:lnTo>
                      <a:lnTo>
                        <a:pt x="35" y="766"/>
                      </a:lnTo>
                      <a:lnTo>
                        <a:pt x="39" y="757"/>
                      </a:lnTo>
                      <a:lnTo>
                        <a:pt x="33" y="757"/>
                      </a:lnTo>
                      <a:lnTo>
                        <a:pt x="34" y="745"/>
                      </a:lnTo>
                      <a:lnTo>
                        <a:pt x="39" y="738"/>
                      </a:lnTo>
                      <a:lnTo>
                        <a:pt x="56" y="723"/>
                      </a:lnTo>
                      <a:lnTo>
                        <a:pt x="63" y="724"/>
                      </a:lnTo>
                      <a:lnTo>
                        <a:pt x="78" y="713"/>
                      </a:lnTo>
                      <a:lnTo>
                        <a:pt x="77" y="711"/>
                      </a:lnTo>
                      <a:lnTo>
                        <a:pt x="68" y="703"/>
                      </a:lnTo>
                      <a:lnTo>
                        <a:pt x="63" y="711"/>
                      </a:lnTo>
                      <a:lnTo>
                        <a:pt x="52" y="713"/>
                      </a:lnTo>
                      <a:lnTo>
                        <a:pt x="40" y="727"/>
                      </a:lnTo>
                      <a:lnTo>
                        <a:pt x="18" y="724"/>
                      </a:lnTo>
                      <a:lnTo>
                        <a:pt x="17" y="714"/>
                      </a:lnTo>
                      <a:lnTo>
                        <a:pt x="4" y="706"/>
                      </a:lnTo>
                      <a:lnTo>
                        <a:pt x="0" y="692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rgbClr val="77E2C3">
                      <a:lumMod val="40000"/>
                      <a:lumOff val="6000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77898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313C"/>
                    </a:solidFill>
                    <a:effectLst/>
                    <a:uLnTx/>
                    <a:uFillTx/>
                    <a:latin typeface="Arial"/>
                    <a:cs typeface="+mn-cs"/>
                  </a:endParaRPr>
                </a:p>
              </p:txBody>
            </p:sp>
            <p:sp>
              <p:nvSpPr>
                <p:cNvPr id="96" name="Freeform 176">
                  <a:extLst>
                    <a:ext uri="{FF2B5EF4-FFF2-40B4-BE49-F238E27FC236}">
                      <a16:creationId xmlns:a16="http://schemas.microsoft.com/office/drawing/2014/main" id="{BD7A1249-D63A-D833-044D-62FECBBA5E0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090" y="1355"/>
                  <a:ext cx="9" cy="16"/>
                </a:xfrm>
                <a:custGeom>
                  <a:avLst/>
                  <a:gdLst>
                    <a:gd name="T0" fmla="*/ 0 w 48"/>
                    <a:gd name="T1" fmla="*/ 0 h 81"/>
                    <a:gd name="T2" fmla="*/ 0 w 48"/>
                    <a:gd name="T3" fmla="*/ 0 h 81"/>
                    <a:gd name="T4" fmla="*/ 0 w 48"/>
                    <a:gd name="T5" fmla="*/ 0 h 81"/>
                    <a:gd name="T6" fmla="*/ 1 w 48"/>
                    <a:gd name="T7" fmla="*/ 0 h 81"/>
                    <a:gd name="T8" fmla="*/ 1 w 48"/>
                    <a:gd name="T9" fmla="*/ 1 h 81"/>
                    <a:gd name="T10" fmla="*/ 1 w 48"/>
                    <a:gd name="T11" fmla="*/ 0 h 81"/>
                    <a:gd name="T12" fmla="*/ 2 w 48"/>
                    <a:gd name="T13" fmla="*/ 1 h 81"/>
                    <a:gd name="T14" fmla="*/ 2 w 48"/>
                    <a:gd name="T15" fmla="*/ 2 h 81"/>
                    <a:gd name="T16" fmla="*/ 2 w 48"/>
                    <a:gd name="T17" fmla="*/ 2 h 81"/>
                    <a:gd name="T18" fmla="*/ 2 w 48"/>
                    <a:gd name="T19" fmla="*/ 2 h 81"/>
                    <a:gd name="T20" fmla="*/ 2 w 48"/>
                    <a:gd name="T21" fmla="*/ 3 h 81"/>
                    <a:gd name="T22" fmla="*/ 2 w 48"/>
                    <a:gd name="T23" fmla="*/ 3 h 81"/>
                    <a:gd name="T24" fmla="*/ 2 w 48"/>
                    <a:gd name="T25" fmla="*/ 3 h 81"/>
                    <a:gd name="T26" fmla="*/ 1 w 48"/>
                    <a:gd name="T27" fmla="*/ 2 h 81"/>
                    <a:gd name="T28" fmla="*/ 1 w 48"/>
                    <a:gd name="T29" fmla="*/ 2 h 81"/>
                    <a:gd name="T30" fmla="*/ 1 w 48"/>
                    <a:gd name="T31" fmla="*/ 1 h 81"/>
                    <a:gd name="T32" fmla="*/ 0 w 48"/>
                    <a:gd name="T33" fmla="*/ 1 h 81"/>
                    <a:gd name="T34" fmla="*/ 0 w 48"/>
                    <a:gd name="T35" fmla="*/ 0 h 81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48"/>
                    <a:gd name="T55" fmla="*/ 0 h 81"/>
                    <a:gd name="T56" fmla="*/ 48 w 48"/>
                    <a:gd name="T57" fmla="*/ 81 h 81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48" h="81">
                      <a:moveTo>
                        <a:pt x="0" y="11"/>
                      </a:moveTo>
                      <a:lnTo>
                        <a:pt x="0" y="8"/>
                      </a:lnTo>
                      <a:lnTo>
                        <a:pt x="13" y="0"/>
                      </a:lnTo>
                      <a:lnTo>
                        <a:pt x="23" y="5"/>
                      </a:lnTo>
                      <a:lnTo>
                        <a:pt x="33" y="16"/>
                      </a:lnTo>
                      <a:lnTo>
                        <a:pt x="35" y="10"/>
                      </a:lnTo>
                      <a:lnTo>
                        <a:pt x="47" y="30"/>
                      </a:lnTo>
                      <a:lnTo>
                        <a:pt x="48" y="40"/>
                      </a:lnTo>
                      <a:lnTo>
                        <a:pt x="47" y="53"/>
                      </a:lnTo>
                      <a:lnTo>
                        <a:pt x="44" y="57"/>
                      </a:lnTo>
                      <a:lnTo>
                        <a:pt x="45" y="68"/>
                      </a:lnTo>
                      <a:lnTo>
                        <a:pt x="48" y="78"/>
                      </a:lnTo>
                      <a:lnTo>
                        <a:pt x="44" y="81"/>
                      </a:lnTo>
                      <a:lnTo>
                        <a:pt x="38" y="59"/>
                      </a:lnTo>
                      <a:lnTo>
                        <a:pt x="31" y="46"/>
                      </a:lnTo>
                      <a:lnTo>
                        <a:pt x="24" y="27"/>
                      </a:lnTo>
                      <a:lnTo>
                        <a:pt x="4" y="19"/>
                      </a:lnTo>
                      <a:lnTo>
                        <a:pt x="0" y="11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rgbClr val="77E2C3">
                      <a:lumMod val="40000"/>
                      <a:lumOff val="6000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77898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313C"/>
                    </a:solidFill>
                    <a:effectLst/>
                    <a:uLnTx/>
                    <a:uFillTx/>
                    <a:latin typeface="Arial"/>
                    <a:cs typeface="+mn-cs"/>
                  </a:endParaRPr>
                </a:p>
              </p:txBody>
            </p:sp>
            <p:sp>
              <p:nvSpPr>
                <p:cNvPr id="97" name="Freeform 177">
                  <a:extLst>
                    <a:ext uri="{FF2B5EF4-FFF2-40B4-BE49-F238E27FC236}">
                      <a16:creationId xmlns:a16="http://schemas.microsoft.com/office/drawing/2014/main" id="{5E25E2D1-5B88-D866-3F77-2222C4B226C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042" y="1314"/>
                  <a:ext cx="17" cy="13"/>
                </a:xfrm>
                <a:custGeom>
                  <a:avLst/>
                  <a:gdLst>
                    <a:gd name="T0" fmla="*/ 2 w 85"/>
                    <a:gd name="T1" fmla="*/ 0 h 61"/>
                    <a:gd name="T2" fmla="*/ 2 w 85"/>
                    <a:gd name="T3" fmla="*/ 0 h 61"/>
                    <a:gd name="T4" fmla="*/ 3 w 85"/>
                    <a:gd name="T5" fmla="*/ 0 h 61"/>
                    <a:gd name="T6" fmla="*/ 3 w 85"/>
                    <a:gd name="T7" fmla="*/ 0 h 61"/>
                    <a:gd name="T8" fmla="*/ 3 w 85"/>
                    <a:gd name="T9" fmla="*/ 1 h 61"/>
                    <a:gd name="T10" fmla="*/ 3 w 85"/>
                    <a:gd name="T11" fmla="*/ 1 h 61"/>
                    <a:gd name="T12" fmla="*/ 3 w 85"/>
                    <a:gd name="T13" fmla="*/ 2 h 61"/>
                    <a:gd name="T14" fmla="*/ 3 w 85"/>
                    <a:gd name="T15" fmla="*/ 2 h 61"/>
                    <a:gd name="T16" fmla="*/ 3 w 85"/>
                    <a:gd name="T17" fmla="*/ 2 h 61"/>
                    <a:gd name="T18" fmla="*/ 3 w 85"/>
                    <a:gd name="T19" fmla="*/ 1 h 61"/>
                    <a:gd name="T20" fmla="*/ 2 w 85"/>
                    <a:gd name="T21" fmla="*/ 2 h 61"/>
                    <a:gd name="T22" fmla="*/ 2 w 85"/>
                    <a:gd name="T23" fmla="*/ 2 h 61"/>
                    <a:gd name="T24" fmla="*/ 2 w 85"/>
                    <a:gd name="T25" fmla="*/ 2 h 61"/>
                    <a:gd name="T26" fmla="*/ 1 w 85"/>
                    <a:gd name="T27" fmla="*/ 2 h 61"/>
                    <a:gd name="T28" fmla="*/ 1 w 85"/>
                    <a:gd name="T29" fmla="*/ 2 h 61"/>
                    <a:gd name="T30" fmla="*/ 1 w 85"/>
                    <a:gd name="T31" fmla="*/ 3 h 61"/>
                    <a:gd name="T32" fmla="*/ 1 w 85"/>
                    <a:gd name="T33" fmla="*/ 3 h 61"/>
                    <a:gd name="T34" fmla="*/ 0 w 85"/>
                    <a:gd name="T35" fmla="*/ 2 h 61"/>
                    <a:gd name="T36" fmla="*/ 0 w 85"/>
                    <a:gd name="T37" fmla="*/ 2 h 61"/>
                    <a:gd name="T38" fmla="*/ 0 w 85"/>
                    <a:gd name="T39" fmla="*/ 2 h 61"/>
                    <a:gd name="T40" fmla="*/ 0 w 85"/>
                    <a:gd name="T41" fmla="*/ 1 h 61"/>
                    <a:gd name="T42" fmla="*/ 1 w 85"/>
                    <a:gd name="T43" fmla="*/ 1 h 61"/>
                    <a:gd name="T44" fmla="*/ 1 w 85"/>
                    <a:gd name="T45" fmla="*/ 1 h 61"/>
                    <a:gd name="T46" fmla="*/ 1 w 85"/>
                    <a:gd name="T47" fmla="*/ 1 h 61"/>
                    <a:gd name="T48" fmla="*/ 1 w 85"/>
                    <a:gd name="T49" fmla="*/ 0 h 61"/>
                    <a:gd name="T50" fmla="*/ 1 w 85"/>
                    <a:gd name="T51" fmla="*/ 0 h 61"/>
                    <a:gd name="T52" fmla="*/ 2 w 85"/>
                    <a:gd name="T53" fmla="*/ 0 h 61"/>
                    <a:gd name="T54" fmla="*/ 2 w 85"/>
                    <a:gd name="T55" fmla="*/ 0 h 61"/>
                    <a:gd name="T56" fmla="*/ 2 w 85"/>
                    <a:gd name="T57" fmla="*/ 0 h 61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85"/>
                    <a:gd name="T88" fmla="*/ 0 h 61"/>
                    <a:gd name="T89" fmla="*/ 85 w 85"/>
                    <a:gd name="T90" fmla="*/ 61 h 61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85" h="61">
                      <a:moveTo>
                        <a:pt x="44" y="7"/>
                      </a:moveTo>
                      <a:lnTo>
                        <a:pt x="57" y="9"/>
                      </a:lnTo>
                      <a:lnTo>
                        <a:pt x="84" y="4"/>
                      </a:lnTo>
                      <a:lnTo>
                        <a:pt x="85" y="7"/>
                      </a:lnTo>
                      <a:lnTo>
                        <a:pt x="84" y="14"/>
                      </a:lnTo>
                      <a:lnTo>
                        <a:pt x="79" y="27"/>
                      </a:lnTo>
                      <a:lnTo>
                        <a:pt x="76" y="37"/>
                      </a:lnTo>
                      <a:lnTo>
                        <a:pt x="71" y="45"/>
                      </a:lnTo>
                      <a:lnTo>
                        <a:pt x="70" y="40"/>
                      </a:lnTo>
                      <a:lnTo>
                        <a:pt x="70" y="26"/>
                      </a:lnTo>
                      <a:lnTo>
                        <a:pt x="62" y="51"/>
                      </a:lnTo>
                      <a:lnTo>
                        <a:pt x="54" y="50"/>
                      </a:lnTo>
                      <a:lnTo>
                        <a:pt x="44" y="42"/>
                      </a:lnTo>
                      <a:lnTo>
                        <a:pt x="36" y="52"/>
                      </a:lnTo>
                      <a:lnTo>
                        <a:pt x="20" y="51"/>
                      </a:lnTo>
                      <a:lnTo>
                        <a:pt x="17" y="57"/>
                      </a:lnTo>
                      <a:lnTo>
                        <a:pt x="13" y="61"/>
                      </a:lnTo>
                      <a:lnTo>
                        <a:pt x="0" y="46"/>
                      </a:lnTo>
                      <a:lnTo>
                        <a:pt x="4" y="40"/>
                      </a:lnTo>
                      <a:lnTo>
                        <a:pt x="11" y="37"/>
                      </a:lnTo>
                      <a:lnTo>
                        <a:pt x="10" y="29"/>
                      </a:lnTo>
                      <a:lnTo>
                        <a:pt x="13" y="23"/>
                      </a:lnTo>
                      <a:lnTo>
                        <a:pt x="19" y="20"/>
                      </a:lnTo>
                      <a:lnTo>
                        <a:pt x="19" y="14"/>
                      </a:lnTo>
                      <a:lnTo>
                        <a:pt x="16" y="4"/>
                      </a:lnTo>
                      <a:lnTo>
                        <a:pt x="25" y="0"/>
                      </a:lnTo>
                      <a:lnTo>
                        <a:pt x="41" y="2"/>
                      </a:lnTo>
                      <a:lnTo>
                        <a:pt x="44" y="3"/>
                      </a:lnTo>
                      <a:lnTo>
                        <a:pt x="44" y="7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rgbClr val="77E2C3">
                      <a:lumMod val="40000"/>
                      <a:lumOff val="6000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77898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313C"/>
                    </a:solidFill>
                    <a:effectLst/>
                    <a:uLnTx/>
                    <a:uFillTx/>
                    <a:latin typeface="Arial"/>
                    <a:cs typeface="+mn-cs"/>
                  </a:endParaRPr>
                </a:p>
              </p:txBody>
            </p:sp>
            <p:sp>
              <p:nvSpPr>
                <p:cNvPr id="98" name="Freeform 178">
                  <a:extLst>
                    <a:ext uri="{FF2B5EF4-FFF2-40B4-BE49-F238E27FC236}">
                      <a16:creationId xmlns:a16="http://schemas.microsoft.com/office/drawing/2014/main" id="{CC9B3A39-D36A-714A-8278-E73ED4B10F5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158" y="1386"/>
                  <a:ext cx="22" cy="25"/>
                </a:xfrm>
                <a:custGeom>
                  <a:avLst/>
                  <a:gdLst>
                    <a:gd name="T0" fmla="*/ 1 w 112"/>
                    <a:gd name="T1" fmla="*/ 3 h 123"/>
                    <a:gd name="T2" fmla="*/ 0 w 112"/>
                    <a:gd name="T3" fmla="*/ 3 h 123"/>
                    <a:gd name="T4" fmla="*/ 0 w 112"/>
                    <a:gd name="T5" fmla="*/ 2 h 123"/>
                    <a:gd name="T6" fmla="*/ 0 w 112"/>
                    <a:gd name="T7" fmla="*/ 2 h 123"/>
                    <a:gd name="T8" fmla="*/ 0 w 112"/>
                    <a:gd name="T9" fmla="*/ 2 h 123"/>
                    <a:gd name="T10" fmla="*/ 0 w 112"/>
                    <a:gd name="T11" fmla="*/ 1 h 123"/>
                    <a:gd name="T12" fmla="*/ 0 w 112"/>
                    <a:gd name="T13" fmla="*/ 2 h 123"/>
                    <a:gd name="T14" fmla="*/ 1 w 112"/>
                    <a:gd name="T15" fmla="*/ 2 h 123"/>
                    <a:gd name="T16" fmla="*/ 0 w 112"/>
                    <a:gd name="T17" fmla="*/ 1 h 123"/>
                    <a:gd name="T18" fmla="*/ 0 w 112"/>
                    <a:gd name="T19" fmla="*/ 1 h 123"/>
                    <a:gd name="T20" fmla="*/ 1 w 112"/>
                    <a:gd name="T21" fmla="*/ 1 h 123"/>
                    <a:gd name="T22" fmla="*/ 1 w 112"/>
                    <a:gd name="T23" fmla="*/ 0 h 123"/>
                    <a:gd name="T24" fmla="*/ 1 w 112"/>
                    <a:gd name="T25" fmla="*/ 0 h 123"/>
                    <a:gd name="T26" fmla="*/ 1 w 112"/>
                    <a:gd name="T27" fmla="*/ 1 h 123"/>
                    <a:gd name="T28" fmla="*/ 2 w 112"/>
                    <a:gd name="T29" fmla="*/ 1 h 123"/>
                    <a:gd name="T30" fmla="*/ 2 w 112"/>
                    <a:gd name="T31" fmla="*/ 2 h 123"/>
                    <a:gd name="T32" fmla="*/ 3 w 112"/>
                    <a:gd name="T33" fmla="*/ 2 h 123"/>
                    <a:gd name="T34" fmla="*/ 3 w 112"/>
                    <a:gd name="T35" fmla="*/ 3 h 123"/>
                    <a:gd name="T36" fmla="*/ 4 w 112"/>
                    <a:gd name="T37" fmla="*/ 4 h 123"/>
                    <a:gd name="T38" fmla="*/ 4 w 112"/>
                    <a:gd name="T39" fmla="*/ 4 h 123"/>
                    <a:gd name="T40" fmla="*/ 4 w 112"/>
                    <a:gd name="T41" fmla="*/ 5 h 123"/>
                    <a:gd name="T42" fmla="*/ 4 w 112"/>
                    <a:gd name="T43" fmla="*/ 5 h 123"/>
                    <a:gd name="T44" fmla="*/ 3 w 112"/>
                    <a:gd name="T45" fmla="*/ 5 h 123"/>
                    <a:gd name="T46" fmla="*/ 3 w 112"/>
                    <a:gd name="T47" fmla="*/ 5 h 123"/>
                    <a:gd name="T48" fmla="*/ 3 w 112"/>
                    <a:gd name="T49" fmla="*/ 5 h 123"/>
                    <a:gd name="T50" fmla="*/ 2 w 112"/>
                    <a:gd name="T51" fmla="*/ 5 h 123"/>
                    <a:gd name="T52" fmla="*/ 3 w 112"/>
                    <a:gd name="T53" fmla="*/ 4 h 123"/>
                    <a:gd name="T54" fmla="*/ 2 w 112"/>
                    <a:gd name="T55" fmla="*/ 4 h 123"/>
                    <a:gd name="T56" fmla="*/ 2 w 112"/>
                    <a:gd name="T57" fmla="*/ 4 h 123"/>
                    <a:gd name="T58" fmla="*/ 1 w 112"/>
                    <a:gd name="T59" fmla="*/ 3 h 123"/>
                    <a:gd name="T60" fmla="*/ 1 w 112"/>
                    <a:gd name="T61" fmla="*/ 4 h 123"/>
                    <a:gd name="T62" fmla="*/ 2 w 112"/>
                    <a:gd name="T63" fmla="*/ 4 h 123"/>
                    <a:gd name="T64" fmla="*/ 1 w 112"/>
                    <a:gd name="T65" fmla="*/ 5 h 123"/>
                    <a:gd name="T66" fmla="*/ 1 w 112"/>
                    <a:gd name="T67" fmla="*/ 4 h 123"/>
                    <a:gd name="T68" fmla="*/ 1 w 112"/>
                    <a:gd name="T69" fmla="*/ 3 h 123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112"/>
                    <a:gd name="T106" fmla="*/ 0 h 123"/>
                    <a:gd name="T107" fmla="*/ 112 w 112"/>
                    <a:gd name="T108" fmla="*/ 123 h 123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112" h="123">
                      <a:moveTo>
                        <a:pt x="15" y="75"/>
                      </a:moveTo>
                      <a:lnTo>
                        <a:pt x="12" y="75"/>
                      </a:lnTo>
                      <a:lnTo>
                        <a:pt x="7" y="57"/>
                      </a:lnTo>
                      <a:lnTo>
                        <a:pt x="7" y="49"/>
                      </a:lnTo>
                      <a:lnTo>
                        <a:pt x="3" y="47"/>
                      </a:lnTo>
                      <a:lnTo>
                        <a:pt x="0" y="36"/>
                      </a:lnTo>
                      <a:lnTo>
                        <a:pt x="10" y="41"/>
                      </a:lnTo>
                      <a:lnTo>
                        <a:pt x="19" y="38"/>
                      </a:lnTo>
                      <a:lnTo>
                        <a:pt x="6" y="25"/>
                      </a:lnTo>
                      <a:lnTo>
                        <a:pt x="10" y="23"/>
                      </a:lnTo>
                      <a:lnTo>
                        <a:pt x="15" y="15"/>
                      </a:lnTo>
                      <a:lnTo>
                        <a:pt x="19" y="3"/>
                      </a:lnTo>
                      <a:lnTo>
                        <a:pt x="27" y="0"/>
                      </a:lnTo>
                      <a:lnTo>
                        <a:pt x="37" y="16"/>
                      </a:lnTo>
                      <a:lnTo>
                        <a:pt x="46" y="23"/>
                      </a:lnTo>
                      <a:lnTo>
                        <a:pt x="52" y="38"/>
                      </a:lnTo>
                      <a:lnTo>
                        <a:pt x="68" y="46"/>
                      </a:lnTo>
                      <a:lnTo>
                        <a:pt x="82" y="62"/>
                      </a:lnTo>
                      <a:lnTo>
                        <a:pt x="109" y="98"/>
                      </a:lnTo>
                      <a:lnTo>
                        <a:pt x="112" y="108"/>
                      </a:lnTo>
                      <a:lnTo>
                        <a:pt x="103" y="123"/>
                      </a:lnTo>
                      <a:lnTo>
                        <a:pt x="96" y="118"/>
                      </a:lnTo>
                      <a:lnTo>
                        <a:pt x="89" y="117"/>
                      </a:lnTo>
                      <a:lnTo>
                        <a:pt x="85" y="122"/>
                      </a:lnTo>
                      <a:lnTo>
                        <a:pt x="74" y="122"/>
                      </a:lnTo>
                      <a:lnTo>
                        <a:pt x="60" y="112"/>
                      </a:lnTo>
                      <a:lnTo>
                        <a:pt x="64" y="103"/>
                      </a:lnTo>
                      <a:lnTo>
                        <a:pt x="54" y="96"/>
                      </a:lnTo>
                      <a:lnTo>
                        <a:pt x="44" y="95"/>
                      </a:lnTo>
                      <a:lnTo>
                        <a:pt x="26" y="82"/>
                      </a:lnTo>
                      <a:lnTo>
                        <a:pt x="31" y="95"/>
                      </a:lnTo>
                      <a:lnTo>
                        <a:pt x="39" y="106"/>
                      </a:lnTo>
                      <a:lnTo>
                        <a:pt x="37" y="113"/>
                      </a:lnTo>
                      <a:lnTo>
                        <a:pt x="28" y="95"/>
                      </a:lnTo>
                      <a:lnTo>
                        <a:pt x="15" y="75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rgbClr val="77E2C3">
                      <a:lumMod val="40000"/>
                      <a:lumOff val="6000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77898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313C"/>
                    </a:solidFill>
                    <a:effectLst/>
                    <a:uLnTx/>
                    <a:uFillTx/>
                    <a:latin typeface="Arial"/>
                    <a:cs typeface="+mn-cs"/>
                  </a:endParaRPr>
                </a:p>
              </p:txBody>
            </p:sp>
            <p:sp>
              <p:nvSpPr>
                <p:cNvPr id="99" name="Freeform 179">
                  <a:extLst>
                    <a:ext uri="{FF2B5EF4-FFF2-40B4-BE49-F238E27FC236}">
                      <a16:creationId xmlns:a16="http://schemas.microsoft.com/office/drawing/2014/main" id="{4E072330-3ADB-F2F3-A77A-86836A8890E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534" y="960"/>
                  <a:ext cx="81" cy="75"/>
                </a:xfrm>
                <a:custGeom>
                  <a:avLst/>
                  <a:gdLst>
                    <a:gd name="T0" fmla="*/ 3 w 405"/>
                    <a:gd name="T1" fmla="*/ 2 h 373"/>
                    <a:gd name="T2" fmla="*/ 4 w 405"/>
                    <a:gd name="T3" fmla="*/ 3 h 373"/>
                    <a:gd name="T4" fmla="*/ 2 w 405"/>
                    <a:gd name="T5" fmla="*/ 3 h 373"/>
                    <a:gd name="T6" fmla="*/ 2 w 405"/>
                    <a:gd name="T7" fmla="*/ 4 h 373"/>
                    <a:gd name="T8" fmla="*/ 0 w 405"/>
                    <a:gd name="T9" fmla="*/ 6 h 373"/>
                    <a:gd name="T10" fmla="*/ 1 w 405"/>
                    <a:gd name="T11" fmla="*/ 7 h 373"/>
                    <a:gd name="T12" fmla="*/ 1 w 405"/>
                    <a:gd name="T13" fmla="*/ 6 h 373"/>
                    <a:gd name="T14" fmla="*/ 1 w 405"/>
                    <a:gd name="T15" fmla="*/ 6 h 373"/>
                    <a:gd name="T16" fmla="*/ 2 w 405"/>
                    <a:gd name="T17" fmla="*/ 6 h 373"/>
                    <a:gd name="T18" fmla="*/ 2 w 405"/>
                    <a:gd name="T19" fmla="*/ 7 h 373"/>
                    <a:gd name="T20" fmla="*/ 3 w 405"/>
                    <a:gd name="T21" fmla="*/ 6 h 373"/>
                    <a:gd name="T22" fmla="*/ 3 w 405"/>
                    <a:gd name="T23" fmla="*/ 7 h 373"/>
                    <a:gd name="T24" fmla="*/ 3 w 405"/>
                    <a:gd name="T25" fmla="*/ 9 h 373"/>
                    <a:gd name="T26" fmla="*/ 3 w 405"/>
                    <a:gd name="T27" fmla="*/ 10 h 373"/>
                    <a:gd name="T28" fmla="*/ 4 w 405"/>
                    <a:gd name="T29" fmla="*/ 11 h 373"/>
                    <a:gd name="T30" fmla="*/ 5 w 405"/>
                    <a:gd name="T31" fmla="*/ 12 h 373"/>
                    <a:gd name="T32" fmla="*/ 6 w 405"/>
                    <a:gd name="T33" fmla="*/ 10 h 373"/>
                    <a:gd name="T34" fmla="*/ 6 w 405"/>
                    <a:gd name="T35" fmla="*/ 12 h 373"/>
                    <a:gd name="T36" fmla="*/ 7 w 405"/>
                    <a:gd name="T37" fmla="*/ 12 h 373"/>
                    <a:gd name="T38" fmla="*/ 7 w 405"/>
                    <a:gd name="T39" fmla="*/ 13 h 373"/>
                    <a:gd name="T40" fmla="*/ 9 w 405"/>
                    <a:gd name="T41" fmla="*/ 14 h 373"/>
                    <a:gd name="T42" fmla="*/ 10 w 405"/>
                    <a:gd name="T43" fmla="*/ 14 h 373"/>
                    <a:gd name="T44" fmla="*/ 13 w 405"/>
                    <a:gd name="T45" fmla="*/ 15 h 373"/>
                    <a:gd name="T46" fmla="*/ 14 w 405"/>
                    <a:gd name="T47" fmla="*/ 15 h 373"/>
                    <a:gd name="T48" fmla="*/ 15 w 405"/>
                    <a:gd name="T49" fmla="*/ 14 h 373"/>
                    <a:gd name="T50" fmla="*/ 15 w 405"/>
                    <a:gd name="T51" fmla="*/ 13 h 373"/>
                    <a:gd name="T52" fmla="*/ 15 w 405"/>
                    <a:gd name="T53" fmla="*/ 12 h 373"/>
                    <a:gd name="T54" fmla="*/ 15 w 405"/>
                    <a:gd name="T55" fmla="*/ 11 h 373"/>
                    <a:gd name="T56" fmla="*/ 14 w 405"/>
                    <a:gd name="T57" fmla="*/ 9 h 373"/>
                    <a:gd name="T58" fmla="*/ 15 w 405"/>
                    <a:gd name="T59" fmla="*/ 9 h 373"/>
                    <a:gd name="T60" fmla="*/ 15 w 405"/>
                    <a:gd name="T61" fmla="*/ 8 h 373"/>
                    <a:gd name="T62" fmla="*/ 15 w 405"/>
                    <a:gd name="T63" fmla="*/ 6 h 373"/>
                    <a:gd name="T64" fmla="*/ 15 w 405"/>
                    <a:gd name="T65" fmla="*/ 6 h 373"/>
                    <a:gd name="T66" fmla="*/ 16 w 405"/>
                    <a:gd name="T67" fmla="*/ 4 h 373"/>
                    <a:gd name="T68" fmla="*/ 15 w 405"/>
                    <a:gd name="T69" fmla="*/ 4 h 373"/>
                    <a:gd name="T70" fmla="*/ 16 w 405"/>
                    <a:gd name="T71" fmla="*/ 3 h 373"/>
                    <a:gd name="T72" fmla="*/ 15 w 405"/>
                    <a:gd name="T73" fmla="*/ 3 h 373"/>
                    <a:gd name="T74" fmla="*/ 15 w 405"/>
                    <a:gd name="T75" fmla="*/ 1 h 373"/>
                    <a:gd name="T76" fmla="*/ 14 w 405"/>
                    <a:gd name="T77" fmla="*/ 0 h 373"/>
                    <a:gd name="T78" fmla="*/ 13 w 405"/>
                    <a:gd name="T79" fmla="*/ 0 h 373"/>
                    <a:gd name="T80" fmla="*/ 12 w 405"/>
                    <a:gd name="T81" fmla="*/ 0 h 373"/>
                    <a:gd name="T82" fmla="*/ 12 w 405"/>
                    <a:gd name="T83" fmla="*/ 1 h 373"/>
                    <a:gd name="T84" fmla="*/ 11 w 405"/>
                    <a:gd name="T85" fmla="*/ 3 h 373"/>
                    <a:gd name="T86" fmla="*/ 9 w 405"/>
                    <a:gd name="T87" fmla="*/ 4 h 373"/>
                    <a:gd name="T88" fmla="*/ 10 w 405"/>
                    <a:gd name="T89" fmla="*/ 3 h 373"/>
                    <a:gd name="T90" fmla="*/ 11 w 405"/>
                    <a:gd name="T91" fmla="*/ 2 h 373"/>
                    <a:gd name="T92" fmla="*/ 12 w 405"/>
                    <a:gd name="T93" fmla="*/ 0 h 373"/>
                    <a:gd name="T94" fmla="*/ 4 w 405"/>
                    <a:gd name="T95" fmla="*/ 0 h 373"/>
                    <a:gd name="T96" fmla="*/ 3 w 405"/>
                    <a:gd name="T97" fmla="*/ 1 h 373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405"/>
                    <a:gd name="T148" fmla="*/ 0 h 373"/>
                    <a:gd name="T149" fmla="*/ 405 w 405"/>
                    <a:gd name="T150" fmla="*/ 373 h 373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405" h="373">
                      <a:moveTo>
                        <a:pt x="77" y="32"/>
                      </a:moveTo>
                      <a:lnTo>
                        <a:pt x="81" y="49"/>
                      </a:lnTo>
                      <a:lnTo>
                        <a:pt x="91" y="55"/>
                      </a:lnTo>
                      <a:lnTo>
                        <a:pt x="90" y="63"/>
                      </a:lnTo>
                      <a:lnTo>
                        <a:pt x="80" y="72"/>
                      </a:lnTo>
                      <a:lnTo>
                        <a:pt x="54" y="79"/>
                      </a:lnTo>
                      <a:lnTo>
                        <a:pt x="49" y="91"/>
                      </a:lnTo>
                      <a:lnTo>
                        <a:pt x="47" y="106"/>
                      </a:lnTo>
                      <a:lnTo>
                        <a:pt x="16" y="141"/>
                      </a:lnTo>
                      <a:lnTo>
                        <a:pt x="0" y="138"/>
                      </a:lnTo>
                      <a:lnTo>
                        <a:pt x="13" y="149"/>
                      </a:lnTo>
                      <a:lnTo>
                        <a:pt x="17" y="168"/>
                      </a:lnTo>
                      <a:lnTo>
                        <a:pt x="21" y="163"/>
                      </a:lnTo>
                      <a:lnTo>
                        <a:pt x="19" y="154"/>
                      </a:lnTo>
                      <a:lnTo>
                        <a:pt x="21" y="146"/>
                      </a:lnTo>
                      <a:lnTo>
                        <a:pt x="31" y="142"/>
                      </a:lnTo>
                      <a:lnTo>
                        <a:pt x="38" y="160"/>
                      </a:lnTo>
                      <a:lnTo>
                        <a:pt x="45" y="154"/>
                      </a:lnTo>
                      <a:lnTo>
                        <a:pt x="50" y="158"/>
                      </a:lnTo>
                      <a:lnTo>
                        <a:pt x="51" y="168"/>
                      </a:lnTo>
                      <a:lnTo>
                        <a:pt x="64" y="160"/>
                      </a:lnTo>
                      <a:lnTo>
                        <a:pt x="71" y="160"/>
                      </a:lnTo>
                      <a:lnTo>
                        <a:pt x="71" y="168"/>
                      </a:lnTo>
                      <a:lnTo>
                        <a:pt x="75" y="181"/>
                      </a:lnTo>
                      <a:lnTo>
                        <a:pt x="76" y="192"/>
                      </a:lnTo>
                      <a:lnTo>
                        <a:pt x="76" y="220"/>
                      </a:lnTo>
                      <a:lnTo>
                        <a:pt x="77" y="236"/>
                      </a:lnTo>
                      <a:lnTo>
                        <a:pt x="83" y="247"/>
                      </a:lnTo>
                      <a:lnTo>
                        <a:pt x="97" y="257"/>
                      </a:lnTo>
                      <a:lnTo>
                        <a:pt x="103" y="276"/>
                      </a:lnTo>
                      <a:lnTo>
                        <a:pt x="115" y="289"/>
                      </a:lnTo>
                      <a:lnTo>
                        <a:pt x="120" y="302"/>
                      </a:lnTo>
                      <a:lnTo>
                        <a:pt x="144" y="278"/>
                      </a:lnTo>
                      <a:lnTo>
                        <a:pt x="157" y="255"/>
                      </a:lnTo>
                      <a:lnTo>
                        <a:pt x="160" y="269"/>
                      </a:lnTo>
                      <a:lnTo>
                        <a:pt x="161" y="298"/>
                      </a:lnTo>
                      <a:lnTo>
                        <a:pt x="166" y="306"/>
                      </a:lnTo>
                      <a:lnTo>
                        <a:pt x="176" y="300"/>
                      </a:lnTo>
                      <a:lnTo>
                        <a:pt x="187" y="303"/>
                      </a:lnTo>
                      <a:lnTo>
                        <a:pt x="185" y="313"/>
                      </a:lnTo>
                      <a:lnTo>
                        <a:pt x="228" y="327"/>
                      </a:lnTo>
                      <a:lnTo>
                        <a:pt x="233" y="338"/>
                      </a:lnTo>
                      <a:lnTo>
                        <a:pt x="254" y="348"/>
                      </a:lnTo>
                      <a:lnTo>
                        <a:pt x="260" y="354"/>
                      </a:lnTo>
                      <a:lnTo>
                        <a:pt x="265" y="366"/>
                      </a:lnTo>
                      <a:lnTo>
                        <a:pt x="327" y="373"/>
                      </a:lnTo>
                      <a:lnTo>
                        <a:pt x="338" y="365"/>
                      </a:lnTo>
                      <a:lnTo>
                        <a:pt x="350" y="366"/>
                      </a:lnTo>
                      <a:lnTo>
                        <a:pt x="351" y="351"/>
                      </a:lnTo>
                      <a:lnTo>
                        <a:pt x="365" y="348"/>
                      </a:lnTo>
                      <a:lnTo>
                        <a:pt x="376" y="338"/>
                      </a:lnTo>
                      <a:lnTo>
                        <a:pt x="375" y="322"/>
                      </a:lnTo>
                      <a:lnTo>
                        <a:pt x="377" y="313"/>
                      </a:lnTo>
                      <a:lnTo>
                        <a:pt x="377" y="295"/>
                      </a:lnTo>
                      <a:lnTo>
                        <a:pt x="365" y="275"/>
                      </a:lnTo>
                      <a:lnTo>
                        <a:pt x="366" y="262"/>
                      </a:lnTo>
                      <a:lnTo>
                        <a:pt x="356" y="259"/>
                      </a:lnTo>
                      <a:lnTo>
                        <a:pt x="339" y="232"/>
                      </a:lnTo>
                      <a:lnTo>
                        <a:pt x="336" y="212"/>
                      </a:lnTo>
                      <a:lnTo>
                        <a:pt x="371" y="232"/>
                      </a:lnTo>
                      <a:lnTo>
                        <a:pt x="376" y="216"/>
                      </a:lnTo>
                      <a:lnTo>
                        <a:pt x="376" y="190"/>
                      </a:lnTo>
                      <a:lnTo>
                        <a:pt x="375" y="163"/>
                      </a:lnTo>
                      <a:lnTo>
                        <a:pt x="377" y="160"/>
                      </a:lnTo>
                      <a:lnTo>
                        <a:pt x="378" y="147"/>
                      </a:lnTo>
                      <a:lnTo>
                        <a:pt x="383" y="139"/>
                      </a:lnTo>
                      <a:lnTo>
                        <a:pt x="388" y="113"/>
                      </a:lnTo>
                      <a:lnTo>
                        <a:pt x="405" y="107"/>
                      </a:lnTo>
                      <a:lnTo>
                        <a:pt x="399" y="102"/>
                      </a:lnTo>
                      <a:lnTo>
                        <a:pt x="386" y="103"/>
                      </a:lnTo>
                      <a:lnTo>
                        <a:pt x="384" y="90"/>
                      </a:lnTo>
                      <a:lnTo>
                        <a:pt x="390" y="72"/>
                      </a:lnTo>
                      <a:lnTo>
                        <a:pt x="392" y="60"/>
                      </a:lnTo>
                      <a:lnTo>
                        <a:pt x="384" y="65"/>
                      </a:lnTo>
                      <a:lnTo>
                        <a:pt x="386" y="53"/>
                      </a:lnTo>
                      <a:lnTo>
                        <a:pt x="367" y="18"/>
                      </a:lnTo>
                      <a:lnTo>
                        <a:pt x="366" y="6"/>
                      </a:lnTo>
                      <a:lnTo>
                        <a:pt x="359" y="0"/>
                      </a:lnTo>
                      <a:lnTo>
                        <a:pt x="344" y="0"/>
                      </a:lnTo>
                      <a:lnTo>
                        <a:pt x="335" y="2"/>
                      </a:lnTo>
                      <a:lnTo>
                        <a:pt x="330" y="0"/>
                      </a:lnTo>
                      <a:lnTo>
                        <a:pt x="306" y="0"/>
                      </a:lnTo>
                      <a:lnTo>
                        <a:pt x="308" y="2"/>
                      </a:lnTo>
                      <a:lnTo>
                        <a:pt x="306" y="32"/>
                      </a:lnTo>
                      <a:lnTo>
                        <a:pt x="282" y="50"/>
                      </a:lnTo>
                      <a:lnTo>
                        <a:pt x="269" y="75"/>
                      </a:lnTo>
                      <a:lnTo>
                        <a:pt x="253" y="77"/>
                      </a:lnTo>
                      <a:lnTo>
                        <a:pt x="237" y="95"/>
                      </a:lnTo>
                      <a:lnTo>
                        <a:pt x="223" y="92"/>
                      </a:lnTo>
                      <a:lnTo>
                        <a:pt x="255" y="66"/>
                      </a:lnTo>
                      <a:lnTo>
                        <a:pt x="265" y="68"/>
                      </a:lnTo>
                      <a:lnTo>
                        <a:pt x="265" y="45"/>
                      </a:lnTo>
                      <a:lnTo>
                        <a:pt x="290" y="33"/>
                      </a:lnTo>
                      <a:lnTo>
                        <a:pt x="291" y="2"/>
                      </a:lnTo>
                      <a:lnTo>
                        <a:pt x="290" y="0"/>
                      </a:lnTo>
                      <a:lnTo>
                        <a:pt x="97" y="0"/>
                      </a:lnTo>
                      <a:lnTo>
                        <a:pt x="83" y="15"/>
                      </a:lnTo>
                      <a:lnTo>
                        <a:pt x="77" y="32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rgbClr val="77E2C3">
                      <a:lumMod val="40000"/>
                      <a:lumOff val="6000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77898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313C"/>
                    </a:solidFill>
                    <a:effectLst/>
                    <a:uLnTx/>
                    <a:uFillTx/>
                    <a:latin typeface="Arial"/>
                    <a:cs typeface="+mn-cs"/>
                  </a:endParaRPr>
                </a:p>
              </p:txBody>
            </p:sp>
            <p:sp>
              <p:nvSpPr>
                <p:cNvPr id="100" name="Freeform 180">
                  <a:extLst>
                    <a:ext uri="{FF2B5EF4-FFF2-40B4-BE49-F238E27FC236}">
                      <a16:creationId xmlns:a16="http://schemas.microsoft.com/office/drawing/2014/main" id="{C50080BF-69A3-B2B4-F4EC-6A24CB3BAB8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473" y="1348"/>
                  <a:ext cx="44" cy="25"/>
                </a:xfrm>
                <a:custGeom>
                  <a:avLst/>
                  <a:gdLst>
                    <a:gd name="T0" fmla="*/ 3 w 218"/>
                    <a:gd name="T1" fmla="*/ 4 h 125"/>
                    <a:gd name="T2" fmla="*/ 3 w 218"/>
                    <a:gd name="T3" fmla="*/ 4 h 125"/>
                    <a:gd name="T4" fmla="*/ 3 w 218"/>
                    <a:gd name="T5" fmla="*/ 4 h 125"/>
                    <a:gd name="T6" fmla="*/ 3 w 218"/>
                    <a:gd name="T7" fmla="*/ 4 h 125"/>
                    <a:gd name="T8" fmla="*/ 2 w 218"/>
                    <a:gd name="T9" fmla="*/ 5 h 125"/>
                    <a:gd name="T10" fmla="*/ 2 w 218"/>
                    <a:gd name="T11" fmla="*/ 5 h 125"/>
                    <a:gd name="T12" fmla="*/ 1 w 218"/>
                    <a:gd name="T13" fmla="*/ 5 h 125"/>
                    <a:gd name="T14" fmla="*/ 1 w 218"/>
                    <a:gd name="T15" fmla="*/ 5 h 125"/>
                    <a:gd name="T16" fmla="*/ 1 w 218"/>
                    <a:gd name="T17" fmla="*/ 5 h 125"/>
                    <a:gd name="T18" fmla="*/ 0 w 218"/>
                    <a:gd name="T19" fmla="*/ 4 h 125"/>
                    <a:gd name="T20" fmla="*/ 0 w 218"/>
                    <a:gd name="T21" fmla="*/ 4 h 125"/>
                    <a:gd name="T22" fmla="*/ 0 w 218"/>
                    <a:gd name="T23" fmla="*/ 3 h 125"/>
                    <a:gd name="T24" fmla="*/ 0 w 218"/>
                    <a:gd name="T25" fmla="*/ 3 h 125"/>
                    <a:gd name="T26" fmla="*/ 1 w 218"/>
                    <a:gd name="T27" fmla="*/ 2 h 125"/>
                    <a:gd name="T28" fmla="*/ 1 w 218"/>
                    <a:gd name="T29" fmla="*/ 2 h 125"/>
                    <a:gd name="T30" fmla="*/ 2 w 218"/>
                    <a:gd name="T31" fmla="*/ 1 h 125"/>
                    <a:gd name="T32" fmla="*/ 2 w 218"/>
                    <a:gd name="T33" fmla="*/ 1 h 125"/>
                    <a:gd name="T34" fmla="*/ 3 w 218"/>
                    <a:gd name="T35" fmla="*/ 1 h 125"/>
                    <a:gd name="T36" fmla="*/ 3 w 218"/>
                    <a:gd name="T37" fmla="*/ 0 h 125"/>
                    <a:gd name="T38" fmla="*/ 3 w 218"/>
                    <a:gd name="T39" fmla="*/ 0 h 125"/>
                    <a:gd name="T40" fmla="*/ 3 w 218"/>
                    <a:gd name="T41" fmla="*/ 0 h 125"/>
                    <a:gd name="T42" fmla="*/ 3 w 218"/>
                    <a:gd name="T43" fmla="*/ 0 h 125"/>
                    <a:gd name="T44" fmla="*/ 3 w 218"/>
                    <a:gd name="T45" fmla="*/ 0 h 125"/>
                    <a:gd name="T46" fmla="*/ 3 w 218"/>
                    <a:gd name="T47" fmla="*/ 0 h 125"/>
                    <a:gd name="T48" fmla="*/ 4 w 218"/>
                    <a:gd name="T49" fmla="*/ 0 h 125"/>
                    <a:gd name="T50" fmla="*/ 4 w 218"/>
                    <a:gd name="T51" fmla="*/ 0 h 125"/>
                    <a:gd name="T52" fmla="*/ 5 w 218"/>
                    <a:gd name="T53" fmla="*/ 0 h 125"/>
                    <a:gd name="T54" fmla="*/ 5 w 218"/>
                    <a:gd name="T55" fmla="*/ 0 h 125"/>
                    <a:gd name="T56" fmla="*/ 5 w 218"/>
                    <a:gd name="T57" fmla="*/ 0 h 125"/>
                    <a:gd name="T58" fmla="*/ 5 w 218"/>
                    <a:gd name="T59" fmla="*/ 0 h 125"/>
                    <a:gd name="T60" fmla="*/ 6 w 218"/>
                    <a:gd name="T61" fmla="*/ 0 h 125"/>
                    <a:gd name="T62" fmla="*/ 7 w 218"/>
                    <a:gd name="T63" fmla="*/ 1 h 125"/>
                    <a:gd name="T64" fmla="*/ 8 w 218"/>
                    <a:gd name="T65" fmla="*/ 1 h 125"/>
                    <a:gd name="T66" fmla="*/ 8 w 218"/>
                    <a:gd name="T67" fmla="*/ 1 h 125"/>
                    <a:gd name="T68" fmla="*/ 8 w 218"/>
                    <a:gd name="T69" fmla="*/ 1 h 125"/>
                    <a:gd name="T70" fmla="*/ 9 w 218"/>
                    <a:gd name="T71" fmla="*/ 2 h 125"/>
                    <a:gd name="T72" fmla="*/ 9 w 218"/>
                    <a:gd name="T73" fmla="*/ 3 h 125"/>
                    <a:gd name="T74" fmla="*/ 9 w 218"/>
                    <a:gd name="T75" fmla="*/ 3 h 125"/>
                    <a:gd name="T76" fmla="*/ 8 w 218"/>
                    <a:gd name="T77" fmla="*/ 4 h 125"/>
                    <a:gd name="T78" fmla="*/ 6 w 218"/>
                    <a:gd name="T79" fmla="*/ 4 h 125"/>
                    <a:gd name="T80" fmla="*/ 5 w 218"/>
                    <a:gd name="T81" fmla="*/ 5 h 125"/>
                    <a:gd name="T82" fmla="*/ 5 w 218"/>
                    <a:gd name="T83" fmla="*/ 4 h 125"/>
                    <a:gd name="T84" fmla="*/ 4 w 218"/>
                    <a:gd name="T85" fmla="*/ 4 h 125"/>
                    <a:gd name="T86" fmla="*/ 3 w 218"/>
                    <a:gd name="T87" fmla="*/ 4 h 125"/>
                    <a:gd name="T88" fmla="*/ 3 w 218"/>
                    <a:gd name="T89" fmla="*/ 4 h 125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w 218"/>
                    <a:gd name="T136" fmla="*/ 0 h 125"/>
                    <a:gd name="T137" fmla="*/ 218 w 218"/>
                    <a:gd name="T138" fmla="*/ 125 h 125"/>
                  </a:gdLst>
                  <a:ahLst/>
                  <a:cxnLst>
                    <a:cxn ang="T90">
                      <a:pos x="T0" y="T1"/>
                    </a:cxn>
                    <a:cxn ang="T91">
                      <a:pos x="T2" y="T3"/>
                    </a:cxn>
                    <a:cxn ang="T92">
                      <a:pos x="T4" y="T5"/>
                    </a:cxn>
                    <a:cxn ang="T93">
                      <a:pos x="T6" y="T7"/>
                    </a:cxn>
                    <a:cxn ang="T94">
                      <a:pos x="T8" y="T9"/>
                    </a:cxn>
                    <a:cxn ang="T95">
                      <a:pos x="T10" y="T11"/>
                    </a:cxn>
                    <a:cxn ang="T96">
                      <a:pos x="T12" y="T13"/>
                    </a:cxn>
                    <a:cxn ang="T97">
                      <a:pos x="T14" y="T15"/>
                    </a:cxn>
                    <a:cxn ang="T98">
                      <a:pos x="T16" y="T17"/>
                    </a:cxn>
                    <a:cxn ang="T99">
                      <a:pos x="T18" y="T19"/>
                    </a:cxn>
                    <a:cxn ang="T100">
                      <a:pos x="T20" y="T21"/>
                    </a:cxn>
                    <a:cxn ang="T101">
                      <a:pos x="T22" y="T23"/>
                    </a:cxn>
                    <a:cxn ang="T102">
                      <a:pos x="T24" y="T25"/>
                    </a:cxn>
                    <a:cxn ang="T103">
                      <a:pos x="T26" y="T27"/>
                    </a:cxn>
                    <a:cxn ang="T104">
                      <a:pos x="T28" y="T29"/>
                    </a:cxn>
                    <a:cxn ang="T105">
                      <a:pos x="T30" y="T31"/>
                    </a:cxn>
                    <a:cxn ang="T106">
                      <a:pos x="T32" y="T33"/>
                    </a:cxn>
                    <a:cxn ang="T107">
                      <a:pos x="T34" y="T35"/>
                    </a:cxn>
                    <a:cxn ang="T108">
                      <a:pos x="T36" y="T37"/>
                    </a:cxn>
                    <a:cxn ang="T109">
                      <a:pos x="T38" y="T39"/>
                    </a:cxn>
                    <a:cxn ang="T110">
                      <a:pos x="T40" y="T41"/>
                    </a:cxn>
                    <a:cxn ang="T111">
                      <a:pos x="T42" y="T43"/>
                    </a:cxn>
                    <a:cxn ang="T112">
                      <a:pos x="T44" y="T45"/>
                    </a:cxn>
                    <a:cxn ang="T113">
                      <a:pos x="T46" y="T47"/>
                    </a:cxn>
                    <a:cxn ang="T114">
                      <a:pos x="T48" y="T49"/>
                    </a:cxn>
                    <a:cxn ang="T115">
                      <a:pos x="T50" y="T51"/>
                    </a:cxn>
                    <a:cxn ang="T116">
                      <a:pos x="T52" y="T53"/>
                    </a:cxn>
                    <a:cxn ang="T117">
                      <a:pos x="T54" y="T55"/>
                    </a:cxn>
                    <a:cxn ang="T118">
                      <a:pos x="T56" y="T57"/>
                    </a:cxn>
                    <a:cxn ang="T119">
                      <a:pos x="T58" y="T59"/>
                    </a:cxn>
                    <a:cxn ang="T120">
                      <a:pos x="T60" y="T61"/>
                    </a:cxn>
                    <a:cxn ang="T121">
                      <a:pos x="T62" y="T63"/>
                    </a:cxn>
                    <a:cxn ang="T122">
                      <a:pos x="T64" y="T65"/>
                    </a:cxn>
                    <a:cxn ang="T123">
                      <a:pos x="T66" y="T67"/>
                    </a:cxn>
                    <a:cxn ang="T124">
                      <a:pos x="T68" y="T69"/>
                    </a:cxn>
                    <a:cxn ang="T125">
                      <a:pos x="T70" y="T71"/>
                    </a:cxn>
                    <a:cxn ang="T126">
                      <a:pos x="T72" y="T73"/>
                    </a:cxn>
                    <a:cxn ang="T127">
                      <a:pos x="T74" y="T75"/>
                    </a:cxn>
                    <a:cxn ang="T128">
                      <a:pos x="T76" y="T77"/>
                    </a:cxn>
                    <a:cxn ang="T129">
                      <a:pos x="T78" y="T79"/>
                    </a:cxn>
                    <a:cxn ang="T130">
                      <a:pos x="T80" y="T81"/>
                    </a:cxn>
                    <a:cxn ang="T131">
                      <a:pos x="T82" y="T83"/>
                    </a:cxn>
                    <a:cxn ang="T132">
                      <a:pos x="T84" y="T85"/>
                    </a:cxn>
                    <a:cxn ang="T133">
                      <a:pos x="T86" y="T87"/>
                    </a:cxn>
                    <a:cxn ang="T134">
                      <a:pos x="T88" y="T89"/>
                    </a:cxn>
                  </a:cxnLst>
                  <a:rect l="T135" t="T136" r="T137" b="T138"/>
                  <a:pathLst>
                    <a:path w="218" h="125">
                      <a:moveTo>
                        <a:pt x="82" y="99"/>
                      </a:moveTo>
                      <a:lnTo>
                        <a:pt x="78" y="98"/>
                      </a:lnTo>
                      <a:lnTo>
                        <a:pt x="69" y="103"/>
                      </a:lnTo>
                      <a:lnTo>
                        <a:pt x="63" y="110"/>
                      </a:lnTo>
                      <a:lnTo>
                        <a:pt x="60" y="119"/>
                      </a:lnTo>
                      <a:lnTo>
                        <a:pt x="38" y="121"/>
                      </a:lnTo>
                      <a:lnTo>
                        <a:pt x="36" y="118"/>
                      </a:lnTo>
                      <a:lnTo>
                        <a:pt x="16" y="125"/>
                      </a:lnTo>
                      <a:lnTo>
                        <a:pt x="15" y="116"/>
                      </a:lnTo>
                      <a:lnTo>
                        <a:pt x="4" y="100"/>
                      </a:lnTo>
                      <a:lnTo>
                        <a:pt x="0" y="91"/>
                      </a:lnTo>
                      <a:lnTo>
                        <a:pt x="4" y="78"/>
                      </a:lnTo>
                      <a:lnTo>
                        <a:pt x="12" y="72"/>
                      </a:lnTo>
                      <a:lnTo>
                        <a:pt x="16" y="60"/>
                      </a:lnTo>
                      <a:lnTo>
                        <a:pt x="36" y="43"/>
                      </a:lnTo>
                      <a:lnTo>
                        <a:pt x="42" y="33"/>
                      </a:lnTo>
                      <a:lnTo>
                        <a:pt x="55" y="19"/>
                      </a:lnTo>
                      <a:lnTo>
                        <a:pt x="63" y="19"/>
                      </a:lnTo>
                      <a:lnTo>
                        <a:pt x="66" y="10"/>
                      </a:lnTo>
                      <a:lnTo>
                        <a:pt x="82" y="5"/>
                      </a:lnTo>
                      <a:lnTo>
                        <a:pt x="82" y="3"/>
                      </a:lnTo>
                      <a:lnTo>
                        <a:pt x="82" y="5"/>
                      </a:lnTo>
                      <a:lnTo>
                        <a:pt x="84" y="3"/>
                      </a:lnTo>
                      <a:lnTo>
                        <a:pt x="84" y="5"/>
                      </a:lnTo>
                      <a:lnTo>
                        <a:pt x="90" y="6"/>
                      </a:lnTo>
                      <a:lnTo>
                        <a:pt x="101" y="1"/>
                      </a:lnTo>
                      <a:lnTo>
                        <a:pt x="114" y="10"/>
                      </a:lnTo>
                      <a:lnTo>
                        <a:pt x="127" y="1"/>
                      </a:lnTo>
                      <a:lnTo>
                        <a:pt x="133" y="3"/>
                      </a:lnTo>
                      <a:lnTo>
                        <a:pt x="135" y="0"/>
                      </a:lnTo>
                      <a:lnTo>
                        <a:pt x="156" y="11"/>
                      </a:lnTo>
                      <a:lnTo>
                        <a:pt x="184" y="19"/>
                      </a:lnTo>
                      <a:lnTo>
                        <a:pt x="188" y="24"/>
                      </a:lnTo>
                      <a:lnTo>
                        <a:pt x="186" y="28"/>
                      </a:lnTo>
                      <a:lnTo>
                        <a:pt x="186" y="32"/>
                      </a:lnTo>
                      <a:lnTo>
                        <a:pt x="214" y="55"/>
                      </a:lnTo>
                      <a:lnTo>
                        <a:pt x="218" y="67"/>
                      </a:lnTo>
                      <a:lnTo>
                        <a:pt x="214" y="77"/>
                      </a:lnTo>
                      <a:lnTo>
                        <a:pt x="193" y="91"/>
                      </a:lnTo>
                      <a:lnTo>
                        <a:pt x="143" y="107"/>
                      </a:lnTo>
                      <a:lnTo>
                        <a:pt x="133" y="113"/>
                      </a:lnTo>
                      <a:lnTo>
                        <a:pt x="113" y="109"/>
                      </a:lnTo>
                      <a:lnTo>
                        <a:pt x="107" y="104"/>
                      </a:lnTo>
                      <a:lnTo>
                        <a:pt x="82" y="100"/>
                      </a:lnTo>
                      <a:lnTo>
                        <a:pt x="82" y="99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rgbClr val="77E2C3">
                      <a:lumMod val="40000"/>
                      <a:lumOff val="6000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77898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313C"/>
                    </a:solidFill>
                    <a:effectLst/>
                    <a:uLnTx/>
                    <a:uFillTx/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85" name="Freeform 181">
                <a:extLst>
                  <a:ext uri="{FF2B5EF4-FFF2-40B4-BE49-F238E27FC236}">
                    <a16:creationId xmlns:a16="http://schemas.microsoft.com/office/drawing/2014/main" id="{A420F395-DDEB-5F3C-A0E4-5A7CB01B1C4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071" y="1777"/>
                <a:ext cx="34" cy="144"/>
              </a:xfrm>
              <a:custGeom>
                <a:avLst/>
                <a:gdLst>
                  <a:gd name="T0" fmla="*/ 2 w 170"/>
                  <a:gd name="T1" fmla="*/ 0 h 721"/>
                  <a:gd name="T2" fmla="*/ 3 w 170"/>
                  <a:gd name="T3" fmla="*/ 1 h 721"/>
                  <a:gd name="T4" fmla="*/ 3 w 170"/>
                  <a:gd name="T5" fmla="*/ 3 h 721"/>
                  <a:gd name="T6" fmla="*/ 4 w 170"/>
                  <a:gd name="T7" fmla="*/ 6 h 721"/>
                  <a:gd name="T8" fmla="*/ 4 w 170"/>
                  <a:gd name="T9" fmla="*/ 7 h 721"/>
                  <a:gd name="T10" fmla="*/ 3 w 170"/>
                  <a:gd name="T11" fmla="*/ 8 h 721"/>
                  <a:gd name="T12" fmla="*/ 4 w 170"/>
                  <a:gd name="T13" fmla="*/ 10 h 721"/>
                  <a:gd name="T14" fmla="*/ 4 w 170"/>
                  <a:gd name="T15" fmla="*/ 10 h 721"/>
                  <a:gd name="T16" fmla="*/ 4 w 170"/>
                  <a:gd name="T17" fmla="*/ 12 h 721"/>
                  <a:gd name="T18" fmla="*/ 5 w 170"/>
                  <a:gd name="T19" fmla="*/ 14 h 721"/>
                  <a:gd name="T20" fmla="*/ 6 w 170"/>
                  <a:gd name="T21" fmla="*/ 17 h 721"/>
                  <a:gd name="T22" fmla="*/ 6 w 170"/>
                  <a:gd name="T23" fmla="*/ 18 h 721"/>
                  <a:gd name="T24" fmla="*/ 7 w 170"/>
                  <a:gd name="T25" fmla="*/ 19 h 721"/>
                  <a:gd name="T26" fmla="*/ 6 w 170"/>
                  <a:gd name="T27" fmla="*/ 19 h 721"/>
                  <a:gd name="T28" fmla="*/ 5 w 170"/>
                  <a:gd name="T29" fmla="*/ 18 h 721"/>
                  <a:gd name="T30" fmla="*/ 4 w 170"/>
                  <a:gd name="T31" fmla="*/ 18 h 721"/>
                  <a:gd name="T32" fmla="*/ 3 w 170"/>
                  <a:gd name="T33" fmla="*/ 19 h 721"/>
                  <a:gd name="T34" fmla="*/ 3 w 170"/>
                  <a:gd name="T35" fmla="*/ 20 h 721"/>
                  <a:gd name="T36" fmla="*/ 2 w 170"/>
                  <a:gd name="T37" fmla="*/ 23 h 721"/>
                  <a:gd name="T38" fmla="*/ 2 w 170"/>
                  <a:gd name="T39" fmla="*/ 24 h 721"/>
                  <a:gd name="T40" fmla="*/ 3 w 170"/>
                  <a:gd name="T41" fmla="*/ 25 h 721"/>
                  <a:gd name="T42" fmla="*/ 4 w 170"/>
                  <a:gd name="T43" fmla="*/ 26 h 721"/>
                  <a:gd name="T44" fmla="*/ 4 w 170"/>
                  <a:gd name="T45" fmla="*/ 26 h 721"/>
                  <a:gd name="T46" fmla="*/ 4 w 170"/>
                  <a:gd name="T47" fmla="*/ 27 h 721"/>
                  <a:gd name="T48" fmla="*/ 4 w 170"/>
                  <a:gd name="T49" fmla="*/ 28 h 721"/>
                  <a:gd name="T50" fmla="*/ 3 w 170"/>
                  <a:gd name="T51" fmla="*/ 26 h 721"/>
                  <a:gd name="T52" fmla="*/ 2 w 170"/>
                  <a:gd name="T53" fmla="*/ 27 h 721"/>
                  <a:gd name="T54" fmla="*/ 1 w 170"/>
                  <a:gd name="T55" fmla="*/ 29 h 721"/>
                  <a:gd name="T56" fmla="*/ 1 w 170"/>
                  <a:gd name="T57" fmla="*/ 28 h 721"/>
                  <a:gd name="T58" fmla="*/ 1 w 170"/>
                  <a:gd name="T59" fmla="*/ 25 h 721"/>
                  <a:gd name="T60" fmla="*/ 1 w 170"/>
                  <a:gd name="T61" fmla="*/ 22 h 721"/>
                  <a:gd name="T62" fmla="*/ 1 w 170"/>
                  <a:gd name="T63" fmla="*/ 21 h 721"/>
                  <a:gd name="T64" fmla="*/ 1 w 170"/>
                  <a:gd name="T65" fmla="*/ 19 h 721"/>
                  <a:gd name="T66" fmla="*/ 1 w 170"/>
                  <a:gd name="T67" fmla="*/ 17 h 721"/>
                  <a:gd name="T68" fmla="*/ 1 w 170"/>
                  <a:gd name="T69" fmla="*/ 16 h 721"/>
                  <a:gd name="T70" fmla="*/ 1 w 170"/>
                  <a:gd name="T71" fmla="*/ 15 h 721"/>
                  <a:gd name="T72" fmla="*/ 1 w 170"/>
                  <a:gd name="T73" fmla="*/ 14 h 721"/>
                  <a:gd name="T74" fmla="*/ 1 w 170"/>
                  <a:gd name="T75" fmla="*/ 12 h 721"/>
                  <a:gd name="T76" fmla="*/ 1 w 170"/>
                  <a:gd name="T77" fmla="*/ 10 h 721"/>
                  <a:gd name="T78" fmla="*/ 0 w 170"/>
                  <a:gd name="T79" fmla="*/ 10 h 721"/>
                  <a:gd name="T80" fmla="*/ 0 w 170"/>
                  <a:gd name="T81" fmla="*/ 9 h 721"/>
                  <a:gd name="T82" fmla="*/ 0 w 170"/>
                  <a:gd name="T83" fmla="*/ 8 h 721"/>
                  <a:gd name="T84" fmla="*/ 0 w 170"/>
                  <a:gd name="T85" fmla="*/ 5 h 721"/>
                  <a:gd name="T86" fmla="*/ 0 w 170"/>
                  <a:gd name="T87" fmla="*/ 4 h 721"/>
                  <a:gd name="T88" fmla="*/ 1 w 170"/>
                  <a:gd name="T89" fmla="*/ 3 h 721"/>
                  <a:gd name="T90" fmla="*/ 1 w 170"/>
                  <a:gd name="T91" fmla="*/ 3 h 721"/>
                  <a:gd name="T92" fmla="*/ 2 w 170"/>
                  <a:gd name="T93" fmla="*/ 3 h 721"/>
                  <a:gd name="T94" fmla="*/ 2 w 170"/>
                  <a:gd name="T95" fmla="*/ 3 h 721"/>
                  <a:gd name="T96" fmla="*/ 2 w 170"/>
                  <a:gd name="T97" fmla="*/ 3 h 721"/>
                  <a:gd name="T98" fmla="*/ 2 w 170"/>
                  <a:gd name="T99" fmla="*/ 1 h 721"/>
                  <a:gd name="T100" fmla="*/ 2 w 170"/>
                  <a:gd name="T101" fmla="*/ 0 h 721"/>
                  <a:gd name="T102" fmla="*/ 2 w 170"/>
                  <a:gd name="T103" fmla="*/ 0 h 721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170"/>
                  <a:gd name="T157" fmla="*/ 0 h 721"/>
                  <a:gd name="T158" fmla="*/ 170 w 170"/>
                  <a:gd name="T159" fmla="*/ 721 h 721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170" h="721">
                    <a:moveTo>
                      <a:pt x="52" y="3"/>
                    </a:moveTo>
                    <a:lnTo>
                      <a:pt x="55" y="0"/>
                    </a:lnTo>
                    <a:lnTo>
                      <a:pt x="63" y="4"/>
                    </a:lnTo>
                    <a:lnTo>
                      <a:pt x="69" y="22"/>
                    </a:lnTo>
                    <a:lnTo>
                      <a:pt x="73" y="59"/>
                    </a:lnTo>
                    <a:lnTo>
                      <a:pt x="76" y="79"/>
                    </a:lnTo>
                    <a:lnTo>
                      <a:pt x="87" y="113"/>
                    </a:lnTo>
                    <a:lnTo>
                      <a:pt x="92" y="144"/>
                    </a:lnTo>
                    <a:lnTo>
                      <a:pt x="93" y="166"/>
                    </a:lnTo>
                    <a:lnTo>
                      <a:pt x="90" y="187"/>
                    </a:lnTo>
                    <a:lnTo>
                      <a:pt x="82" y="192"/>
                    </a:lnTo>
                    <a:lnTo>
                      <a:pt x="84" y="210"/>
                    </a:lnTo>
                    <a:lnTo>
                      <a:pt x="89" y="229"/>
                    </a:lnTo>
                    <a:lnTo>
                      <a:pt x="90" y="243"/>
                    </a:lnTo>
                    <a:lnTo>
                      <a:pt x="89" y="258"/>
                    </a:lnTo>
                    <a:lnTo>
                      <a:pt x="92" y="257"/>
                    </a:lnTo>
                    <a:lnTo>
                      <a:pt x="98" y="272"/>
                    </a:lnTo>
                    <a:lnTo>
                      <a:pt x="102" y="289"/>
                    </a:lnTo>
                    <a:lnTo>
                      <a:pt x="103" y="292"/>
                    </a:lnTo>
                    <a:lnTo>
                      <a:pt x="116" y="344"/>
                    </a:lnTo>
                    <a:lnTo>
                      <a:pt x="135" y="407"/>
                    </a:lnTo>
                    <a:lnTo>
                      <a:pt x="139" y="425"/>
                    </a:lnTo>
                    <a:lnTo>
                      <a:pt x="144" y="445"/>
                    </a:lnTo>
                    <a:lnTo>
                      <a:pt x="150" y="459"/>
                    </a:lnTo>
                    <a:lnTo>
                      <a:pt x="157" y="474"/>
                    </a:lnTo>
                    <a:lnTo>
                      <a:pt x="168" y="487"/>
                    </a:lnTo>
                    <a:lnTo>
                      <a:pt x="170" y="496"/>
                    </a:lnTo>
                    <a:lnTo>
                      <a:pt x="149" y="466"/>
                    </a:lnTo>
                    <a:lnTo>
                      <a:pt x="135" y="456"/>
                    </a:lnTo>
                    <a:lnTo>
                      <a:pt x="119" y="448"/>
                    </a:lnTo>
                    <a:lnTo>
                      <a:pt x="104" y="445"/>
                    </a:lnTo>
                    <a:lnTo>
                      <a:pt x="92" y="447"/>
                    </a:lnTo>
                    <a:lnTo>
                      <a:pt x="80" y="457"/>
                    </a:lnTo>
                    <a:lnTo>
                      <a:pt x="75" y="475"/>
                    </a:lnTo>
                    <a:lnTo>
                      <a:pt x="73" y="491"/>
                    </a:lnTo>
                    <a:lnTo>
                      <a:pt x="65" y="509"/>
                    </a:lnTo>
                    <a:lnTo>
                      <a:pt x="55" y="549"/>
                    </a:lnTo>
                    <a:lnTo>
                      <a:pt x="53" y="566"/>
                    </a:lnTo>
                    <a:lnTo>
                      <a:pt x="53" y="586"/>
                    </a:lnTo>
                    <a:lnTo>
                      <a:pt x="61" y="602"/>
                    </a:lnTo>
                    <a:lnTo>
                      <a:pt x="77" y="623"/>
                    </a:lnTo>
                    <a:lnTo>
                      <a:pt x="80" y="635"/>
                    </a:lnTo>
                    <a:lnTo>
                      <a:pt x="84" y="645"/>
                    </a:lnTo>
                    <a:lnTo>
                      <a:pt x="89" y="651"/>
                    </a:lnTo>
                    <a:lnTo>
                      <a:pt x="97" y="656"/>
                    </a:lnTo>
                    <a:lnTo>
                      <a:pt x="100" y="654"/>
                    </a:lnTo>
                    <a:lnTo>
                      <a:pt x="103" y="657"/>
                    </a:lnTo>
                    <a:lnTo>
                      <a:pt x="108" y="684"/>
                    </a:lnTo>
                    <a:lnTo>
                      <a:pt x="107" y="700"/>
                    </a:lnTo>
                    <a:lnTo>
                      <a:pt x="102" y="713"/>
                    </a:lnTo>
                    <a:lnTo>
                      <a:pt x="95" y="674"/>
                    </a:lnTo>
                    <a:lnTo>
                      <a:pt x="69" y="663"/>
                    </a:lnTo>
                    <a:lnTo>
                      <a:pt x="55" y="662"/>
                    </a:lnTo>
                    <a:lnTo>
                      <a:pt x="46" y="673"/>
                    </a:lnTo>
                    <a:lnTo>
                      <a:pt x="36" y="706"/>
                    </a:lnTo>
                    <a:lnTo>
                      <a:pt x="31" y="721"/>
                    </a:lnTo>
                    <a:lnTo>
                      <a:pt x="18" y="714"/>
                    </a:lnTo>
                    <a:lnTo>
                      <a:pt x="15" y="689"/>
                    </a:lnTo>
                    <a:lnTo>
                      <a:pt x="15" y="666"/>
                    </a:lnTo>
                    <a:lnTo>
                      <a:pt x="21" y="623"/>
                    </a:lnTo>
                    <a:lnTo>
                      <a:pt x="26" y="565"/>
                    </a:lnTo>
                    <a:lnTo>
                      <a:pt x="32" y="554"/>
                    </a:lnTo>
                    <a:lnTo>
                      <a:pt x="31" y="539"/>
                    </a:lnTo>
                    <a:lnTo>
                      <a:pt x="23" y="522"/>
                    </a:lnTo>
                    <a:lnTo>
                      <a:pt x="17" y="499"/>
                    </a:lnTo>
                    <a:lnTo>
                      <a:pt x="17" y="479"/>
                    </a:lnTo>
                    <a:lnTo>
                      <a:pt x="22" y="463"/>
                    </a:lnTo>
                    <a:lnTo>
                      <a:pt x="28" y="425"/>
                    </a:lnTo>
                    <a:lnTo>
                      <a:pt x="28" y="394"/>
                    </a:lnTo>
                    <a:lnTo>
                      <a:pt x="32" y="392"/>
                    </a:lnTo>
                    <a:lnTo>
                      <a:pt x="30" y="386"/>
                    </a:lnTo>
                    <a:lnTo>
                      <a:pt x="30" y="375"/>
                    </a:lnTo>
                    <a:lnTo>
                      <a:pt x="28" y="360"/>
                    </a:lnTo>
                    <a:lnTo>
                      <a:pt x="25" y="348"/>
                    </a:lnTo>
                    <a:lnTo>
                      <a:pt x="25" y="331"/>
                    </a:lnTo>
                    <a:lnTo>
                      <a:pt x="31" y="297"/>
                    </a:lnTo>
                    <a:lnTo>
                      <a:pt x="31" y="284"/>
                    </a:lnTo>
                    <a:lnTo>
                      <a:pt x="21" y="260"/>
                    </a:lnTo>
                    <a:lnTo>
                      <a:pt x="11" y="249"/>
                    </a:lnTo>
                    <a:lnTo>
                      <a:pt x="4" y="243"/>
                    </a:lnTo>
                    <a:lnTo>
                      <a:pt x="6" y="237"/>
                    </a:lnTo>
                    <a:lnTo>
                      <a:pt x="3" y="226"/>
                    </a:lnTo>
                    <a:lnTo>
                      <a:pt x="0" y="205"/>
                    </a:lnTo>
                    <a:lnTo>
                      <a:pt x="0" y="188"/>
                    </a:lnTo>
                    <a:lnTo>
                      <a:pt x="10" y="160"/>
                    </a:lnTo>
                    <a:lnTo>
                      <a:pt x="12" y="125"/>
                    </a:lnTo>
                    <a:lnTo>
                      <a:pt x="11" y="108"/>
                    </a:lnTo>
                    <a:lnTo>
                      <a:pt x="9" y="96"/>
                    </a:lnTo>
                    <a:lnTo>
                      <a:pt x="14" y="85"/>
                    </a:lnTo>
                    <a:lnTo>
                      <a:pt x="25" y="79"/>
                    </a:lnTo>
                    <a:lnTo>
                      <a:pt x="31" y="81"/>
                    </a:lnTo>
                    <a:lnTo>
                      <a:pt x="37" y="87"/>
                    </a:lnTo>
                    <a:lnTo>
                      <a:pt x="48" y="86"/>
                    </a:lnTo>
                    <a:lnTo>
                      <a:pt x="50" y="81"/>
                    </a:lnTo>
                    <a:lnTo>
                      <a:pt x="48" y="75"/>
                    </a:lnTo>
                    <a:lnTo>
                      <a:pt x="50" y="66"/>
                    </a:lnTo>
                    <a:lnTo>
                      <a:pt x="57" y="66"/>
                    </a:lnTo>
                    <a:lnTo>
                      <a:pt x="59" y="64"/>
                    </a:lnTo>
                    <a:lnTo>
                      <a:pt x="54" y="52"/>
                    </a:lnTo>
                    <a:lnTo>
                      <a:pt x="49" y="33"/>
                    </a:lnTo>
                    <a:lnTo>
                      <a:pt x="39" y="16"/>
                    </a:lnTo>
                    <a:lnTo>
                      <a:pt x="38" y="9"/>
                    </a:lnTo>
                    <a:lnTo>
                      <a:pt x="41" y="6"/>
                    </a:lnTo>
                    <a:lnTo>
                      <a:pt x="47" y="6"/>
                    </a:lnTo>
                    <a:lnTo>
                      <a:pt x="52" y="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86" name="Freeform 182">
                <a:extLst>
                  <a:ext uri="{FF2B5EF4-FFF2-40B4-BE49-F238E27FC236}">
                    <a16:creationId xmlns:a16="http://schemas.microsoft.com/office/drawing/2014/main" id="{CDEF0769-2E0D-5136-A472-5569F0E9858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17" y="1091"/>
                <a:ext cx="1786" cy="901"/>
              </a:xfrm>
              <a:custGeom>
                <a:avLst/>
                <a:gdLst>
                  <a:gd name="T0" fmla="*/ 131 w 8931"/>
                  <a:gd name="T1" fmla="*/ 157 h 4504"/>
                  <a:gd name="T2" fmla="*/ 173 w 8931"/>
                  <a:gd name="T3" fmla="*/ 152 h 4504"/>
                  <a:gd name="T4" fmla="*/ 212 w 8931"/>
                  <a:gd name="T5" fmla="*/ 141 h 4504"/>
                  <a:gd name="T6" fmla="*/ 233 w 8931"/>
                  <a:gd name="T7" fmla="*/ 166 h 4504"/>
                  <a:gd name="T8" fmla="*/ 243 w 8931"/>
                  <a:gd name="T9" fmla="*/ 166 h 4504"/>
                  <a:gd name="T10" fmla="*/ 248 w 8931"/>
                  <a:gd name="T11" fmla="*/ 139 h 4504"/>
                  <a:gd name="T12" fmla="*/ 239 w 8931"/>
                  <a:gd name="T13" fmla="*/ 133 h 4504"/>
                  <a:gd name="T14" fmla="*/ 267 w 8931"/>
                  <a:gd name="T15" fmla="*/ 117 h 4504"/>
                  <a:gd name="T16" fmla="*/ 280 w 8931"/>
                  <a:gd name="T17" fmla="*/ 113 h 4504"/>
                  <a:gd name="T18" fmla="*/ 298 w 8931"/>
                  <a:gd name="T19" fmla="*/ 104 h 4504"/>
                  <a:gd name="T20" fmla="*/ 282 w 8931"/>
                  <a:gd name="T21" fmla="*/ 128 h 4504"/>
                  <a:gd name="T22" fmla="*/ 295 w 8931"/>
                  <a:gd name="T23" fmla="*/ 132 h 4504"/>
                  <a:gd name="T24" fmla="*/ 300 w 8931"/>
                  <a:gd name="T25" fmla="*/ 115 h 4504"/>
                  <a:gd name="T26" fmla="*/ 317 w 8931"/>
                  <a:gd name="T27" fmla="*/ 110 h 4504"/>
                  <a:gd name="T28" fmla="*/ 329 w 8931"/>
                  <a:gd name="T29" fmla="*/ 102 h 4504"/>
                  <a:gd name="T30" fmla="*/ 334 w 8931"/>
                  <a:gd name="T31" fmla="*/ 90 h 4504"/>
                  <a:gd name="T32" fmla="*/ 346 w 8931"/>
                  <a:gd name="T33" fmla="*/ 92 h 4504"/>
                  <a:gd name="T34" fmla="*/ 354 w 8931"/>
                  <a:gd name="T35" fmla="*/ 88 h 4504"/>
                  <a:gd name="T36" fmla="*/ 347 w 8931"/>
                  <a:gd name="T37" fmla="*/ 79 h 4504"/>
                  <a:gd name="T38" fmla="*/ 341 w 8931"/>
                  <a:gd name="T39" fmla="*/ 75 h 4504"/>
                  <a:gd name="T40" fmla="*/ 313 w 8931"/>
                  <a:gd name="T41" fmla="*/ 64 h 4504"/>
                  <a:gd name="T42" fmla="*/ 291 w 8931"/>
                  <a:gd name="T43" fmla="*/ 64 h 4504"/>
                  <a:gd name="T44" fmla="*/ 267 w 8931"/>
                  <a:gd name="T45" fmla="*/ 51 h 4504"/>
                  <a:gd name="T46" fmla="*/ 247 w 8931"/>
                  <a:gd name="T47" fmla="*/ 51 h 4504"/>
                  <a:gd name="T48" fmla="*/ 227 w 8931"/>
                  <a:gd name="T49" fmla="*/ 56 h 4504"/>
                  <a:gd name="T50" fmla="*/ 224 w 8931"/>
                  <a:gd name="T51" fmla="*/ 41 h 4504"/>
                  <a:gd name="T52" fmla="*/ 208 w 8931"/>
                  <a:gd name="T53" fmla="*/ 41 h 4504"/>
                  <a:gd name="T54" fmla="*/ 188 w 8931"/>
                  <a:gd name="T55" fmla="*/ 35 h 4504"/>
                  <a:gd name="T56" fmla="*/ 174 w 8931"/>
                  <a:gd name="T57" fmla="*/ 40 h 4504"/>
                  <a:gd name="T58" fmla="*/ 183 w 8931"/>
                  <a:gd name="T59" fmla="*/ 29 h 4504"/>
                  <a:gd name="T60" fmla="*/ 187 w 8931"/>
                  <a:gd name="T61" fmla="*/ 16 h 4504"/>
                  <a:gd name="T62" fmla="*/ 175 w 8931"/>
                  <a:gd name="T63" fmla="*/ 8 h 4504"/>
                  <a:gd name="T64" fmla="*/ 161 w 8931"/>
                  <a:gd name="T65" fmla="*/ 9 h 4504"/>
                  <a:gd name="T66" fmla="*/ 152 w 8931"/>
                  <a:gd name="T67" fmla="*/ 17 h 4504"/>
                  <a:gd name="T68" fmla="*/ 135 w 8931"/>
                  <a:gd name="T69" fmla="*/ 22 h 4504"/>
                  <a:gd name="T70" fmla="*/ 130 w 8931"/>
                  <a:gd name="T71" fmla="*/ 33 h 4504"/>
                  <a:gd name="T72" fmla="*/ 118 w 8931"/>
                  <a:gd name="T73" fmla="*/ 46 h 4504"/>
                  <a:gd name="T74" fmla="*/ 118 w 8931"/>
                  <a:gd name="T75" fmla="*/ 49 h 4504"/>
                  <a:gd name="T76" fmla="*/ 105 w 8931"/>
                  <a:gd name="T77" fmla="*/ 49 h 4504"/>
                  <a:gd name="T78" fmla="*/ 110 w 8931"/>
                  <a:gd name="T79" fmla="*/ 69 h 4504"/>
                  <a:gd name="T80" fmla="*/ 104 w 8931"/>
                  <a:gd name="T81" fmla="*/ 74 h 4504"/>
                  <a:gd name="T82" fmla="*/ 100 w 8931"/>
                  <a:gd name="T83" fmla="*/ 76 h 4504"/>
                  <a:gd name="T84" fmla="*/ 92 w 8931"/>
                  <a:gd name="T85" fmla="*/ 42 h 4504"/>
                  <a:gd name="T86" fmla="*/ 89 w 8931"/>
                  <a:gd name="T87" fmla="*/ 72 h 4504"/>
                  <a:gd name="T88" fmla="*/ 63 w 8931"/>
                  <a:gd name="T89" fmla="*/ 70 h 4504"/>
                  <a:gd name="T90" fmla="*/ 47 w 8931"/>
                  <a:gd name="T91" fmla="*/ 76 h 4504"/>
                  <a:gd name="T92" fmla="*/ 37 w 8931"/>
                  <a:gd name="T93" fmla="*/ 82 h 4504"/>
                  <a:gd name="T94" fmla="*/ 20 w 8931"/>
                  <a:gd name="T95" fmla="*/ 92 h 4504"/>
                  <a:gd name="T96" fmla="*/ 12 w 8931"/>
                  <a:gd name="T97" fmla="*/ 81 h 4504"/>
                  <a:gd name="T98" fmla="*/ 24 w 8931"/>
                  <a:gd name="T99" fmla="*/ 71 h 4504"/>
                  <a:gd name="T100" fmla="*/ 8 w 8931"/>
                  <a:gd name="T101" fmla="*/ 64 h 4504"/>
                  <a:gd name="T102" fmla="*/ 9 w 8931"/>
                  <a:gd name="T103" fmla="*/ 102 h 4504"/>
                  <a:gd name="T104" fmla="*/ 1 w 8931"/>
                  <a:gd name="T105" fmla="*/ 122 h 4504"/>
                  <a:gd name="T106" fmla="*/ 10 w 8931"/>
                  <a:gd name="T107" fmla="*/ 139 h 4504"/>
                  <a:gd name="T108" fmla="*/ 18 w 8931"/>
                  <a:gd name="T109" fmla="*/ 151 h 4504"/>
                  <a:gd name="T110" fmla="*/ 26 w 8931"/>
                  <a:gd name="T111" fmla="*/ 162 h 4504"/>
                  <a:gd name="T112" fmla="*/ 36 w 8931"/>
                  <a:gd name="T113" fmla="*/ 176 h 4504"/>
                  <a:gd name="T114" fmla="*/ 44 w 8931"/>
                  <a:gd name="T115" fmla="*/ 165 h 4504"/>
                  <a:gd name="T116" fmla="*/ 47 w 8931"/>
                  <a:gd name="T117" fmla="*/ 152 h 4504"/>
                  <a:gd name="T118" fmla="*/ 61 w 8931"/>
                  <a:gd name="T119" fmla="*/ 150 h 4504"/>
                  <a:gd name="T120" fmla="*/ 73 w 8931"/>
                  <a:gd name="T121" fmla="*/ 143 h 4504"/>
                  <a:gd name="T122" fmla="*/ 87 w 8931"/>
                  <a:gd name="T123" fmla="*/ 135 h 4504"/>
                  <a:gd name="T124" fmla="*/ 101 w 8931"/>
                  <a:gd name="T125" fmla="*/ 139 h 450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8931"/>
                  <a:gd name="T190" fmla="*/ 0 h 4504"/>
                  <a:gd name="T191" fmla="*/ 8931 w 8931"/>
                  <a:gd name="T192" fmla="*/ 4504 h 4504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8931" h="4504">
                    <a:moveTo>
                      <a:pt x="2688" y="3454"/>
                    </a:moveTo>
                    <a:lnTo>
                      <a:pt x="2691" y="3461"/>
                    </a:lnTo>
                    <a:lnTo>
                      <a:pt x="2695" y="3463"/>
                    </a:lnTo>
                    <a:lnTo>
                      <a:pt x="2768" y="3530"/>
                    </a:lnTo>
                    <a:lnTo>
                      <a:pt x="2887" y="3748"/>
                    </a:lnTo>
                    <a:lnTo>
                      <a:pt x="2902" y="3737"/>
                    </a:lnTo>
                    <a:lnTo>
                      <a:pt x="2904" y="3730"/>
                    </a:lnTo>
                    <a:lnTo>
                      <a:pt x="2904" y="3723"/>
                    </a:lnTo>
                    <a:lnTo>
                      <a:pt x="2915" y="3709"/>
                    </a:lnTo>
                    <a:lnTo>
                      <a:pt x="2923" y="3708"/>
                    </a:lnTo>
                    <a:lnTo>
                      <a:pt x="2928" y="3714"/>
                    </a:lnTo>
                    <a:lnTo>
                      <a:pt x="2936" y="3717"/>
                    </a:lnTo>
                    <a:lnTo>
                      <a:pt x="2950" y="3725"/>
                    </a:lnTo>
                    <a:lnTo>
                      <a:pt x="2946" y="3732"/>
                    </a:lnTo>
                    <a:lnTo>
                      <a:pt x="2951" y="3739"/>
                    </a:lnTo>
                    <a:lnTo>
                      <a:pt x="2956" y="3740"/>
                    </a:lnTo>
                    <a:lnTo>
                      <a:pt x="2961" y="3753"/>
                    </a:lnTo>
                    <a:lnTo>
                      <a:pt x="2985" y="3751"/>
                    </a:lnTo>
                    <a:lnTo>
                      <a:pt x="3003" y="3756"/>
                    </a:lnTo>
                    <a:lnTo>
                      <a:pt x="3010" y="3753"/>
                    </a:lnTo>
                    <a:lnTo>
                      <a:pt x="3026" y="3753"/>
                    </a:lnTo>
                    <a:lnTo>
                      <a:pt x="3028" y="3746"/>
                    </a:lnTo>
                    <a:lnTo>
                      <a:pt x="3033" y="3740"/>
                    </a:lnTo>
                    <a:lnTo>
                      <a:pt x="3042" y="3741"/>
                    </a:lnTo>
                    <a:lnTo>
                      <a:pt x="3049" y="3741"/>
                    </a:lnTo>
                    <a:lnTo>
                      <a:pt x="3053" y="3734"/>
                    </a:lnTo>
                    <a:lnTo>
                      <a:pt x="3060" y="3729"/>
                    </a:lnTo>
                    <a:lnTo>
                      <a:pt x="3075" y="3734"/>
                    </a:lnTo>
                    <a:lnTo>
                      <a:pt x="3082" y="3737"/>
                    </a:lnTo>
                    <a:lnTo>
                      <a:pt x="3086" y="3745"/>
                    </a:lnTo>
                    <a:lnTo>
                      <a:pt x="3093" y="3748"/>
                    </a:lnTo>
                    <a:lnTo>
                      <a:pt x="3103" y="3761"/>
                    </a:lnTo>
                    <a:lnTo>
                      <a:pt x="3112" y="3764"/>
                    </a:lnTo>
                    <a:lnTo>
                      <a:pt x="3114" y="3772"/>
                    </a:lnTo>
                    <a:lnTo>
                      <a:pt x="3112" y="3779"/>
                    </a:lnTo>
                    <a:lnTo>
                      <a:pt x="3113" y="3788"/>
                    </a:lnTo>
                    <a:lnTo>
                      <a:pt x="3117" y="3795"/>
                    </a:lnTo>
                    <a:lnTo>
                      <a:pt x="3125" y="3796"/>
                    </a:lnTo>
                    <a:lnTo>
                      <a:pt x="3146" y="3807"/>
                    </a:lnTo>
                    <a:lnTo>
                      <a:pt x="3150" y="3815"/>
                    </a:lnTo>
                    <a:lnTo>
                      <a:pt x="3150" y="3822"/>
                    </a:lnTo>
                    <a:lnTo>
                      <a:pt x="3157" y="3826"/>
                    </a:lnTo>
                    <a:lnTo>
                      <a:pt x="3162" y="3831"/>
                    </a:lnTo>
                    <a:lnTo>
                      <a:pt x="3170" y="3845"/>
                    </a:lnTo>
                    <a:lnTo>
                      <a:pt x="3176" y="3849"/>
                    </a:lnTo>
                    <a:lnTo>
                      <a:pt x="3193" y="3852"/>
                    </a:lnTo>
                    <a:lnTo>
                      <a:pt x="3199" y="3857"/>
                    </a:lnTo>
                    <a:lnTo>
                      <a:pt x="3208" y="3859"/>
                    </a:lnTo>
                    <a:lnTo>
                      <a:pt x="3215" y="3860"/>
                    </a:lnTo>
                    <a:lnTo>
                      <a:pt x="3224" y="3860"/>
                    </a:lnTo>
                    <a:lnTo>
                      <a:pt x="3226" y="3853"/>
                    </a:lnTo>
                    <a:lnTo>
                      <a:pt x="3231" y="3847"/>
                    </a:lnTo>
                    <a:lnTo>
                      <a:pt x="3246" y="3841"/>
                    </a:lnTo>
                    <a:lnTo>
                      <a:pt x="3248" y="3849"/>
                    </a:lnTo>
                    <a:lnTo>
                      <a:pt x="3252" y="3857"/>
                    </a:lnTo>
                    <a:lnTo>
                      <a:pt x="3259" y="3861"/>
                    </a:lnTo>
                    <a:lnTo>
                      <a:pt x="3267" y="3875"/>
                    </a:lnTo>
                    <a:lnTo>
                      <a:pt x="3273" y="3880"/>
                    </a:lnTo>
                    <a:lnTo>
                      <a:pt x="3277" y="3887"/>
                    </a:lnTo>
                    <a:lnTo>
                      <a:pt x="3264" y="3913"/>
                    </a:lnTo>
                    <a:lnTo>
                      <a:pt x="3289" y="3920"/>
                    </a:lnTo>
                    <a:lnTo>
                      <a:pt x="3305" y="3904"/>
                    </a:lnTo>
                    <a:lnTo>
                      <a:pt x="3310" y="3904"/>
                    </a:lnTo>
                    <a:lnTo>
                      <a:pt x="3322" y="3882"/>
                    </a:lnTo>
                    <a:lnTo>
                      <a:pt x="3338" y="3865"/>
                    </a:lnTo>
                    <a:lnTo>
                      <a:pt x="3356" y="3858"/>
                    </a:lnTo>
                    <a:lnTo>
                      <a:pt x="3375" y="3852"/>
                    </a:lnTo>
                    <a:lnTo>
                      <a:pt x="3394" y="3839"/>
                    </a:lnTo>
                    <a:lnTo>
                      <a:pt x="3414" y="3823"/>
                    </a:lnTo>
                    <a:lnTo>
                      <a:pt x="3439" y="3811"/>
                    </a:lnTo>
                    <a:lnTo>
                      <a:pt x="3464" y="3789"/>
                    </a:lnTo>
                    <a:lnTo>
                      <a:pt x="3505" y="3777"/>
                    </a:lnTo>
                    <a:lnTo>
                      <a:pt x="3530" y="3766"/>
                    </a:lnTo>
                    <a:lnTo>
                      <a:pt x="3553" y="3763"/>
                    </a:lnTo>
                    <a:lnTo>
                      <a:pt x="3575" y="3767"/>
                    </a:lnTo>
                    <a:lnTo>
                      <a:pt x="3591" y="3773"/>
                    </a:lnTo>
                    <a:lnTo>
                      <a:pt x="3604" y="3784"/>
                    </a:lnTo>
                    <a:lnTo>
                      <a:pt x="3623" y="3780"/>
                    </a:lnTo>
                    <a:lnTo>
                      <a:pt x="3644" y="3779"/>
                    </a:lnTo>
                    <a:lnTo>
                      <a:pt x="3661" y="3782"/>
                    </a:lnTo>
                    <a:lnTo>
                      <a:pt x="3692" y="3811"/>
                    </a:lnTo>
                    <a:lnTo>
                      <a:pt x="3697" y="3818"/>
                    </a:lnTo>
                    <a:lnTo>
                      <a:pt x="3714" y="3821"/>
                    </a:lnTo>
                    <a:lnTo>
                      <a:pt x="3761" y="3814"/>
                    </a:lnTo>
                    <a:lnTo>
                      <a:pt x="3774" y="3820"/>
                    </a:lnTo>
                    <a:lnTo>
                      <a:pt x="3818" y="3821"/>
                    </a:lnTo>
                    <a:lnTo>
                      <a:pt x="3856" y="3816"/>
                    </a:lnTo>
                    <a:lnTo>
                      <a:pt x="3866" y="3811"/>
                    </a:lnTo>
                    <a:lnTo>
                      <a:pt x="3866" y="3803"/>
                    </a:lnTo>
                    <a:lnTo>
                      <a:pt x="3862" y="3791"/>
                    </a:lnTo>
                    <a:lnTo>
                      <a:pt x="3865" y="3777"/>
                    </a:lnTo>
                    <a:lnTo>
                      <a:pt x="3875" y="3761"/>
                    </a:lnTo>
                    <a:lnTo>
                      <a:pt x="3875" y="3745"/>
                    </a:lnTo>
                    <a:lnTo>
                      <a:pt x="3864" y="3730"/>
                    </a:lnTo>
                    <a:lnTo>
                      <a:pt x="3860" y="3712"/>
                    </a:lnTo>
                    <a:lnTo>
                      <a:pt x="3862" y="3694"/>
                    </a:lnTo>
                    <a:lnTo>
                      <a:pt x="3878" y="3680"/>
                    </a:lnTo>
                    <a:lnTo>
                      <a:pt x="3892" y="3664"/>
                    </a:lnTo>
                    <a:lnTo>
                      <a:pt x="3910" y="3649"/>
                    </a:lnTo>
                    <a:lnTo>
                      <a:pt x="3921" y="3632"/>
                    </a:lnTo>
                    <a:lnTo>
                      <a:pt x="3935" y="3631"/>
                    </a:lnTo>
                    <a:lnTo>
                      <a:pt x="3955" y="3637"/>
                    </a:lnTo>
                    <a:lnTo>
                      <a:pt x="3969" y="3648"/>
                    </a:lnTo>
                    <a:lnTo>
                      <a:pt x="4006" y="3658"/>
                    </a:lnTo>
                    <a:lnTo>
                      <a:pt x="4017" y="3672"/>
                    </a:lnTo>
                    <a:lnTo>
                      <a:pt x="4041" y="3678"/>
                    </a:lnTo>
                    <a:lnTo>
                      <a:pt x="4065" y="3681"/>
                    </a:lnTo>
                    <a:lnTo>
                      <a:pt x="4082" y="3688"/>
                    </a:lnTo>
                    <a:lnTo>
                      <a:pt x="4092" y="3704"/>
                    </a:lnTo>
                    <a:lnTo>
                      <a:pt x="4097" y="3734"/>
                    </a:lnTo>
                    <a:lnTo>
                      <a:pt x="4097" y="3755"/>
                    </a:lnTo>
                    <a:lnTo>
                      <a:pt x="4102" y="3755"/>
                    </a:lnTo>
                    <a:lnTo>
                      <a:pt x="4117" y="3769"/>
                    </a:lnTo>
                    <a:lnTo>
                      <a:pt x="4140" y="3785"/>
                    </a:lnTo>
                    <a:lnTo>
                      <a:pt x="4174" y="3796"/>
                    </a:lnTo>
                    <a:lnTo>
                      <a:pt x="4202" y="3790"/>
                    </a:lnTo>
                    <a:lnTo>
                      <a:pt x="4229" y="3775"/>
                    </a:lnTo>
                    <a:lnTo>
                      <a:pt x="4254" y="3763"/>
                    </a:lnTo>
                    <a:lnTo>
                      <a:pt x="4285" y="3771"/>
                    </a:lnTo>
                    <a:lnTo>
                      <a:pt x="4333" y="3788"/>
                    </a:lnTo>
                    <a:lnTo>
                      <a:pt x="4343" y="3800"/>
                    </a:lnTo>
                    <a:lnTo>
                      <a:pt x="4344" y="3800"/>
                    </a:lnTo>
                    <a:lnTo>
                      <a:pt x="4350" y="3805"/>
                    </a:lnTo>
                    <a:lnTo>
                      <a:pt x="4372" y="3817"/>
                    </a:lnTo>
                    <a:lnTo>
                      <a:pt x="4393" y="3823"/>
                    </a:lnTo>
                    <a:lnTo>
                      <a:pt x="4414" y="3832"/>
                    </a:lnTo>
                    <a:lnTo>
                      <a:pt x="4428" y="3852"/>
                    </a:lnTo>
                    <a:lnTo>
                      <a:pt x="4455" y="3868"/>
                    </a:lnTo>
                    <a:lnTo>
                      <a:pt x="4487" y="3873"/>
                    </a:lnTo>
                    <a:lnTo>
                      <a:pt x="4510" y="3880"/>
                    </a:lnTo>
                    <a:lnTo>
                      <a:pt x="4528" y="3881"/>
                    </a:lnTo>
                    <a:lnTo>
                      <a:pt x="4553" y="3879"/>
                    </a:lnTo>
                    <a:lnTo>
                      <a:pt x="4571" y="3887"/>
                    </a:lnTo>
                    <a:lnTo>
                      <a:pt x="4627" y="3868"/>
                    </a:lnTo>
                    <a:lnTo>
                      <a:pt x="4661" y="3860"/>
                    </a:lnTo>
                    <a:lnTo>
                      <a:pt x="4688" y="3855"/>
                    </a:lnTo>
                    <a:lnTo>
                      <a:pt x="4725" y="3826"/>
                    </a:lnTo>
                    <a:lnTo>
                      <a:pt x="4749" y="3810"/>
                    </a:lnTo>
                    <a:lnTo>
                      <a:pt x="4774" y="3801"/>
                    </a:lnTo>
                    <a:lnTo>
                      <a:pt x="4799" y="3811"/>
                    </a:lnTo>
                    <a:lnTo>
                      <a:pt x="4817" y="3826"/>
                    </a:lnTo>
                    <a:lnTo>
                      <a:pt x="4838" y="3830"/>
                    </a:lnTo>
                    <a:lnTo>
                      <a:pt x="4855" y="3826"/>
                    </a:lnTo>
                    <a:lnTo>
                      <a:pt x="4869" y="3818"/>
                    </a:lnTo>
                    <a:lnTo>
                      <a:pt x="4875" y="3821"/>
                    </a:lnTo>
                    <a:lnTo>
                      <a:pt x="4886" y="3823"/>
                    </a:lnTo>
                    <a:lnTo>
                      <a:pt x="4899" y="3833"/>
                    </a:lnTo>
                    <a:lnTo>
                      <a:pt x="4931" y="3843"/>
                    </a:lnTo>
                    <a:lnTo>
                      <a:pt x="4956" y="3855"/>
                    </a:lnTo>
                    <a:lnTo>
                      <a:pt x="4967" y="3853"/>
                    </a:lnTo>
                    <a:lnTo>
                      <a:pt x="4982" y="3842"/>
                    </a:lnTo>
                    <a:lnTo>
                      <a:pt x="5032" y="3811"/>
                    </a:lnTo>
                    <a:lnTo>
                      <a:pt x="5033" y="3804"/>
                    </a:lnTo>
                    <a:lnTo>
                      <a:pt x="5031" y="3791"/>
                    </a:lnTo>
                    <a:lnTo>
                      <a:pt x="5034" y="3779"/>
                    </a:lnTo>
                    <a:lnTo>
                      <a:pt x="5045" y="3766"/>
                    </a:lnTo>
                    <a:lnTo>
                      <a:pt x="5052" y="3755"/>
                    </a:lnTo>
                    <a:lnTo>
                      <a:pt x="5059" y="3725"/>
                    </a:lnTo>
                    <a:lnTo>
                      <a:pt x="5064" y="3703"/>
                    </a:lnTo>
                    <a:lnTo>
                      <a:pt x="5071" y="3686"/>
                    </a:lnTo>
                    <a:lnTo>
                      <a:pt x="5090" y="3676"/>
                    </a:lnTo>
                    <a:lnTo>
                      <a:pt x="5114" y="3649"/>
                    </a:lnTo>
                    <a:lnTo>
                      <a:pt x="5114" y="3644"/>
                    </a:lnTo>
                    <a:lnTo>
                      <a:pt x="5109" y="3633"/>
                    </a:lnTo>
                    <a:lnTo>
                      <a:pt x="5111" y="3606"/>
                    </a:lnTo>
                    <a:lnTo>
                      <a:pt x="5104" y="3602"/>
                    </a:lnTo>
                    <a:lnTo>
                      <a:pt x="5093" y="3602"/>
                    </a:lnTo>
                    <a:lnTo>
                      <a:pt x="5075" y="3607"/>
                    </a:lnTo>
                    <a:lnTo>
                      <a:pt x="5071" y="3602"/>
                    </a:lnTo>
                    <a:lnTo>
                      <a:pt x="5076" y="3589"/>
                    </a:lnTo>
                    <a:lnTo>
                      <a:pt x="5100" y="3565"/>
                    </a:lnTo>
                    <a:lnTo>
                      <a:pt x="5108" y="3553"/>
                    </a:lnTo>
                    <a:lnTo>
                      <a:pt x="5124" y="3541"/>
                    </a:lnTo>
                    <a:lnTo>
                      <a:pt x="5158" y="3535"/>
                    </a:lnTo>
                    <a:lnTo>
                      <a:pt x="5199" y="3520"/>
                    </a:lnTo>
                    <a:lnTo>
                      <a:pt x="5224" y="3521"/>
                    </a:lnTo>
                    <a:lnTo>
                      <a:pt x="5259" y="3515"/>
                    </a:lnTo>
                    <a:lnTo>
                      <a:pt x="5271" y="3515"/>
                    </a:lnTo>
                    <a:lnTo>
                      <a:pt x="5290" y="3524"/>
                    </a:lnTo>
                    <a:lnTo>
                      <a:pt x="5307" y="3536"/>
                    </a:lnTo>
                    <a:lnTo>
                      <a:pt x="5318" y="3548"/>
                    </a:lnTo>
                    <a:lnTo>
                      <a:pt x="5334" y="3552"/>
                    </a:lnTo>
                    <a:lnTo>
                      <a:pt x="5353" y="3549"/>
                    </a:lnTo>
                    <a:lnTo>
                      <a:pt x="5369" y="3553"/>
                    </a:lnTo>
                    <a:lnTo>
                      <a:pt x="5383" y="3559"/>
                    </a:lnTo>
                    <a:lnTo>
                      <a:pt x="5391" y="3573"/>
                    </a:lnTo>
                    <a:lnTo>
                      <a:pt x="5403" y="3591"/>
                    </a:lnTo>
                    <a:lnTo>
                      <a:pt x="5404" y="3604"/>
                    </a:lnTo>
                    <a:lnTo>
                      <a:pt x="5412" y="3611"/>
                    </a:lnTo>
                    <a:lnTo>
                      <a:pt x="5421" y="3617"/>
                    </a:lnTo>
                    <a:lnTo>
                      <a:pt x="5423" y="3626"/>
                    </a:lnTo>
                    <a:lnTo>
                      <a:pt x="5424" y="3621"/>
                    </a:lnTo>
                    <a:lnTo>
                      <a:pt x="5426" y="3634"/>
                    </a:lnTo>
                    <a:lnTo>
                      <a:pt x="5431" y="3649"/>
                    </a:lnTo>
                    <a:lnTo>
                      <a:pt x="5434" y="3670"/>
                    </a:lnTo>
                    <a:lnTo>
                      <a:pt x="5442" y="3687"/>
                    </a:lnTo>
                    <a:lnTo>
                      <a:pt x="5447" y="3704"/>
                    </a:lnTo>
                    <a:lnTo>
                      <a:pt x="5468" y="3744"/>
                    </a:lnTo>
                    <a:lnTo>
                      <a:pt x="5474" y="3785"/>
                    </a:lnTo>
                    <a:lnTo>
                      <a:pt x="5483" y="3804"/>
                    </a:lnTo>
                    <a:lnTo>
                      <a:pt x="5482" y="3809"/>
                    </a:lnTo>
                    <a:lnTo>
                      <a:pt x="5483" y="3810"/>
                    </a:lnTo>
                    <a:lnTo>
                      <a:pt x="5485" y="3828"/>
                    </a:lnTo>
                    <a:lnTo>
                      <a:pt x="5485" y="3849"/>
                    </a:lnTo>
                    <a:lnTo>
                      <a:pt x="5498" y="3860"/>
                    </a:lnTo>
                    <a:lnTo>
                      <a:pt x="5521" y="3863"/>
                    </a:lnTo>
                    <a:lnTo>
                      <a:pt x="5542" y="3855"/>
                    </a:lnTo>
                    <a:lnTo>
                      <a:pt x="5558" y="3863"/>
                    </a:lnTo>
                    <a:lnTo>
                      <a:pt x="5577" y="3865"/>
                    </a:lnTo>
                    <a:lnTo>
                      <a:pt x="5595" y="3874"/>
                    </a:lnTo>
                    <a:lnTo>
                      <a:pt x="5627" y="3902"/>
                    </a:lnTo>
                    <a:lnTo>
                      <a:pt x="5642" y="3909"/>
                    </a:lnTo>
                    <a:lnTo>
                      <a:pt x="5654" y="3911"/>
                    </a:lnTo>
                    <a:lnTo>
                      <a:pt x="5658" y="3918"/>
                    </a:lnTo>
                    <a:lnTo>
                      <a:pt x="5658" y="3923"/>
                    </a:lnTo>
                    <a:lnTo>
                      <a:pt x="5660" y="3922"/>
                    </a:lnTo>
                    <a:lnTo>
                      <a:pt x="5661" y="3938"/>
                    </a:lnTo>
                    <a:lnTo>
                      <a:pt x="5668" y="3947"/>
                    </a:lnTo>
                    <a:lnTo>
                      <a:pt x="5667" y="3963"/>
                    </a:lnTo>
                    <a:lnTo>
                      <a:pt x="5668" y="3981"/>
                    </a:lnTo>
                    <a:lnTo>
                      <a:pt x="5678" y="3997"/>
                    </a:lnTo>
                    <a:lnTo>
                      <a:pt x="5684" y="4010"/>
                    </a:lnTo>
                    <a:lnTo>
                      <a:pt x="5703" y="4009"/>
                    </a:lnTo>
                    <a:lnTo>
                      <a:pt x="5722" y="4015"/>
                    </a:lnTo>
                    <a:lnTo>
                      <a:pt x="5740" y="4013"/>
                    </a:lnTo>
                    <a:lnTo>
                      <a:pt x="5771" y="3998"/>
                    </a:lnTo>
                    <a:lnTo>
                      <a:pt x="5805" y="3976"/>
                    </a:lnTo>
                    <a:lnTo>
                      <a:pt x="5823" y="3974"/>
                    </a:lnTo>
                    <a:lnTo>
                      <a:pt x="5856" y="3956"/>
                    </a:lnTo>
                    <a:lnTo>
                      <a:pt x="5888" y="3947"/>
                    </a:lnTo>
                    <a:lnTo>
                      <a:pt x="5889" y="3950"/>
                    </a:lnTo>
                    <a:lnTo>
                      <a:pt x="5881" y="3963"/>
                    </a:lnTo>
                    <a:lnTo>
                      <a:pt x="5881" y="3983"/>
                    </a:lnTo>
                    <a:lnTo>
                      <a:pt x="5886" y="3999"/>
                    </a:lnTo>
                    <a:lnTo>
                      <a:pt x="5883" y="4019"/>
                    </a:lnTo>
                    <a:lnTo>
                      <a:pt x="5871" y="4029"/>
                    </a:lnTo>
                    <a:lnTo>
                      <a:pt x="5857" y="4042"/>
                    </a:lnTo>
                    <a:lnTo>
                      <a:pt x="5855" y="4063"/>
                    </a:lnTo>
                    <a:lnTo>
                      <a:pt x="5841" y="4096"/>
                    </a:lnTo>
                    <a:lnTo>
                      <a:pt x="5833" y="4138"/>
                    </a:lnTo>
                    <a:lnTo>
                      <a:pt x="5814" y="4176"/>
                    </a:lnTo>
                    <a:lnTo>
                      <a:pt x="5801" y="4194"/>
                    </a:lnTo>
                    <a:lnTo>
                      <a:pt x="5796" y="4214"/>
                    </a:lnTo>
                    <a:lnTo>
                      <a:pt x="5784" y="4224"/>
                    </a:lnTo>
                    <a:lnTo>
                      <a:pt x="5779" y="4220"/>
                    </a:lnTo>
                    <a:lnTo>
                      <a:pt x="5728" y="4208"/>
                    </a:lnTo>
                    <a:lnTo>
                      <a:pt x="5715" y="4215"/>
                    </a:lnTo>
                    <a:lnTo>
                      <a:pt x="5679" y="4250"/>
                    </a:lnTo>
                    <a:lnTo>
                      <a:pt x="5687" y="4263"/>
                    </a:lnTo>
                    <a:lnTo>
                      <a:pt x="5693" y="4290"/>
                    </a:lnTo>
                    <a:lnTo>
                      <a:pt x="5693" y="4349"/>
                    </a:lnTo>
                    <a:lnTo>
                      <a:pt x="5677" y="4374"/>
                    </a:lnTo>
                    <a:lnTo>
                      <a:pt x="5657" y="4391"/>
                    </a:lnTo>
                    <a:lnTo>
                      <a:pt x="5657" y="4409"/>
                    </a:lnTo>
                    <a:lnTo>
                      <a:pt x="5657" y="4415"/>
                    </a:lnTo>
                    <a:lnTo>
                      <a:pt x="5661" y="4423"/>
                    </a:lnTo>
                    <a:lnTo>
                      <a:pt x="5669" y="4419"/>
                    </a:lnTo>
                    <a:lnTo>
                      <a:pt x="5667" y="4412"/>
                    </a:lnTo>
                    <a:lnTo>
                      <a:pt x="5665" y="4407"/>
                    </a:lnTo>
                    <a:lnTo>
                      <a:pt x="5673" y="4404"/>
                    </a:lnTo>
                    <a:lnTo>
                      <a:pt x="5693" y="4406"/>
                    </a:lnTo>
                    <a:lnTo>
                      <a:pt x="5699" y="4396"/>
                    </a:lnTo>
                    <a:lnTo>
                      <a:pt x="5705" y="4390"/>
                    </a:lnTo>
                    <a:lnTo>
                      <a:pt x="5709" y="4382"/>
                    </a:lnTo>
                    <a:lnTo>
                      <a:pt x="5721" y="4369"/>
                    </a:lnTo>
                    <a:lnTo>
                      <a:pt x="5728" y="4345"/>
                    </a:lnTo>
                    <a:lnTo>
                      <a:pt x="5730" y="4354"/>
                    </a:lnTo>
                    <a:lnTo>
                      <a:pt x="5737" y="4355"/>
                    </a:lnTo>
                    <a:lnTo>
                      <a:pt x="5732" y="4365"/>
                    </a:lnTo>
                    <a:lnTo>
                      <a:pt x="5736" y="4370"/>
                    </a:lnTo>
                    <a:lnTo>
                      <a:pt x="5748" y="4361"/>
                    </a:lnTo>
                    <a:lnTo>
                      <a:pt x="5754" y="4359"/>
                    </a:lnTo>
                    <a:lnTo>
                      <a:pt x="5754" y="4366"/>
                    </a:lnTo>
                    <a:lnTo>
                      <a:pt x="5753" y="4374"/>
                    </a:lnTo>
                    <a:lnTo>
                      <a:pt x="5753" y="4385"/>
                    </a:lnTo>
                    <a:lnTo>
                      <a:pt x="5755" y="4387"/>
                    </a:lnTo>
                    <a:lnTo>
                      <a:pt x="5764" y="4387"/>
                    </a:lnTo>
                    <a:lnTo>
                      <a:pt x="5774" y="4390"/>
                    </a:lnTo>
                    <a:lnTo>
                      <a:pt x="5784" y="4396"/>
                    </a:lnTo>
                    <a:lnTo>
                      <a:pt x="5787" y="4395"/>
                    </a:lnTo>
                    <a:lnTo>
                      <a:pt x="5794" y="4398"/>
                    </a:lnTo>
                    <a:lnTo>
                      <a:pt x="5806" y="4401"/>
                    </a:lnTo>
                    <a:lnTo>
                      <a:pt x="5828" y="4393"/>
                    </a:lnTo>
                    <a:lnTo>
                      <a:pt x="5835" y="4393"/>
                    </a:lnTo>
                    <a:lnTo>
                      <a:pt x="5846" y="4387"/>
                    </a:lnTo>
                    <a:lnTo>
                      <a:pt x="5860" y="4376"/>
                    </a:lnTo>
                    <a:lnTo>
                      <a:pt x="5903" y="4347"/>
                    </a:lnTo>
                    <a:lnTo>
                      <a:pt x="5916" y="4332"/>
                    </a:lnTo>
                    <a:lnTo>
                      <a:pt x="5925" y="4318"/>
                    </a:lnTo>
                    <a:lnTo>
                      <a:pt x="5939" y="4299"/>
                    </a:lnTo>
                    <a:lnTo>
                      <a:pt x="5940" y="4290"/>
                    </a:lnTo>
                    <a:lnTo>
                      <a:pt x="5947" y="4279"/>
                    </a:lnTo>
                    <a:lnTo>
                      <a:pt x="5957" y="4269"/>
                    </a:lnTo>
                    <a:lnTo>
                      <a:pt x="5968" y="4263"/>
                    </a:lnTo>
                    <a:lnTo>
                      <a:pt x="5982" y="4240"/>
                    </a:lnTo>
                    <a:lnTo>
                      <a:pt x="5989" y="4232"/>
                    </a:lnTo>
                    <a:lnTo>
                      <a:pt x="6000" y="4215"/>
                    </a:lnTo>
                    <a:lnTo>
                      <a:pt x="6050" y="4161"/>
                    </a:lnTo>
                    <a:lnTo>
                      <a:pt x="6055" y="4148"/>
                    </a:lnTo>
                    <a:lnTo>
                      <a:pt x="6066" y="4138"/>
                    </a:lnTo>
                    <a:lnTo>
                      <a:pt x="6069" y="4134"/>
                    </a:lnTo>
                    <a:lnTo>
                      <a:pt x="6083" y="4106"/>
                    </a:lnTo>
                    <a:lnTo>
                      <a:pt x="6095" y="4070"/>
                    </a:lnTo>
                    <a:lnTo>
                      <a:pt x="6102" y="4056"/>
                    </a:lnTo>
                    <a:lnTo>
                      <a:pt x="6123" y="4031"/>
                    </a:lnTo>
                    <a:lnTo>
                      <a:pt x="6140" y="4001"/>
                    </a:lnTo>
                    <a:lnTo>
                      <a:pt x="6160" y="3979"/>
                    </a:lnTo>
                    <a:lnTo>
                      <a:pt x="6169" y="3967"/>
                    </a:lnTo>
                    <a:lnTo>
                      <a:pt x="6172" y="3961"/>
                    </a:lnTo>
                    <a:lnTo>
                      <a:pt x="6179" y="3957"/>
                    </a:lnTo>
                    <a:lnTo>
                      <a:pt x="6188" y="3949"/>
                    </a:lnTo>
                    <a:lnTo>
                      <a:pt x="6192" y="3924"/>
                    </a:lnTo>
                    <a:lnTo>
                      <a:pt x="6194" y="3912"/>
                    </a:lnTo>
                    <a:lnTo>
                      <a:pt x="6193" y="3902"/>
                    </a:lnTo>
                    <a:lnTo>
                      <a:pt x="6195" y="3890"/>
                    </a:lnTo>
                    <a:lnTo>
                      <a:pt x="6204" y="3871"/>
                    </a:lnTo>
                    <a:lnTo>
                      <a:pt x="6205" y="3861"/>
                    </a:lnTo>
                    <a:lnTo>
                      <a:pt x="6201" y="3827"/>
                    </a:lnTo>
                    <a:lnTo>
                      <a:pt x="6210" y="3816"/>
                    </a:lnTo>
                    <a:lnTo>
                      <a:pt x="6209" y="3810"/>
                    </a:lnTo>
                    <a:lnTo>
                      <a:pt x="6205" y="3806"/>
                    </a:lnTo>
                    <a:lnTo>
                      <a:pt x="6199" y="3778"/>
                    </a:lnTo>
                    <a:lnTo>
                      <a:pt x="6199" y="3757"/>
                    </a:lnTo>
                    <a:lnTo>
                      <a:pt x="6205" y="3747"/>
                    </a:lnTo>
                    <a:lnTo>
                      <a:pt x="6208" y="3734"/>
                    </a:lnTo>
                    <a:lnTo>
                      <a:pt x="6209" y="3713"/>
                    </a:lnTo>
                    <a:lnTo>
                      <a:pt x="6214" y="3712"/>
                    </a:lnTo>
                    <a:lnTo>
                      <a:pt x="6214" y="3705"/>
                    </a:lnTo>
                    <a:lnTo>
                      <a:pt x="6219" y="3702"/>
                    </a:lnTo>
                    <a:lnTo>
                      <a:pt x="6216" y="3696"/>
                    </a:lnTo>
                    <a:lnTo>
                      <a:pt x="6228" y="3676"/>
                    </a:lnTo>
                    <a:lnTo>
                      <a:pt x="6236" y="3671"/>
                    </a:lnTo>
                    <a:lnTo>
                      <a:pt x="6241" y="3661"/>
                    </a:lnTo>
                    <a:lnTo>
                      <a:pt x="6247" y="3653"/>
                    </a:lnTo>
                    <a:lnTo>
                      <a:pt x="6248" y="3643"/>
                    </a:lnTo>
                    <a:lnTo>
                      <a:pt x="6253" y="3631"/>
                    </a:lnTo>
                    <a:lnTo>
                      <a:pt x="6233" y="3610"/>
                    </a:lnTo>
                    <a:lnTo>
                      <a:pt x="6241" y="3591"/>
                    </a:lnTo>
                    <a:lnTo>
                      <a:pt x="6238" y="3578"/>
                    </a:lnTo>
                    <a:lnTo>
                      <a:pt x="6235" y="3565"/>
                    </a:lnTo>
                    <a:lnTo>
                      <a:pt x="6225" y="3559"/>
                    </a:lnTo>
                    <a:lnTo>
                      <a:pt x="6214" y="3549"/>
                    </a:lnTo>
                    <a:lnTo>
                      <a:pt x="6203" y="3551"/>
                    </a:lnTo>
                    <a:lnTo>
                      <a:pt x="6190" y="3542"/>
                    </a:lnTo>
                    <a:lnTo>
                      <a:pt x="6176" y="3537"/>
                    </a:lnTo>
                    <a:lnTo>
                      <a:pt x="6168" y="3538"/>
                    </a:lnTo>
                    <a:lnTo>
                      <a:pt x="6174" y="3532"/>
                    </a:lnTo>
                    <a:lnTo>
                      <a:pt x="6188" y="3532"/>
                    </a:lnTo>
                    <a:lnTo>
                      <a:pt x="6200" y="3542"/>
                    </a:lnTo>
                    <a:lnTo>
                      <a:pt x="6209" y="3543"/>
                    </a:lnTo>
                    <a:lnTo>
                      <a:pt x="6219" y="3542"/>
                    </a:lnTo>
                    <a:lnTo>
                      <a:pt x="6237" y="3554"/>
                    </a:lnTo>
                    <a:lnTo>
                      <a:pt x="6241" y="3551"/>
                    </a:lnTo>
                    <a:lnTo>
                      <a:pt x="6249" y="3540"/>
                    </a:lnTo>
                    <a:lnTo>
                      <a:pt x="6248" y="3529"/>
                    </a:lnTo>
                    <a:lnTo>
                      <a:pt x="6241" y="3526"/>
                    </a:lnTo>
                    <a:lnTo>
                      <a:pt x="6215" y="3508"/>
                    </a:lnTo>
                    <a:lnTo>
                      <a:pt x="6203" y="3495"/>
                    </a:lnTo>
                    <a:lnTo>
                      <a:pt x="6192" y="3487"/>
                    </a:lnTo>
                    <a:lnTo>
                      <a:pt x="6189" y="3482"/>
                    </a:lnTo>
                    <a:lnTo>
                      <a:pt x="6189" y="3468"/>
                    </a:lnTo>
                    <a:lnTo>
                      <a:pt x="6182" y="3461"/>
                    </a:lnTo>
                    <a:lnTo>
                      <a:pt x="6173" y="3454"/>
                    </a:lnTo>
                    <a:lnTo>
                      <a:pt x="6163" y="3450"/>
                    </a:lnTo>
                    <a:lnTo>
                      <a:pt x="6161" y="3445"/>
                    </a:lnTo>
                    <a:lnTo>
                      <a:pt x="6161" y="3440"/>
                    </a:lnTo>
                    <a:lnTo>
                      <a:pt x="6158" y="3440"/>
                    </a:lnTo>
                    <a:lnTo>
                      <a:pt x="6150" y="3440"/>
                    </a:lnTo>
                    <a:lnTo>
                      <a:pt x="6135" y="3446"/>
                    </a:lnTo>
                    <a:lnTo>
                      <a:pt x="6124" y="3446"/>
                    </a:lnTo>
                    <a:lnTo>
                      <a:pt x="6103" y="3438"/>
                    </a:lnTo>
                    <a:lnTo>
                      <a:pt x="6103" y="3457"/>
                    </a:lnTo>
                    <a:lnTo>
                      <a:pt x="6106" y="3459"/>
                    </a:lnTo>
                    <a:lnTo>
                      <a:pt x="6103" y="3467"/>
                    </a:lnTo>
                    <a:lnTo>
                      <a:pt x="6101" y="3483"/>
                    </a:lnTo>
                    <a:lnTo>
                      <a:pt x="6093" y="3504"/>
                    </a:lnTo>
                    <a:lnTo>
                      <a:pt x="6082" y="3510"/>
                    </a:lnTo>
                    <a:lnTo>
                      <a:pt x="6086" y="3495"/>
                    </a:lnTo>
                    <a:lnTo>
                      <a:pt x="6095" y="3481"/>
                    </a:lnTo>
                    <a:lnTo>
                      <a:pt x="6090" y="3471"/>
                    </a:lnTo>
                    <a:lnTo>
                      <a:pt x="6071" y="3493"/>
                    </a:lnTo>
                    <a:lnTo>
                      <a:pt x="6058" y="3500"/>
                    </a:lnTo>
                    <a:lnTo>
                      <a:pt x="6038" y="3505"/>
                    </a:lnTo>
                    <a:lnTo>
                      <a:pt x="6023" y="3504"/>
                    </a:lnTo>
                    <a:lnTo>
                      <a:pt x="6023" y="3499"/>
                    </a:lnTo>
                    <a:lnTo>
                      <a:pt x="6032" y="3495"/>
                    </a:lnTo>
                    <a:lnTo>
                      <a:pt x="6038" y="3488"/>
                    </a:lnTo>
                    <a:lnTo>
                      <a:pt x="6045" y="3477"/>
                    </a:lnTo>
                    <a:lnTo>
                      <a:pt x="6043" y="3470"/>
                    </a:lnTo>
                    <a:lnTo>
                      <a:pt x="6033" y="3465"/>
                    </a:lnTo>
                    <a:lnTo>
                      <a:pt x="6028" y="3455"/>
                    </a:lnTo>
                    <a:lnTo>
                      <a:pt x="6034" y="3452"/>
                    </a:lnTo>
                    <a:lnTo>
                      <a:pt x="6043" y="3443"/>
                    </a:lnTo>
                    <a:lnTo>
                      <a:pt x="6044" y="3438"/>
                    </a:lnTo>
                    <a:lnTo>
                      <a:pt x="6028" y="3439"/>
                    </a:lnTo>
                    <a:lnTo>
                      <a:pt x="6018" y="3445"/>
                    </a:lnTo>
                    <a:lnTo>
                      <a:pt x="6015" y="3454"/>
                    </a:lnTo>
                    <a:lnTo>
                      <a:pt x="6021" y="3462"/>
                    </a:lnTo>
                    <a:lnTo>
                      <a:pt x="6018" y="3470"/>
                    </a:lnTo>
                    <a:lnTo>
                      <a:pt x="6010" y="3479"/>
                    </a:lnTo>
                    <a:lnTo>
                      <a:pt x="6001" y="3479"/>
                    </a:lnTo>
                    <a:lnTo>
                      <a:pt x="5996" y="3487"/>
                    </a:lnTo>
                    <a:lnTo>
                      <a:pt x="5994" y="3484"/>
                    </a:lnTo>
                    <a:lnTo>
                      <a:pt x="5993" y="3466"/>
                    </a:lnTo>
                    <a:lnTo>
                      <a:pt x="5995" y="3455"/>
                    </a:lnTo>
                    <a:lnTo>
                      <a:pt x="5996" y="3444"/>
                    </a:lnTo>
                    <a:lnTo>
                      <a:pt x="5997" y="3434"/>
                    </a:lnTo>
                    <a:lnTo>
                      <a:pt x="5996" y="3430"/>
                    </a:lnTo>
                    <a:lnTo>
                      <a:pt x="5997" y="3417"/>
                    </a:lnTo>
                    <a:lnTo>
                      <a:pt x="5995" y="3408"/>
                    </a:lnTo>
                    <a:lnTo>
                      <a:pt x="5985" y="3406"/>
                    </a:lnTo>
                    <a:lnTo>
                      <a:pt x="5962" y="3412"/>
                    </a:lnTo>
                    <a:lnTo>
                      <a:pt x="5939" y="3413"/>
                    </a:lnTo>
                    <a:lnTo>
                      <a:pt x="5929" y="3405"/>
                    </a:lnTo>
                    <a:lnTo>
                      <a:pt x="5910" y="3396"/>
                    </a:lnTo>
                    <a:lnTo>
                      <a:pt x="5910" y="3390"/>
                    </a:lnTo>
                    <a:lnTo>
                      <a:pt x="5915" y="3376"/>
                    </a:lnTo>
                    <a:lnTo>
                      <a:pt x="5942" y="3354"/>
                    </a:lnTo>
                    <a:lnTo>
                      <a:pt x="5950" y="3350"/>
                    </a:lnTo>
                    <a:lnTo>
                      <a:pt x="5968" y="3336"/>
                    </a:lnTo>
                    <a:lnTo>
                      <a:pt x="5977" y="3320"/>
                    </a:lnTo>
                    <a:lnTo>
                      <a:pt x="5983" y="3314"/>
                    </a:lnTo>
                    <a:lnTo>
                      <a:pt x="5989" y="3312"/>
                    </a:lnTo>
                    <a:lnTo>
                      <a:pt x="5999" y="3305"/>
                    </a:lnTo>
                    <a:lnTo>
                      <a:pt x="6047" y="3260"/>
                    </a:lnTo>
                    <a:lnTo>
                      <a:pt x="6056" y="3241"/>
                    </a:lnTo>
                    <a:lnTo>
                      <a:pt x="6065" y="3235"/>
                    </a:lnTo>
                    <a:lnTo>
                      <a:pt x="6069" y="3226"/>
                    </a:lnTo>
                    <a:lnTo>
                      <a:pt x="6070" y="3218"/>
                    </a:lnTo>
                    <a:lnTo>
                      <a:pt x="6076" y="3212"/>
                    </a:lnTo>
                    <a:lnTo>
                      <a:pt x="6083" y="3202"/>
                    </a:lnTo>
                    <a:lnTo>
                      <a:pt x="6087" y="3194"/>
                    </a:lnTo>
                    <a:lnTo>
                      <a:pt x="6093" y="3196"/>
                    </a:lnTo>
                    <a:lnTo>
                      <a:pt x="6099" y="3182"/>
                    </a:lnTo>
                    <a:lnTo>
                      <a:pt x="6114" y="3169"/>
                    </a:lnTo>
                    <a:lnTo>
                      <a:pt x="6130" y="3145"/>
                    </a:lnTo>
                    <a:lnTo>
                      <a:pt x="6140" y="3147"/>
                    </a:lnTo>
                    <a:lnTo>
                      <a:pt x="6158" y="3127"/>
                    </a:lnTo>
                    <a:lnTo>
                      <a:pt x="6166" y="3111"/>
                    </a:lnTo>
                    <a:lnTo>
                      <a:pt x="6169" y="3112"/>
                    </a:lnTo>
                    <a:lnTo>
                      <a:pt x="6182" y="3101"/>
                    </a:lnTo>
                    <a:lnTo>
                      <a:pt x="6193" y="3095"/>
                    </a:lnTo>
                    <a:lnTo>
                      <a:pt x="6201" y="3078"/>
                    </a:lnTo>
                    <a:lnTo>
                      <a:pt x="6204" y="3063"/>
                    </a:lnTo>
                    <a:lnTo>
                      <a:pt x="6219" y="3043"/>
                    </a:lnTo>
                    <a:lnTo>
                      <a:pt x="6258" y="3011"/>
                    </a:lnTo>
                    <a:lnTo>
                      <a:pt x="6270" y="2994"/>
                    </a:lnTo>
                    <a:lnTo>
                      <a:pt x="6280" y="2976"/>
                    </a:lnTo>
                    <a:lnTo>
                      <a:pt x="6298" y="2960"/>
                    </a:lnTo>
                    <a:lnTo>
                      <a:pt x="6316" y="2946"/>
                    </a:lnTo>
                    <a:lnTo>
                      <a:pt x="6345" y="2932"/>
                    </a:lnTo>
                    <a:lnTo>
                      <a:pt x="6400" y="2927"/>
                    </a:lnTo>
                    <a:lnTo>
                      <a:pt x="6436" y="2927"/>
                    </a:lnTo>
                    <a:lnTo>
                      <a:pt x="6456" y="2924"/>
                    </a:lnTo>
                    <a:lnTo>
                      <a:pt x="6464" y="2927"/>
                    </a:lnTo>
                    <a:lnTo>
                      <a:pt x="6475" y="2925"/>
                    </a:lnTo>
                    <a:lnTo>
                      <a:pt x="6488" y="2929"/>
                    </a:lnTo>
                    <a:lnTo>
                      <a:pt x="6495" y="2929"/>
                    </a:lnTo>
                    <a:lnTo>
                      <a:pt x="6495" y="2941"/>
                    </a:lnTo>
                    <a:lnTo>
                      <a:pt x="6500" y="2950"/>
                    </a:lnTo>
                    <a:lnTo>
                      <a:pt x="6507" y="2951"/>
                    </a:lnTo>
                    <a:lnTo>
                      <a:pt x="6518" y="2949"/>
                    </a:lnTo>
                    <a:lnTo>
                      <a:pt x="6521" y="2944"/>
                    </a:lnTo>
                    <a:lnTo>
                      <a:pt x="6522" y="2923"/>
                    </a:lnTo>
                    <a:lnTo>
                      <a:pt x="6527" y="2919"/>
                    </a:lnTo>
                    <a:lnTo>
                      <a:pt x="6585" y="2943"/>
                    </a:lnTo>
                    <a:lnTo>
                      <a:pt x="6602" y="2940"/>
                    </a:lnTo>
                    <a:lnTo>
                      <a:pt x="6602" y="2932"/>
                    </a:lnTo>
                    <a:lnTo>
                      <a:pt x="6610" y="2927"/>
                    </a:lnTo>
                    <a:lnTo>
                      <a:pt x="6630" y="2928"/>
                    </a:lnTo>
                    <a:lnTo>
                      <a:pt x="6638" y="2937"/>
                    </a:lnTo>
                    <a:lnTo>
                      <a:pt x="6641" y="2944"/>
                    </a:lnTo>
                    <a:lnTo>
                      <a:pt x="6646" y="2945"/>
                    </a:lnTo>
                    <a:lnTo>
                      <a:pt x="6660" y="2941"/>
                    </a:lnTo>
                    <a:lnTo>
                      <a:pt x="6660" y="2932"/>
                    </a:lnTo>
                    <a:lnTo>
                      <a:pt x="6656" y="2932"/>
                    </a:lnTo>
                    <a:lnTo>
                      <a:pt x="6651" y="2923"/>
                    </a:lnTo>
                    <a:lnTo>
                      <a:pt x="6660" y="2918"/>
                    </a:lnTo>
                    <a:lnTo>
                      <a:pt x="6673" y="2918"/>
                    </a:lnTo>
                    <a:lnTo>
                      <a:pt x="6672" y="2912"/>
                    </a:lnTo>
                    <a:lnTo>
                      <a:pt x="6667" y="2905"/>
                    </a:lnTo>
                    <a:lnTo>
                      <a:pt x="6668" y="2898"/>
                    </a:lnTo>
                    <a:lnTo>
                      <a:pt x="6679" y="2891"/>
                    </a:lnTo>
                    <a:lnTo>
                      <a:pt x="6692" y="2890"/>
                    </a:lnTo>
                    <a:lnTo>
                      <a:pt x="6705" y="2892"/>
                    </a:lnTo>
                    <a:lnTo>
                      <a:pt x="6737" y="2905"/>
                    </a:lnTo>
                    <a:lnTo>
                      <a:pt x="6747" y="2905"/>
                    </a:lnTo>
                    <a:lnTo>
                      <a:pt x="6760" y="2913"/>
                    </a:lnTo>
                    <a:lnTo>
                      <a:pt x="6762" y="2918"/>
                    </a:lnTo>
                    <a:lnTo>
                      <a:pt x="6770" y="2921"/>
                    </a:lnTo>
                    <a:lnTo>
                      <a:pt x="6775" y="2908"/>
                    </a:lnTo>
                    <a:lnTo>
                      <a:pt x="6785" y="2906"/>
                    </a:lnTo>
                    <a:lnTo>
                      <a:pt x="6798" y="2910"/>
                    </a:lnTo>
                    <a:lnTo>
                      <a:pt x="6808" y="2916"/>
                    </a:lnTo>
                    <a:lnTo>
                      <a:pt x="6817" y="2927"/>
                    </a:lnTo>
                    <a:lnTo>
                      <a:pt x="6822" y="2937"/>
                    </a:lnTo>
                    <a:lnTo>
                      <a:pt x="6841" y="2940"/>
                    </a:lnTo>
                    <a:lnTo>
                      <a:pt x="6845" y="2948"/>
                    </a:lnTo>
                    <a:lnTo>
                      <a:pt x="6833" y="2953"/>
                    </a:lnTo>
                    <a:lnTo>
                      <a:pt x="6817" y="2954"/>
                    </a:lnTo>
                    <a:lnTo>
                      <a:pt x="6795" y="2954"/>
                    </a:lnTo>
                    <a:lnTo>
                      <a:pt x="6784" y="2959"/>
                    </a:lnTo>
                    <a:lnTo>
                      <a:pt x="6785" y="2965"/>
                    </a:lnTo>
                    <a:lnTo>
                      <a:pt x="6800" y="2984"/>
                    </a:lnTo>
                    <a:lnTo>
                      <a:pt x="6816" y="2986"/>
                    </a:lnTo>
                    <a:lnTo>
                      <a:pt x="6829" y="2984"/>
                    </a:lnTo>
                    <a:lnTo>
                      <a:pt x="6843" y="2981"/>
                    </a:lnTo>
                    <a:lnTo>
                      <a:pt x="6849" y="2971"/>
                    </a:lnTo>
                    <a:lnTo>
                      <a:pt x="6859" y="2966"/>
                    </a:lnTo>
                    <a:lnTo>
                      <a:pt x="6866" y="2973"/>
                    </a:lnTo>
                    <a:lnTo>
                      <a:pt x="6878" y="2978"/>
                    </a:lnTo>
                    <a:lnTo>
                      <a:pt x="6886" y="2972"/>
                    </a:lnTo>
                    <a:lnTo>
                      <a:pt x="6892" y="2962"/>
                    </a:lnTo>
                    <a:lnTo>
                      <a:pt x="6905" y="2960"/>
                    </a:lnTo>
                    <a:lnTo>
                      <a:pt x="6907" y="2953"/>
                    </a:lnTo>
                    <a:lnTo>
                      <a:pt x="6919" y="2946"/>
                    </a:lnTo>
                    <a:lnTo>
                      <a:pt x="6935" y="2951"/>
                    </a:lnTo>
                    <a:lnTo>
                      <a:pt x="6942" y="2962"/>
                    </a:lnTo>
                    <a:lnTo>
                      <a:pt x="6951" y="2962"/>
                    </a:lnTo>
                    <a:lnTo>
                      <a:pt x="6963" y="2959"/>
                    </a:lnTo>
                    <a:lnTo>
                      <a:pt x="6967" y="2950"/>
                    </a:lnTo>
                    <a:lnTo>
                      <a:pt x="6981" y="2951"/>
                    </a:lnTo>
                    <a:lnTo>
                      <a:pt x="6988" y="2956"/>
                    </a:lnTo>
                    <a:lnTo>
                      <a:pt x="6991" y="2950"/>
                    </a:lnTo>
                    <a:lnTo>
                      <a:pt x="7001" y="2950"/>
                    </a:lnTo>
                    <a:lnTo>
                      <a:pt x="7002" y="2943"/>
                    </a:lnTo>
                    <a:lnTo>
                      <a:pt x="7000" y="2933"/>
                    </a:lnTo>
                    <a:lnTo>
                      <a:pt x="6993" y="2922"/>
                    </a:lnTo>
                    <a:lnTo>
                      <a:pt x="6972" y="2913"/>
                    </a:lnTo>
                    <a:lnTo>
                      <a:pt x="6951" y="2917"/>
                    </a:lnTo>
                    <a:lnTo>
                      <a:pt x="6952" y="2910"/>
                    </a:lnTo>
                    <a:lnTo>
                      <a:pt x="6958" y="2902"/>
                    </a:lnTo>
                    <a:lnTo>
                      <a:pt x="6950" y="2879"/>
                    </a:lnTo>
                    <a:lnTo>
                      <a:pt x="6953" y="2875"/>
                    </a:lnTo>
                    <a:lnTo>
                      <a:pt x="6959" y="2879"/>
                    </a:lnTo>
                    <a:lnTo>
                      <a:pt x="6962" y="2879"/>
                    </a:lnTo>
                    <a:lnTo>
                      <a:pt x="6975" y="2849"/>
                    </a:lnTo>
                    <a:lnTo>
                      <a:pt x="6983" y="2837"/>
                    </a:lnTo>
                    <a:lnTo>
                      <a:pt x="6986" y="2827"/>
                    </a:lnTo>
                    <a:lnTo>
                      <a:pt x="6999" y="2815"/>
                    </a:lnTo>
                    <a:lnTo>
                      <a:pt x="7011" y="2809"/>
                    </a:lnTo>
                    <a:lnTo>
                      <a:pt x="7047" y="2776"/>
                    </a:lnTo>
                    <a:lnTo>
                      <a:pt x="7047" y="2767"/>
                    </a:lnTo>
                    <a:lnTo>
                      <a:pt x="7051" y="2757"/>
                    </a:lnTo>
                    <a:lnTo>
                      <a:pt x="7074" y="2731"/>
                    </a:lnTo>
                    <a:lnTo>
                      <a:pt x="7083" y="2723"/>
                    </a:lnTo>
                    <a:lnTo>
                      <a:pt x="7088" y="2697"/>
                    </a:lnTo>
                    <a:lnTo>
                      <a:pt x="7099" y="2690"/>
                    </a:lnTo>
                    <a:lnTo>
                      <a:pt x="7118" y="2670"/>
                    </a:lnTo>
                    <a:lnTo>
                      <a:pt x="7128" y="2666"/>
                    </a:lnTo>
                    <a:lnTo>
                      <a:pt x="7137" y="2659"/>
                    </a:lnTo>
                    <a:lnTo>
                      <a:pt x="7165" y="2661"/>
                    </a:lnTo>
                    <a:lnTo>
                      <a:pt x="7205" y="2653"/>
                    </a:lnTo>
                    <a:lnTo>
                      <a:pt x="7211" y="2648"/>
                    </a:lnTo>
                    <a:lnTo>
                      <a:pt x="7215" y="2642"/>
                    </a:lnTo>
                    <a:lnTo>
                      <a:pt x="7221" y="2643"/>
                    </a:lnTo>
                    <a:lnTo>
                      <a:pt x="7235" y="2652"/>
                    </a:lnTo>
                    <a:lnTo>
                      <a:pt x="7241" y="2659"/>
                    </a:lnTo>
                    <a:lnTo>
                      <a:pt x="7244" y="2670"/>
                    </a:lnTo>
                    <a:lnTo>
                      <a:pt x="7260" y="2669"/>
                    </a:lnTo>
                    <a:lnTo>
                      <a:pt x="7270" y="2658"/>
                    </a:lnTo>
                    <a:lnTo>
                      <a:pt x="7290" y="2638"/>
                    </a:lnTo>
                    <a:lnTo>
                      <a:pt x="7281" y="2685"/>
                    </a:lnTo>
                    <a:lnTo>
                      <a:pt x="7273" y="2693"/>
                    </a:lnTo>
                    <a:lnTo>
                      <a:pt x="7269" y="2703"/>
                    </a:lnTo>
                    <a:lnTo>
                      <a:pt x="7263" y="2712"/>
                    </a:lnTo>
                    <a:lnTo>
                      <a:pt x="7263" y="2725"/>
                    </a:lnTo>
                    <a:lnTo>
                      <a:pt x="7269" y="2733"/>
                    </a:lnTo>
                    <a:lnTo>
                      <a:pt x="7268" y="2741"/>
                    </a:lnTo>
                    <a:lnTo>
                      <a:pt x="7263" y="2745"/>
                    </a:lnTo>
                    <a:lnTo>
                      <a:pt x="7260" y="2752"/>
                    </a:lnTo>
                    <a:lnTo>
                      <a:pt x="7265" y="2756"/>
                    </a:lnTo>
                    <a:lnTo>
                      <a:pt x="7280" y="2749"/>
                    </a:lnTo>
                    <a:lnTo>
                      <a:pt x="7292" y="2746"/>
                    </a:lnTo>
                    <a:lnTo>
                      <a:pt x="7281" y="2771"/>
                    </a:lnTo>
                    <a:lnTo>
                      <a:pt x="7278" y="2787"/>
                    </a:lnTo>
                    <a:lnTo>
                      <a:pt x="7279" y="2797"/>
                    </a:lnTo>
                    <a:lnTo>
                      <a:pt x="7286" y="2793"/>
                    </a:lnTo>
                    <a:lnTo>
                      <a:pt x="7300" y="2781"/>
                    </a:lnTo>
                    <a:lnTo>
                      <a:pt x="7309" y="2781"/>
                    </a:lnTo>
                    <a:lnTo>
                      <a:pt x="7345" y="2734"/>
                    </a:lnTo>
                    <a:lnTo>
                      <a:pt x="7355" y="2728"/>
                    </a:lnTo>
                    <a:lnTo>
                      <a:pt x="7367" y="2713"/>
                    </a:lnTo>
                    <a:lnTo>
                      <a:pt x="7378" y="2704"/>
                    </a:lnTo>
                    <a:lnTo>
                      <a:pt x="7399" y="2680"/>
                    </a:lnTo>
                    <a:lnTo>
                      <a:pt x="7414" y="2679"/>
                    </a:lnTo>
                    <a:lnTo>
                      <a:pt x="7420" y="2675"/>
                    </a:lnTo>
                    <a:lnTo>
                      <a:pt x="7422" y="2666"/>
                    </a:lnTo>
                    <a:lnTo>
                      <a:pt x="7430" y="2671"/>
                    </a:lnTo>
                    <a:lnTo>
                      <a:pt x="7429" y="2680"/>
                    </a:lnTo>
                    <a:lnTo>
                      <a:pt x="7431" y="2688"/>
                    </a:lnTo>
                    <a:lnTo>
                      <a:pt x="7438" y="2687"/>
                    </a:lnTo>
                    <a:lnTo>
                      <a:pt x="7447" y="2669"/>
                    </a:lnTo>
                    <a:lnTo>
                      <a:pt x="7437" y="2666"/>
                    </a:lnTo>
                    <a:lnTo>
                      <a:pt x="7434" y="2656"/>
                    </a:lnTo>
                    <a:lnTo>
                      <a:pt x="7437" y="2642"/>
                    </a:lnTo>
                    <a:lnTo>
                      <a:pt x="7438" y="2627"/>
                    </a:lnTo>
                    <a:lnTo>
                      <a:pt x="7438" y="2618"/>
                    </a:lnTo>
                    <a:lnTo>
                      <a:pt x="7448" y="2601"/>
                    </a:lnTo>
                    <a:lnTo>
                      <a:pt x="7448" y="2593"/>
                    </a:lnTo>
                    <a:lnTo>
                      <a:pt x="7452" y="2583"/>
                    </a:lnTo>
                    <a:lnTo>
                      <a:pt x="7467" y="2569"/>
                    </a:lnTo>
                    <a:lnTo>
                      <a:pt x="7511" y="2553"/>
                    </a:lnTo>
                    <a:lnTo>
                      <a:pt x="7526" y="2557"/>
                    </a:lnTo>
                    <a:lnTo>
                      <a:pt x="7542" y="2572"/>
                    </a:lnTo>
                    <a:lnTo>
                      <a:pt x="7535" y="2585"/>
                    </a:lnTo>
                    <a:lnTo>
                      <a:pt x="7524" y="2582"/>
                    </a:lnTo>
                    <a:lnTo>
                      <a:pt x="7506" y="2596"/>
                    </a:lnTo>
                    <a:lnTo>
                      <a:pt x="7496" y="2607"/>
                    </a:lnTo>
                    <a:lnTo>
                      <a:pt x="7494" y="2623"/>
                    </a:lnTo>
                    <a:lnTo>
                      <a:pt x="7490" y="2631"/>
                    </a:lnTo>
                    <a:lnTo>
                      <a:pt x="7489" y="2644"/>
                    </a:lnTo>
                    <a:lnTo>
                      <a:pt x="7489" y="2670"/>
                    </a:lnTo>
                    <a:lnTo>
                      <a:pt x="7478" y="2681"/>
                    </a:lnTo>
                    <a:lnTo>
                      <a:pt x="7477" y="2688"/>
                    </a:lnTo>
                    <a:lnTo>
                      <a:pt x="7478" y="2699"/>
                    </a:lnTo>
                    <a:lnTo>
                      <a:pt x="7480" y="2706"/>
                    </a:lnTo>
                    <a:lnTo>
                      <a:pt x="7479" y="2718"/>
                    </a:lnTo>
                    <a:lnTo>
                      <a:pt x="7472" y="2728"/>
                    </a:lnTo>
                    <a:lnTo>
                      <a:pt x="7465" y="2731"/>
                    </a:lnTo>
                    <a:lnTo>
                      <a:pt x="7464" y="2738"/>
                    </a:lnTo>
                    <a:lnTo>
                      <a:pt x="7463" y="2749"/>
                    </a:lnTo>
                    <a:lnTo>
                      <a:pt x="7472" y="2755"/>
                    </a:lnTo>
                    <a:lnTo>
                      <a:pt x="7472" y="2762"/>
                    </a:lnTo>
                    <a:lnTo>
                      <a:pt x="7462" y="2771"/>
                    </a:lnTo>
                    <a:lnTo>
                      <a:pt x="7451" y="2777"/>
                    </a:lnTo>
                    <a:lnTo>
                      <a:pt x="7440" y="2774"/>
                    </a:lnTo>
                    <a:lnTo>
                      <a:pt x="7427" y="2779"/>
                    </a:lnTo>
                    <a:lnTo>
                      <a:pt x="7415" y="2797"/>
                    </a:lnTo>
                    <a:lnTo>
                      <a:pt x="7402" y="2798"/>
                    </a:lnTo>
                    <a:lnTo>
                      <a:pt x="7376" y="2809"/>
                    </a:lnTo>
                    <a:lnTo>
                      <a:pt x="7372" y="2814"/>
                    </a:lnTo>
                    <a:lnTo>
                      <a:pt x="7372" y="2826"/>
                    </a:lnTo>
                    <a:lnTo>
                      <a:pt x="7367" y="2838"/>
                    </a:lnTo>
                    <a:lnTo>
                      <a:pt x="7356" y="2848"/>
                    </a:lnTo>
                    <a:lnTo>
                      <a:pt x="7343" y="2864"/>
                    </a:lnTo>
                    <a:lnTo>
                      <a:pt x="7318" y="2897"/>
                    </a:lnTo>
                    <a:lnTo>
                      <a:pt x="7293" y="2911"/>
                    </a:lnTo>
                    <a:lnTo>
                      <a:pt x="7286" y="2929"/>
                    </a:lnTo>
                    <a:lnTo>
                      <a:pt x="7276" y="2934"/>
                    </a:lnTo>
                    <a:lnTo>
                      <a:pt x="7258" y="2960"/>
                    </a:lnTo>
                    <a:lnTo>
                      <a:pt x="7255" y="2978"/>
                    </a:lnTo>
                    <a:lnTo>
                      <a:pt x="7236" y="3002"/>
                    </a:lnTo>
                    <a:lnTo>
                      <a:pt x="7225" y="3019"/>
                    </a:lnTo>
                    <a:lnTo>
                      <a:pt x="7210" y="3031"/>
                    </a:lnTo>
                    <a:lnTo>
                      <a:pt x="7195" y="3047"/>
                    </a:lnTo>
                    <a:lnTo>
                      <a:pt x="7182" y="3066"/>
                    </a:lnTo>
                    <a:lnTo>
                      <a:pt x="7162" y="3075"/>
                    </a:lnTo>
                    <a:lnTo>
                      <a:pt x="7144" y="3075"/>
                    </a:lnTo>
                    <a:lnTo>
                      <a:pt x="7137" y="3085"/>
                    </a:lnTo>
                    <a:lnTo>
                      <a:pt x="7128" y="3096"/>
                    </a:lnTo>
                    <a:lnTo>
                      <a:pt x="7108" y="3091"/>
                    </a:lnTo>
                    <a:lnTo>
                      <a:pt x="7098" y="3093"/>
                    </a:lnTo>
                    <a:lnTo>
                      <a:pt x="7103" y="3105"/>
                    </a:lnTo>
                    <a:lnTo>
                      <a:pt x="7106" y="3124"/>
                    </a:lnTo>
                    <a:lnTo>
                      <a:pt x="7093" y="3164"/>
                    </a:lnTo>
                    <a:lnTo>
                      <a:pt x="7077" y="3174"/>
                    </a:lnTo>
                    <a:lnTo>
                      <a:pt x="7065" y="3186"/>
                    </a:lnTo>
                    <a:lnTo>
                      <a:pt x="7051" y="3193"/>
                    </a:lnTo>
                    <a:lnTo>
                      <a:pt x="7045" y="3206"/>
                    </a:lnTo>
                    <a:lnTo>
                      <a:pt x="7040" y="3229"/>
                    </a:lnTo>
                    <a:lnTo>
                      <a:pt x="7028" y="3279"/>
                    </a:lnTo>
                    <a:lnTo>
                      <a:pt x="7027" y="3328"/>
                    </a:lnTo>
                    <a:lnTo>
                      <a:pt x="7028" y="3352"/>
                    </a:lnTo>
                    <a:lnTo>
                      <a:pt x="7031" y="3374"/>
                    </a:lnTo>
                    <a:lnTo>
                      <a:pt x="7032" y="3403"/>
                    </a:lnTo>
                    <a:lnTo>
                      <a:pt x="7036" y="3418"/>
                    </a:lnTo>
                    <a:lnTo>
                      <a:pt x="7040" y="3459"/>
                    </a:lnTo>
                    <a:lnTo>
                      <a:pt x="7042" y="3463"/>
                    </a:lnTo>
                    <a:lnTo>
                      <a:pt x="7044" y="3467"/>
                    </a:lnTo>
                    <a:lnTo>
                      <a:pt x="7051" y="3503"/>
                    </a:lnTo>
                    <a:lnTo>
                      <a:pt x="7056" y="3524"/>
                    </a:lnTo>
                    <a:lnTo>
                      <a:pt x="7058" y="3551"/>
                    </a:lnTo>
                    <a:lnTo>
                      <a:pt x="7061" y="3573"/>
                    </a:lnTo>
                    <a:lnTo>
                      <a:pt x="7066" y="3596"/>
                    </a:lnTo>
                    <a:lnTo>
                      <a:pt x="7075" y="3617"/>
                    </a:lnTo>
                    <a:lnTo>
                      <a:pt x="7081" y="3640"/>
                    </a:lnTo>
                    <a:lnTo>
                      <a:pt x="7081" y="3685"/>
                    </a:lnTo>
                    <a:lnTo>
                      <a:pt x="7082" y="3705"/>
                    </a:lnTo>
                    <a:lnTo>
                      <a:pt x="7092" y="3729"/>
                    </a:lnTo>
                    <a:lnTo>
                      <a:pt x="7094" y="3742"/>
                    </a:lnTo>
                    <a:lnTo>
                      <a:pt x="7108" y="3728"/>
                    </a:lnTo>
                    <a:lnTo>
                      <a:pt x="7120" y="3718"/>
                    </a:lnTo>
                    <a:lnTo>
                      <a:pt x="7131" y="3704"/>
                    </a:lnTo>
                    <a:lnTo>
                      <a:pt x="7139" y="3691"/>
                    </a:lnTo>
                    <a:lnTo>
                      <a:pt x="7150" y="3682"/>
                    </a:lnTo>
                    <a:lnTo>
                      <a:pt x="7172" y="3656"/>
                    </a:lnTo>
                    <a:lnTo>
                      <a:pt x="7184" y="3626"/>
                    </a:lnTo>
                    <a:lnTo>
                      <a:pt x="7185" y="3613"/>
                    </a:lnTo>
                    <a:lnTo>
                      <a:pt x="7184" y="3595"/>
                    </a:lnTo>
                    <a:lnTo>
                      <a:pt x="7188" y="3589"/>
                    </a:lnTo>
                    <a:lnTo>
                      <a:pt x="7192" y="3573"/>
                    </a:lnTo>
                    <a:lnTo>
                      <a:pt x="7187" y="3569"/>
                    </a:lnTo>
                    <a:lnTo>
                      <a:pt x="7192" y="3561"/>
                    </a:lnTo>
                    <a:lnTo>
                      <a:pt x="7198" y="3562"/>
                    </a:lnTo>
                    <a:lnTo>
                      <a:pt x="7203" y="3567"/>
                    </a:lnTo>
                    <a:lnTo>
                      <a:pt x="7212" y="3556"/>
                    </a:lnTo>
                    <a:lnTo>
                      <a:pt x="7228" y="3545"/>
                    </a:lnTo>
                    <a:lnTo>
                      <a:pt x="7252" y="3536"/>
                    </a:lnTo>
                    <a:lnTo>
                      <a:pt x="7269" y="3542"/>
                    </a:lnTo>
                    <a:lnTo>
                      <a:pt x="7268" y="3536"/>
                    </a:lnTo>
                    <a:lnTo>
                      <a:pt x="7264" y="3529"/>
                    </a:lnTo>
                    <a:lnTo>
                      <a:pt x="7262" y="3516"/>
                    </a:lnTo>
                    <a:lnTo>
                      <a:pt x="7262" y="3479"/>
                    </a:lnTo>
                    <a:lnTo>
                      <a:pt x="7263" y="3463"/>
                    </a:lnTo>
                    <a:lnTo>
                      <a:pt x="7273" y="3450"/>
                    </a:lnTo>
                    <a:lnTo>
                      <a:pt x="7301" y="3423"/>
                    </a:lnTo>
                    <a:lnTo>
                      <a:pt x="7319" y="3413"/>
                    </a:lnTo>
                    <a:lnTo>
                      <a:pt x="7335" y="3409"/>
                    </a:lnTo>
                    <a:lnTo>
                      <a:pt x="7341" y="3418"/>
                    </a:lnTo>
                    <a:lnTo>
                      <a:pt x="7354" y="3418"/>
                    </a:lnTo>
                    <a:lnTo>
                      <a:pt x="7366" y="3414"/>
                    </a:lnTo>
                    <a:lnTo>
                      <a:pt x="7382" y="3398"/>
                    </a:lnTo>
                    <a:lnTo>
                      <a:pt x="7384" y="3390"/>
                    </a:lnTo>
                    <a:lnTo>
                      <a:pt x="7365" y="3362"/>
                    </a:lnTo>
                    <a:lnTo>
                      <a:pt x="7360" y="3347"/>
                    </a:lnTo>
                    <a:lnTo>
                      <a:pt x="7357" y="3335"/>
                    </a:lnTo>
                    <a:lnTo>
                      <a:pt x="7359" y="3322"/>
                    </a:lnTo>
                    <a:lnTo>
                      <a:pt x="7362" y="3305"/>
                    </a:lnTo>
                    <a:lnTo>
                      <a:pt x="7368" y="3293"/>
                    </a:lnTo>
                    <a:lnTo>
                      <a:pt x="7372" y="3279"/>
                    </a:lnTo>
                    <a:lnTo>
                      <a:pt x="7381" y="3267"/>
                    </a:lnTo>
                    <a:lnTo>
                      <a:pt x="7397" y="3256"/>
                    </a:lnTo>
                    <a:lnTo>
                      <a:pt x="7394" y="3247"/>
                    </a:lnTo>
                    <a:lnTo>
                      <a:pt x="7391" y="3242"/>
                    </a:lnTo>
                    <a:lnTo>
                      <a:pt x="7389" y="3237"/>
                    </a:lnTo>
                    <a:lnTo>
                      <a:pt x="7405" y="3231"/>
                    </a:lnTo>
                    <a:lnTo>
                      <a:pt x="7422" y="3229"/>
                    </a:lnTo>
                    <a:lnTo>
                      <a:pt x="7429" y="3222"/>
                    </a:lnTo>
                    <a:lnTo>
                      <a:pt x="7431" y="3226"/>
                    </a:lnTo>
                    <a:lnTo>
                      <a:pt x="7424" y="3237"/>
                    </a:lnTo>
                    <a:lnTo>
                      <a:pt x="7416" y="3242"/>
                    </a:lnTo>
                    <a:lnTo>
                      <a:pt x="7413" y="3251"/>
                    </a:lnTo>
                    <a:lnTo>
                      <a:pt x="7422" y="3271"/>
                    </a:lnTo>
                    <a:lnTo>
                      <a:pt x="7431" y="3274"/>
                    </a:lnTo>
                    <a:lnTo>
                      <a:pt x="7435" y="3274"/>
                    </a:lnTo>
                    <a:lnTo>
                      <a:pt x="7445" y="3258"/>
                    </a:lnTo>
                    <a:lnTo>
                      <a:pt x="7447" y="3247"/>
                    </a:lnTo>
                    <a:lnTo>
                      <a:pt x="7442" y="3212"/>
                    </a:lnTo>
                    <a:lnTo>
                      <a:pt x="7437" y="3203"/>
                    </a:lnTo>
                    <a:lnTo>
                      <a:pt x="7421" y="3206"/>
                    </a:lnTo>
                    <a:lnTo>
                      <a:pt x="7419" y="3202"/>
                    </a:lnTo>
                    <a:lnTo>
                      <a:pt x="7419" y="3180"/>
                    </a:lnTo>
                    <a:lnTo>
                      <a:pt x="7416" y="3159"/>
                    </a:lnTo>
                    <a:lnTo>
                      <a:pt x="7418" y="3147"/>
                    </a:lnTo>
                    <a:lnTo>
                      <a:pt x="7421" y="3137"/>
                    </a:lnTo>
                    <a:lnTo>
                      <a:pt x="7434" y="3126"/>
                    </a:lnTo>
                    <a:lnTo>
                      <a:pt x="7445" y="3106"/>
                    </a:lnTo>
                    <a:lnTo>
                      <a:pt x="7443" y="3097"/>
                    </a:lnTo>
                    <a:lnTo>
                      <a:pt x="7413" y="3079"/>
                    </a:lnTo>
                    <a:lnTo>
                      <a:pt x="7400" y="3083"/>
                    </a:lnTo>
                    <a:lnTo>
                      <a:pt x="7397" y="3096"/>
                    </a:lnTo>
                    <a:lnTo>
                      <a:pt x="7394" y="3100"/>
                    </a:lnTo>
                    <a:lnTo>
                      <a:pt x="7387" y="3097"/>
                    </a:lnTo>
                    <a:lnTo>
                      <a:pt x="7381" y="3093"/>
                    </a:lnTo>
                    <a:lnTo>
                      <a:pt x="7377" y="3081"/>
                    </a:lnTo>
                    <a:lnTo>
                      <a:pt x="7377" y="3063"/>
                    </a:lnTo>
                    <a:lnTo>
                      <a:pt x="7381" y="3051"/>
                    </a:lnTo>
                    <a:lnTo>
                      <a:pt x="7386" y="3032"/>
                    </a:lnTo>
                    <a:lnTo>
                      <a:pt x="7393" y="3019"/>
                    </a:lnTo>
                    <a:lnTo>
                      <a:pt x="7407" y="2999"/>
                    </a:lnTo>
                    <a:lnTo>
                      <a:pt x="7420" y="2983"/>
                    </a:lnTo>
                    <a:lnTo>
                      <a:pt x="7427" y="2970"/>
                    </a:lnTo>
                    <a:lnTo>
                      <a:pt x="7426" y="2960"/>
                    </a:lnTo>
                    <a:lnTo>
                      <a:pt x="7430" y="2954"/>
                    </a:lnTo>
                    <a:lnTo>
                      <a:pt x="7440" y="2957"/>
                    </a:lnTo>
                    <a:lnTo>
                      <a:pt x="7437" y="2950"/>
                    </a:lnTo>
                    <a:lnTo>
                      <a:pt x="7437" y="2943"/>
                    </a:lnTo>
                    <a:lnTo>
                      <a:pt x="7446" y="2938"/>
                    </a:lnTo>
                    <a:lnTo>
                      <a:pt x="7450" y="2932"/>
                    </a:lnTo>
                    <a:lnTo>
                      <a:pt x="7446" y="2918"/>
                    </a:lnTo>
                    <a:lnTo>
                      <a:pt x="7447" y="2905"/>
                    </a:lnTo>
                    <a:lnTo>
                      <a:pt x="7454" y="2892"/>
                    </a:lnTo>
                    <a:lnTo>
                      <a:pt x="7456" y="2881"/>
                    </a:lnTo>
                    <a:lnTo>
                      <a:pt x="7462" y="2875"/>
                    </a:lnTo>
                    <a:lnTo>
                      <a:pt x="7472" y="2871"/>
                    </a:lnTo>
                    <a:lnTo>
                      <a:pt x="7485" y="2862"/>
                    </a:lnTo>
                    <a:lnTo>
                      <a:pt x="7492" y="2867"/>
                    </a:lnTo>
                    <a:lnTo>
                      <a:pt x="7496" y="2876"/>
                    </a:lnTo>
                    <a:lnTo>
                      <a:pt x="7505" y="2864"/>
                    </a:lnTo>
                    <a:lnTo>
                      <a:pt x="7517" y="2855"/>
                    </a:lnTo>
                    <a:lnTo>
                      <a:pt x="7527" y="2865"/>
                    </a:lnTo>
                    <a:lnTo>
                      <a:pt x="7532" y="2879"/>
                    </a:lnTo>
                    <a:lnTo>
                      <a:pt x="7542" y="2881"/>
                    </a:lnTo>
                    <a:lnTo>
                      <a:pt x="7547" y="2864"/>
                    </a:lnTo>
                    <a:lnTo>
                      <a:pt x="7547" y="2852"/>
                    </a:lnTo>
                    <a:lnTo>
                      <a:pt x="7556" y="2840"/>
                    </a:lnTo>
                    <a:lnTo>
                      <a:pt x="7563" y="2836"/>
                    </a:lnTo>
                    <a:lnTo>
                      <a:pt x="7581" y="2830"/>
                    </a:lnTo>
                    <a:lnTo>
                      <a:pt x="7588" y="2824"/>
                    </a:lnTo>
                    <a:lnTo>
                      <a:pt x="7598" y="2809"/>
                    </a:lnTo>
                    <a:lnTo>
                      <a:pt x="7604" y="2803"/>
                    </a:lnTo>
                    <a:lnTo>
                      <a:pt x="7609" y="2806"/>
                    </a:lnTo>
                    <a:lnTo>
                      <a:pt x="7612" y="2814"/>
                    </a:lnTo>
                    <a:lnTo>
                      <a:pt x="7607" y="2821"/>
                    </a:lnTo>
                    <a:lnTo>
                      <a:pt x="7610" y="2841"/>
                    </a:lnTo>
                    <a:lnTo>
                      <a:pt x="7606" y="2855"/>
                    </a:lnTo>
                    <a:lnTo>
                      <a:pt x="7606" y="2864"/>
                    </a:lnTo>
                    <a:lnTo>
                      <a:pt x="7604" y="2870"/>
                    </a:lnTo>
                    <a:lnTo>
                      <a:pt x="7602" y="2875"/>
                    </a:lnTo>
                    <a:lnTo>
                      <a:pt x="7602" y="2880"/>
                    </a:lnTo>
                    <a:lnTo>
                      <a:pt x="7606" y="2880"/>
                    </a:lnTo>
                    <a:lnTo>
                      <a:pt x="7618" y="2863"/>
                    </a:lnTo>
                    <a:lnTo>
                      <a:pt x="7647" y="2835"/>
                    </a:lnTo>
                    <a:lnTo>
                      <a:pt x="7649" y="2828"/>
                    </a:lnTo>
                    <a:lnTo>
                      <a:pt x="7647" y="2819"/>
                    </a:lnTo>
                    <a:lnTo>
                      <a:pt x="7650" y="2815"/>
                    </a:lnTo>
                    <a:lnTo>
                      <a:pt x="7658" y="2822"/>
                    </a:lnTo>
                    <a:lnTo>
                      <a:pt x="7667" y="2814"/>
                    </a:lnTo>
                    <a:lnTo>
                      <a:pt x="7678" y="2812"/>
                    </a:lnTo>
                    <a:lnTo>
                      <a:pt x="7694" y="2800"/>
                    </a:lnTo>
                    <a:lnTo>
                      <a:pt x="7706" y="2799"/>
                    </a:lnTo>
                    <a:lnTo>
                      <a:pt x="7714" y="2790"/>
                    </a:lnTo>
                    <a:lnTo>
                      <a:pt x="7720" y="2795"/>
                    </a:lnTo>
                    <a:lnTo>
                      <a:pt x="7726" y="2794"/>
                    </a:lnTo>
                    <a:lnTo>
                      <a:pt x="7755" y="2795"/>
                    </a:lnTo>
                    <a:lnTo>
                      <a:pt x="7770" y="2799"/>
                    </a:lnTo>
                    <a:lnTo>
                      <a:pt x="7781" y="2804"/>
                    </a:lnTo>
                    <a:lnTo>
                      <a:pt x="7795" y="2815"/>
                    </a:lnTo>
                    <a:lnTo>
                      <a:pt x="7800" y="2827"/>
                    </a:lnTo>
                    <a:lnTo>
                      <a:pt x="7819" y="2857"/>
                    </a:lnTo>
                    <a:lnTo>
                      <a:pt x="7820" y="2863"/>
                    </a:lnTo>
                    <a:lnTo>
                      <a:pt x="7833" y="2865"/>
                    </a:lnTo>
                    <a:lnTo>
                      <a:pt x="7836" y="2863"/>
                    </a:lnTo>
                    <a:lnTo>
                      <a:pt x="7836" y="2846"/>
                    </a:lnTo>
                    <a:lnTo>
                      <a:pt x="7848" y="2820"/>
                    </a:lnTo>
                    <a:lnTo>
                      <a:pt x="7848" y="2814"/>
                    </a:lnTo>
                    <a:lnTo>
                      <a:pt x="7845" y="2811"/>
                    </a:lnTo>
                    <a:lnTo>
                      <a:pt x="7852" y="2809"/>
                    </a:lnTo>
                    <a:lnTo>
                      <a:pt x="7865" y="2800"/>
                    </a:lnTo>
                    <a:lnTo>
                      <a:pt x="7871" y="2799"/>
                    </a:lnTo>
                    <a:lnTo>
                      <a:pt x="7875" y="2792"/>
                    </a:lnTo>
                    <a:lnTo>
                      <a:pt x="7879" y="2795"/>
                    </a:lnTo>
                    <a:lnTo>
                      <a:pt x="7886" y="2795"/>
                    </a:lnTo>
                    <a:lnTo>
                      <a:pt x="7899" y="2778"/>
                    </a:lnTo>
                    <a:lnTo>
                      <a:pt x="7903" y="2777"/>
                    </a:lnTo>
                    <a:lnTo>
                      <a:pt x="7903" y="2772"/>
                    </a:lnTo>
                    <a:lnTo>
                      <a:pt x="7913" y="2765"/>
                    </a:lnTo>
                    <a:lnTo>
                      <a:pt x="7921" y="2763"/>
                    </a:lnTo>
                    <a:lnTo>
                      <a:pt x="7925" y="2760"/>
                    </a:lnTo>
                    <a:lnTo>
                      <a:pt x="7931" y="2758"/>
                    </a:lnTo>
                    <a:lnTo>
                      <a:pt x="7932" y="2754"/>
                    </a:lnTo>
                    <a:lnTo>
                      <a:pt x="7931" y="2749"/>
                    </a:lnTo>
                    <a:lnTo>
                      <a:pt x="7926" y="2744"/>
                    </a:lnTo>
                    <a:lnTo>
                      <a:pt x="7927" y="2739"/>
                    </a:lnTo>
                    <a:lnTo>
                      <a:pt x="7936" y="2746"/>
                    </a:lnTo>
                    <a:lnTo>
                      <a:pt x="7941" y="2749"/>
                    </a:lnTo>
                    <a:lnTo>
                      <a:pt x="7946" y="2745"/>
                    </a:lnTo>
                    <a:lnTo>
                      <a:pt x="7948" y="2733"/>
                    </a:lnTo>
                    <a:lnTo>
                      <a:pt x="7946" y="2727"/>
                    </a:lnTo>
                    <a:lnTo>
                      <a:pt x="7957" y="2727"/>
                    </a:lnTo>
                    <a:lnTo>
                      <a:pt x="7968" y="2719"/>
                    </a:lnTo>
                    <a:lnTo>
                      <a:pt x="7970" y="2719"/>
                    </a:lnTo>
                    <a:lnTo>
                      <a:pt x="7973" y="2714"/>
                    </a:lnTo>
                    <a:lnTo>
                      <a:pt x="7968" y="2703"/>
                    </a:lnTo>
                    <a:lnTo>
                      <a:pt x="7972" y="2701"/>
                    </a:lnTo>
                    <a:lnTo>
                      <a:pt x="7978" y="2706"/>
                    </a:lnTo>
                    <a:lnTo>
                      <a:pt x="7981" y="2706"/>
                    </a:lnTo>
                    <a:lnTo>
                      <a:pt x="7988" y="2702"/>
                    </a:lnTo>
                    <a:lnTo>
                      <a:pt x="7992" y="2696"/>
                    </a:lnTo>
                    <a:lnTo>
                      <a:pt x="7996" y="2688"/>
                    </a:lnTo>
                    <a:lnTo>
                      <a:pt x="8000" y="2688"/>
                    </a:lnTo>
                    <a:lnTo>
                      <a:pt x="8002" y="2684"/>
                    </a:lnTo>
                    <a:lnTo>
                      <a:pt x="8004" y="2671"/>
                    </a:lnTo>
                    <a:lnTo>
                      <a:pt x="8006" y="2664"/>
                    </a:lnTo>
                    <a:lnTo>
                      <a:pt x="8012" y="2665"/>
                    </a:lnTo>
                    <a:lnTo>
                      <a:pt x="8017" y="2674"/>
                    </a:lnTo>
                    <a:lnTo>
                      <a:pt x="8022" y="2675"/>
                    </a:lnTo>
                    <a:lnTo>
                      <a:pt x="8027" y="2672"/>
                    </a:lnTo>
                    <a:lnTo>
                      <a:pt x="8040" y="2660"/>
                    </a:lnTo>
                    <a:lnTo>
                      <a:pt x="8067" y="2652"/>
                    </a:lnTo>
                    <a:lnTo>
                      <a:pt x="8075" y="2644"/>
                    </a:lnTo>
                    <a:lnTo>
                      <a:pt x="8090" y="2637"/>
                    </a:lnTo>
                    <a:lnTo>
                      <a:pt x="8093" y="2629"/>
                    </a:lnTo>
                    <a:lnTo>
                      <a:pt x="8094" y="2623"/>
                    </a:lnTo>
                    <a:lnTo>
                      <a:pt x="8094" y="2616"/>
                    </a:lnTo>
                    <a:lnTo>
                      <a:pt x="8103" y="2614"/>
                    </a:lnTo>
                    <a:lnTo>
                      <a:pt x="8102" y="2618"/>
                    </a:lnTo>
                    <a:lnTo>
                      <a:pt x="8099" y="2625"/>
                    </a:lnTo>
                    <a:lnTo>
                      <a:pt x="8103" y="2625"/>
                    </a:lnTo>
                    <a:lnTo>
                      <a:pt x="8126" y="2612"/>
                    </a:lnTo>
                    <a:lnTo>
                      <a:pt x="8133" y="2612"/>
                    </a:lnTo>
                    <a:lnTo>
                      <a:pt x="8146" y="2605"/>
                    </a:lnTo>
                    <a:lnTo>
                      <a:pt x="8182" y="2579"/>
                    </a:lnTo>
                    <a:lnTo>
                      <a:pt x="8209" y="2569"/>
                    </a:lnTo>
                    <a:lnTo>
                      <a:pt x="8212" y="2566"/>
                    </a:lnTo>
                    <a:lnTo>
                      <a:pt x="8210" y="2563"/>
                    </a:lnTo>
                    <a:lnTo>
                      <a:pt x="8205" y="2559"/>
                    </a:lnTo>
                    <a:lnTo>
                      <a:pt x="8199" y="2543"/>
                    </a:lnTo>
                    <a:lnTo>
                      <a:pt x="8196" y="2534"/>
                    </a:lnTo>
                    <a:lnTo>
                      <a:pt x="8200" y="2530"/>
                    </a:lnTo>
                    <a:lnTo>
                      <a:pt x="8204" y="2536"/>
                    </a:lnTo>
                    <a:lnTo>
                      <a:pt x="8209" y="2548"/>
                    </a:lnTo>
                    <a:lnTo>
                      <a:pt x="8215" y="2557"/>
                    </a:lnTo>
                    <a:lnTo>
                      <a:pt x="8219" y="2557"/>
                    </a:lnTo>
                    <a:lnTo>
                      <a:pt x="8219" y="2563"/>
                    </a:lnTo>
                    <a:lnTo>
                      <a:pt x="8221" y="2566"/>
                    </a:lnTo>
                    <a:lnTo>
                      <a:pt x="8232" y="2567"/>
                    </a:lnTo>
                    <a:lnTo>
                      <a:pt x="8231" y="2559"/>
                    </a:lnTo>
                    <a:lnTo>
                      <a:pt x="8227" y="2553"/>
                    </a:lnTo>
                    <a:lnTo>
                      <a:pt x="8233" y="2553"/>
                    </a:lnTo>
                    <a:lnTo>
                      <a:pt x="8237" y="2561"/>
                    </a:lnTo>
                    <a:lnTo>
                      <a:pt x="8243" y="2568"/>
                    </a:lnTo>
                    <a:lnTo>
                      <a:pt x="8253" y="2568"/>
                    </a:lnTo>
                    <a:lnTo>
                      <a:pt x="8266" y="2573"/>
                    </a:lnTo>
                    <a:lnTo>
                      <a:pt x="8275" y="2582"/>
                    </a:lnTo>
                    <a:lnTo>
                      <a:pt x="8290" y="2591"/>
                    </a:lnTo>
                    <a:lnTo>
                      <a:pt x="8306" y="2596"/>
                    </a:lnTo>
                    <a:lnTo>
                      <a:pt x="8309" y="2594"/>
                    </a:lnTo>
                    <a:lnTo>
                      <a:pt x="8313" y="2582"/>
                    </a:lnTo>
                    <a:lnTo>
                      <a:pt x="8320" y="2580"/>
                    </a:lnTo>
                    <a:lnTo>
                      <a:pt x="8334" y="2558"/>
                    </a:lnTo>
                    <a:lnTo>
                      <a:pt x="8338" y="2545"/>
                    </a:lnTo>
                    <a:lnTo>
                      <a:pt x="8334" y="2535"/>
                    </a:lnTo>
                    <a:lnTo>
                      <a:pt x="8324" y="2526"/>
                    </a:lnTo>
                    <a:lnTo>
                      <a:pt x="8311" y="2521"/>
                    </a:lnTo>
                    <a:lnTo>
                      <a:pt x="8308" y="2518"/>
                    </a:lnTo>
                    <a:lnTo>
                      <a:pt x="8307" y="2512"/>
                    </a:lnTo>
                    <a:lnTo>
                      <a:pt x="8309" y="2512"/>
                    </a:lnTo>
                    <a:lnTo>
                      <a:pt x="8316" y="2509"/>
                    </a:lnTo>
                    <a:lnTo>
                      <a:pt x="8327" y="2510"/>
                    </a:lnTo>
                    <a:lnTo>
                      <a:pt x="8332" y="2507"/>
                    </a:lnTo>
                    <a:lnTo>
                      <a:pt x="8324" y="2491"/>
                    </a:lnTo>
                    <a:lnTo>
                      <a:pt x="8317" y="2491"/>
                    </a:lnTo>
                    <a:lnTo>
                      <a:pt x="8308" y="2478"/>
                    </a:lnTo>
                    <a:lnTo>
                      <a:pt x="8301" y="2464"/>
                    </a:lnTo>
                    <a:lnTo>
                      <a:pt x="8297" y="2443"/>
                    </a:lnTo>
                    <a:lnTo>
                      <a:pt x="8295" y="2435"/>
                    </a:lnTo>
                    <a:lnTo>
                      <a:pt x="8291" y="2396"/>
                    </a:lnTo>
                    <a:lnTo>
                      <a:pt x="8280" y="2402"/>
                    </a:lnTo>
                    <a:lnTo>
                      <a:pt x="8271" y="2390"/>
                    </a:lnTo>
                    <a:lnTo>
                      <a:pt x="8270" y="2384"/>
                    </a:lnTo>
                    <a:lnTo>
                      <a:pt x="8280" y="2381"/>
                    </a:lnTo>
                    <a:lnTo>
                      <a:pt x="8284" y="2384"/>
                    </a:lnTo>
                    <a:lnTo>
                      <a:pt x="8280" y="2369"/>
                    </a:lnTo>
                    <a:lnTo>
                      <a:pt x="8273" y="2347"/>
                    </a:lnTo>
                    <a:lnTo>
                      <a:pt x="8266" y="2359"/>
                    </a:lnTo>
                    <a:lnTo>
                      <a:pt x="8260" y="2363"/>
                    </a:lnTo>
                    <a:lnTo>
                      <a:pt x="8249" y="2358"/>
                    </a:lnTo>
                    <a:lnTo>
                      <a:pt x="8242" y="2349"/>
                    </a:lnTo>
                    <a:lnTo>
                      <a:pt x="8231" y="2346"/>
                    </a:lnTo>
                    <a:lnTo>
                      <a:pt x="8222" y="2335"/>
                    </a:lnTo>
                    <a:lnTo>
                      <a:pt x="8221" y="2321"/>
                    </a:lnTo>
                    <a:lnTo>
                      <a:pt x="8221" y="2311"/>
                    </a:lnTo>
                    <a:lnTo>
                      <a:pt x="8222" y="2300"/>
                    </a:lnTo>
                    <a:lnTo>
                      <a:pt x="8230" y="2292"/>
                    </a:lnTo>
                    <a:lnTo>
                      <a:pt x="8239" y="2300"/>
                    </a:lnTo>
                    <a:lnTo>
                      <a:pt x="8258" y="2305"/>
                    </a:lnTo>
                    <a:lnTo>
                      <a:pt x="8268" y="2298"/>
                    </a:lnTo>
                    <a:lnTo>
                      <a:pt x="8266" y="2302"/>
                    </a:lnTo>
                    <a:lnTo>
                      <a:pt x="8271" y="2309"/>
                    </a:lnTo>
                    <a:lnTo>
                      <a:pt x="8289" y="2305"/>
                    </a:lnTo>
                    <a:lnTo>
                      <a:pt x="8285" y="2314"/>
                    </a:lnTo>
                    <a:lnTo>
                      <a:pt x="8286" y="2319"/>
                    </a:lnTo>
                    <a:lnTo>
                      <a:pt x="8298" y="2310"/>
                    </a:lnTo>
                    <a:lnTo>
                      <a:pt x="8306" y="2299"/>
                    </a:lnTo>
                    <a:lnTo>
                      <a:pt x="8320" y="2292"/>
                    </a:lnTo>
                    <a:lnTo>
                      <a:pt x="8335" y="2288"/>
                    </a:lnTo>
                    <a:lnTo>
                      <a:pt x="8355" y="2263"/>
                    </a:lnTo>
                    <a:lnTo>
                      <a:pt x="8363" y="2256"/>
                    </a:lnTo>
                    <a:lnTo>
                      <a:pt x="8363" y="2254"/>
                    </a:lnTo>
                    <a:lnTo>
                      <a:pt x="8377" y="2243"/>
                    </a:lnTo>
                    <a:lnTo>
                      <a:pt x="8393" y="2219"/>
                    </a:lnTo>
                    <a:lnTo>
                      <a:pt x="8395" y="2204"/>
                    </a:lnTo>
                    <a:lnTo>
                      <a:pt x="8404" y="2193"/>
                    </a:lnTo>
                    <a:lnTo>
                      <a:pt x="8403" y="2179"/>
                    </a:lnTo>
                    <a:lnTo>
                      <a:pt x="8390" y="2170"/>
                    </a:lnTo>
                    <a:lnTo>
                      <a:pt x="8373" y="2149"/>
                    </a:lnTo>
                    <a:lnTo>
                      <a:pt x="8372" y="2130"/>
                    </a:lnTo>
                    <a:lnTo>
                      <a:pt x="8370" y="2115"/>
                    </a:lnTo>
                    <a:lnTo>
                      <a:pt x="8378" y="2115"/>
                    </a:lnTo>
                    <a:lnTo>
                      <a:pt x="8384" y="2111"/>
                    </a:lnTo>
                    <a:lnTo>
                      <a:pt x="8389" y="2119"/>
                    </a:lnTo>
                    <a:lnTo>
                      <a:pt x="8402" y="2112"/>
                    </a:lnTo>
                    <a:lnTo>
                      <a:pt x="8400" y="2088"/>
                    </a:lnTo>
                    <a:lnTo>
                      <a:pt x="8408" y="2095"/>
                    </a:lnTo>
                    <a:lnTo>
                      <a:pt x="8410" y="2085"/>
                    </a:lnTo>
                    <a:lnTo>
                      <a:pt x="8413" y="2096"/>
                    </a:lnTo>
                    <a:lnTo>
                      <a:pt x="8424" y="2110"/>
                    </a:lnTo>
                    <a:lnTo>
                      <a:pt x="8431" y="2107"/>
                    </a:lnTo>
                    <a:lnTo>
                      <a:pt x="8437" y="2095"/>
                    </a:lnTo>
                    <a:lnTo>
                      <a:pt x="8440" y="2085"/>
                    </a:lnTo>
                    <a:lnTo>
                      <a:pt x="8446" y="2084"/>
                    </a:lnTo>
                    <a:lnTo>
                      <a:pt x="8447" y="2087"/>
                    </a:lnTo>
                    <a:lnTo>
                      <a:pt x="8443" y="2106"/>
                    </a:lnTo>
                    <a:lnTo>
                      <a:pt x="8445" y="2120"/>
                    </a:lnTo>
                    <a:lnTo>
                      <a:pt x="8436" y="2126"/>
                    </a:lnTo>
                    <a:lnTo>
                      <a:pt x="8430" y="2126"/>
                    </a:lnTo>
                    <a:lnTo>
                      <a:pt x="8422" y="2123"/>
                    </a:lnTo>
                    <a:lnTo>
                      <a:pt x="8427" y="2137"/>
                    </a:lnTo>
                    <a:lnTo>
                      <a:pt x="8432" y="2147"/>
                    </a:lnTo>
                    <a:lnTo>
                      <a:pt x="8437" y="2158"/>
                    </a:lnTo>
                    <a:lnTo>
                      <a:pt x="8443" y="2159"/>
                    </a:lnTo>
                    <a:lnTo>
                      <a:pt x="8448" y="2173"/>
                    </a:lnTo>
                    <a:lnTo>
                      <a:pt x="8448" y="2190"/>
                    </a:lnTo>
                    <a:lnTo>
                      <a:pt x="8459" y="2195"/>
                    </a:lnTo>
                    <a:lnTo>
                      <a:pt x="8473" y="2195"/>
                    </a:lnTo>
                    <a:lnTo>
                      <a:pt x="8491" y="2200"/>
                    </a:lnTo>
                    <a:lnTo>
                      <a:pt x="8511" y="2193"/>
                    </a:lnTo>
                    <a:lnTo>
                      <a:pt x="8516" y="2185"/>
                    </a:lnTo>
                    <a:lnTo>
                      <a:pt x="8526" y="2184"/>
                    </a:lnTo>
                    <a:lnTo>
                      <a:pt x="8546" y="2187"/>
                    </a:lnTo>
                    <a:lnTo>
                      <a:pt x="8556" y="2185"/>
                    </a:lnTo>
                    <a:lnTo>
                      <a:pt x="8564" y="2192"/>
                    </a:lnTo>
                    <a:lnTo>
                      <a:pt x="8569" y="2200"/>
                    </a:lnTo>
                    <a:lnTo>
                      <a:pt x="8578" y="2200"/>
                    </a:lnTo>
                    <a:lnTo>
                      <a:pt x="8589" y="2204"/>
                    </a:lnTo>
                    <a:lnTo>
                      <a:pt x="8588" y="2222"/>
                    </a:lnTo>
                    <a:lnTo>
                      <a:pt x="8593" y="2233"/>
                    </a:lnTo>
                    <a:lnTo>
                      <a:pt x="8593" y="2247"/>
                    </a:lnTo>
                    <a:lnTo>
                      <a:pt x="8591" y="2259"/>
                    </a:lnTo>
                    <a:lnTo>
                      <a:pt x="8613" y="2278"/>
                    </a:lnTo>
                    <a:lnTo>
                      <a:pt x="8618" y="2286"/>
                    </a:lnTo>
                    <a:lnTo>
                      <a:pt x="8619" y="2293"/>
                    </a:lnTo>
                    <a:lnTo>
                      <a:pt x="8630" y="2294"/>
                    </a:lnTo>
                    <a:lnTo>
                      <a:pt x="8640" y="2299"/>
                    </a:lnTo>
                    <a:lnTo>
                      <a:pt x="8645" y="2298"/>
                    </a:lnTo>
                    <a:lnTo>
                      <a:pt x="8637" y="2292"/>
                    </a:lnTo>
                    <a:lnTo>
                      <a:pt x="8644" y="2281"/>
                    </a:lnTo>
                    <a:lnTo>
                      <a:pt x="8646" y="2287"/>
                    </a:lnTo>
                    <a:lnTo>
                      <a:pt x="8656" y="2288"/>
                    </a:lnTo>
                    <a:lnTo>
                      <a:pt x="8656" y="2272"/>
                    </a:lnTo>
                    <a:lnTo>
                      <a:pt x="8660" y="2266"/>
                    </a:lnTo>
                    <a:lnTo>
                      <a:pt x="8661" y="2270"/>
                    </a:lnTo>
                    <a:lnTo>
                      <a:pt x="8660" y="2286"/>
                    </a:lnTo>
                    <a:lnTo>
                      <a:pt x="8652" y="2295"/>
                    </a:lnTo>
                    <a:lnTo>
                      <a:pt x="8668" y="2309"/>
                    </a:lnTo>
                    <a:lnTo>
                      <a:pt x="8678" y="2309"/>
                    </a:lnTo>
                    <a:lnTo>
                      <a:pt x="8684" y="2313"/>
                    </a:lnTo>
                    <a:lnTo>
                      <a:pt x="8682" y="2319"/>
                    </a:lnTo>
                    <a:lnTo>
                      <a:pt x="8693" y="2329"/>
                    </a:lnTo>
                    <a:lnTo>
                      <a:pt x="8693" y="2340"/>
                    </a:lnTo>
                    <a:lnTo>
                      <a:pt x="8705" y="2340"/>
                    </a:lnTo>
                    <a:lnTo>
                      <a:pt x="8709" y="2330"/>
                    </a:lnTo>
                    <a:lnTo>
                      <a:pt x="8707" y="2345"/>
                    </a:lnTo>
                    <a:lnTo>
                      <a:pt x="8718" y="2348"/>
                    </a:lnTo>
                    <a:lnTo>
                      <a:pt x="8727" y="2343"/>
                    </a:lnTo>
                    <a:lnTo>
                      <a:pt x="8731" y="2331"/>
                    </a:lnTo>
                    <a:lnTo>
                      <a:pt x="8732" y="2317"/>
                    </a:lnTo>
                    <a:lnTo>
                      <a:pt x="8737" y="2324"/>
                    </a:lnTo>
                    <a:lnTo>
                      <a:pt x="8736" y="2332"/>
                    </a:lnTo>
                    <a:lnTo>
                      <a:pt x="8728" y="2351"/>
                    </a:lnTo>
                    <a:lnTo>
                      <a:pt x="8736" y="2358"/>
                    </a:lnTo>
                    <a:lnTo>
                      <a:pt x="8744" y="2360"/>
                    </a:lnTo>
                    <a:lnTo>
                      <a:pt x="8749" y="2359"/>
                    </a:lnTo>
                    <a:lnTo>
                      <a:pt x="8757" y="2352"/>
                    </a:lnTo>
                    <a:lnTo>
                      <a:pt x="8757" y="2335"/>
                    </a:lnTo>
                    <a:lnTo>
                      <a:pt x="8747" y="2333"/>
                    </a:lnTo>
                    <a:lnTo>
                      <a:pt x="8746" y="2329"/>
                    </a:lnTo>
                    <a:lnTo>
                      <a:pt x="8755" y="2326"/>
                    </a:lnTo>
                    <a:lnTo>
                      <a:pt x="8764" y="2331"/>
                    </a:lnTo>
                    <a:lnTo>
                      <a:pt x="8773" y="2341"/>
                    </a:lnTo>
                    <a:lnTo>
                      <a:pt x="8785" y="2337"/>
                    </a:lnTo>
                    <a:lnTo>
                      <a:pt x="8776" y="2319"/>
                    </a:lnTo>
                    <a:lnTo>
                      <a:pt x="8776" y="2315"/>
                    </a:lnTo>
                    <a:lnTo>
                      <a:pt x="8770" y="2309"/>
                    </a:lnTo>
                    <a:lnTo>
                      <a:pt x="8758" y="2311"/>
                    </a:lnTo>
                    <a:lnTo>
                      <a:pt x="8758" y="2309"/>
                    </a:lnTo>
                    <a:lnTo>
                      <a:pt x="8752" y="2305"/>
                    </a:lnTo>
                    <a:lnTo>
                      <a:pt x="8750" y="2300"/>
                    </a:lnTo>
                    <a:lnTo>
                      <a:pt x="8761" y="2299"/>
                    </a:lnTo>
                    <a:lnTo>
                      <a:pt x="8764" y="2293"/>
                    </a:lnTo>
                    <a:lnTo>
                      <a:pt x="8758" y="2287"/>
                    </a:lnTo>
                    <a:lnTo>
                      <a:pt x="8744" y="2290"/>
                    </a:lnTo>
                    <a:lnTo>
                      <a:pt x="8753" y="2283"/>
                    </a:lnTo>
                    <a:lnTo>
                      <a:pt x="8765" y="2283"/>
                    </a:lnTo>
                    <a:lnTo>
                      <a:pt x="8770" y="2278"/>
                    </a:lnTo>
                    <a:lnTo>
                      <a:pt x="8769" y="2270"/>
                    </a:lnTo>
                    <a:lnTo>
                      <a:pt x="8779" y="2276"/>
                    </a:lnTo>
                    <a:lnTo>
                      <a:pt x="8801" y="2256"/>
                    </a:lnTo>
                    <a:lnTo>
                      <a:pt x="8796" y="2249"/>
                    </a:lnTo>
                    <a:lnTo>
                      <a:pt x="8790" y="2236"/>
                    </a:lnTo>
                    <a:lnTo>
                      <a:pt x="8780" y="2238"/>
                    </a:lnTo>
                    <a:lnTo>
                      <a:pt x="8769" y="2233"/>
                    </a:lnTo>
                    <a:lnTo>
                      <a:pt x="8795" y="2232"/>
                    </a:lnTo>
                    <a:lnTo>
                      <a:pt x="8792" y="2220"/>
                    </a:lnTo>
                    <a:lnTo>
                      <a:pt x="8796" y="2209"/>
                    </a:lnTo>
                    <a:lnTo>
                      <a:pt x="8811" y="2197"/>
                    </a:lnTo>
                    <a:lnTo>
                      <a:pt x="8824" y="2195"/>
                    </a:lnTo>
                    <a:lnTo>
                      <a:pt x="8841" y="2201"/>
                    </a:lnTo>
                    <a:lnTo>
                      <a:pt x="8852" y="2201"/>
                    </a:lnTo>
                    <a:lnTo>
                      <a:pt x="8857" y="2195"/>
                    </a:lnTo>
                    <a:lnTo>
                      <a:pt x="8854" y="2186"/>
                    </a:lnTo>
                    <a:lnTo>
                      <a:pt x="8839" y="2176"/>
                    </a:lnTo>
                    <a:lnTo>
                      <a:pt x="8835" y="2160"/>
                    </a:lnTo>
                    <a:lnTo>
                      <a:pt x="8840" y="2153"/>
                    </a:lnTo>
                    <a:lnTo>
                      <a:pt x="8850" y="2166"/>
                    </a:lnTo>
                    <a:lnTo>
                      <a:pt x="8861" y="2173"/>
                    </a:lnTo>
                    <a:lnTo>
                      <a:pt x="8867" y="2182"/>
                    </a:lnTo>
                    <a:lnTo>
                      <a:pt x="8881" y="2184"/>
                    </a:lnTo>
                    <a:lnTo>
                      <a:pt x="8883" y="2174"/>
                    </a:lnTo>
                    <a:lnTo>
                      <a:pt x="8882" y="2164"/>
                    </a:lnTo>
                    <a:lnTo>
                      <a:pt x="8886" y="2142"/>
                    </a:lnTo>
                    <a:lnTo>
                      <a:pt x="8898" y="2137"/>
                    </a:lnTo>
                    <a:lnTo>
                      <a:pt x="8906" y="2126"/>
                    </a:lnTo>
                    <a:lnTo>
                      <a:pt x="8916" y="2125"/>
                    </a:lnTo>
                    <a:lnTo>
                      <a:pt x="8926" y="2127"/>
                    </a:lnTo>
                    <a:lnTo>
                      <a:pt x="8931" y="2116"/>
                    </a:lnTo>
                    <a:lnTo>
                      <a:pt x="8921" y="2114"/>
                    </a:lnTo>
                    <a:lnTo>
                      <a:pt x="8917" y="2116"/>
                    </a:lnTo>
                    <a:lnTo>
                      <a:pt x="8909" y="2110"/>
                    </a:lnTo>
                    <a:lnTo>
                      <a:pt x="8902" y="2109"/>
                    </a:lnTo>
                    <a:lnTo>
                      <a:pt x="8904" y="2101"/>
                    </a:lnTo>
                    <a:lnTo>
                      <a:pt x="8895" y="2091"/>
                    </a:lnTo>
                    <a:lnTo>
                      <a:pt x="8883" y="2104"/>
                    </a:lnTo>
                    <a:lnTo>
                      <a:pt x="8878" y="2098"/>
                    </a:lnTo>
                    <a:lnTo>
                      <a:pt x="8886" y="2093"/>
                    </a:lnTo>
                    <a:lnTo>
                      <a:pt x="8886" y="2089"/>
                    </a:lnTo>
                    <a:lnTo>
                      <a:pt x="8874" y="2078"/>
                    </a:lnTo>
                    <a:lnTo>
                      <a:pt x="8862" y="2071"/>
                    </a:lnTo>
                    <a:lnTo>
                      <a:pt x="8856" y="2058"/>
                    </a:lnTo>
                    <a:lnTo>
                      <a:pt x="8841" y="2046"/>
                    </a:lnTo>
                    <a:lnTo>
                      <a:pt x="8834" y="2035"/>
                    </a:lnTo>
                    <a:lnTo>
                      <a:pt x="8834" y="2026"/>
                    </a:lnTo>
                    <a:lnTo>
                      <a:pt x="8823" y="2020"/>
                    </a:lnTo>
                    <a:lnTo>
                      <a:pt x="8819" y="2013"/>
                    </a:lnTo>
                    <a:lnTo>
                      <a:pt x="8817" y="2002"/>
                    </a:lnTo>
                    <a:lnTo>
                      <a:pt x="8769" y="1992"/>
                    </a:lnTo>
                    <a:lnTo>
                      <a:pt x="8759" y="1996"/>
                    </a:lnTo>
                    <a:lnTo>
                      <a:pt x="8781" y="2002"/>
                    </a:lnTo>
                    <a:lnTo>
                      <a:pt x="8777" y="2009"/>
                    </a:lnTo>
                    <a:lnTo>
                      <a:pt x="8766" y="2010"/>
                    </a:lnTo>
                    <a:lnTo>
                      <a:pt x="8755" y="2008"/>
                    </a:lnTo>
                    <a:lnTo>
                      <a:pt x="8737" y="1997"/>
                    </a:lnTo>
                    <a:lnTo>
                      <a:pt x="8741" y="2010"/>
                    </a:lnTo>
                    <a:lnTo>
                      <a:pt x="8737" y="2019"/>
                    </a:lnTo>
                    <a:lnTo>
                      <a:pt x="8732" y="2019"/>
                    </a:lnTo>
                    <a:lnTo>
                      <a:pt x="8728" y="2009"/>
                    </a:lnTo>
                    <a:lnTo>
                      <a:pt x="8723" y="2002"/>
                    </a:lnTo>
                    <a:lnTo>
                      <a:pt x="8726" y="1992"/>
                    </a:lnTo>
                    <a:lnTo>
                      <a:pt x="8734" y="1990"/>
                    </a:lnTo>
                    <a:lnTo>
                      <a:pt x="8723" y="1983"/>
                    </a:lnTo>
                    <a:lnTo>
                      <a:pt x="8717" y="1983"/>
                    </a:lnTo>
                    <a:lnTo>
                      <a:pt x="8715" y="1977"/>
                    </a:lnTo>
                    <a:lnTo>
                      <a:pt x="8707" y="1975"/>
                    </a:lnTo>
                    <a:lnTo>
                      <a:pt x="8709" y="1982"/>
                    </a:lnTo>
                    <a:lnTo>
                      <a:pt x="8704" y="1993"/>
                    </a:lnTo>
                    <a:lnTo>
                      <a:pt x="8700" y="1991"/>
                    </a:lnTo>
                    <a:lnTo>
                      <a:pt x="8698" y="1985"/>
                    </a:lnTo>
                    <a:lnTo>
                      <a:pt x="8685" y="1981"/>
                    </a:lnTo>
                    <a:lnTo>
                      <a:pt x="8674" y="1982"/>
                    </a:lnTo>
                    <a:lnTo>
                      <a:pt x="8663" y="1987"/>
                    </a:lnTo>
                    <a:lnTo>
                      <a:pt x="8668" y="1994"/>
                    </a:lnTo>
                    <a:lnTo>
                      <a:pt x="8671" y="1987"/>
                    </a:lnTo>
                    <a:lnTo>
                      <a:pt x="8683" y="1983"/>
                    </a:lnTo>
                    <a:lnTo>
                      <a:pt x="8684" y="1988"/>
                    </a:lnTo>
                    <a:lnTo>
                      <a:pt x="8677" y="1992"/>
                    </a:lnTo>
                    <a:lnTo>
                      <a:pt x="8690" y="1997"/>
                    </a:lnTo>
                    <a:lnTo>
                      <a:pt x="8690" y="2023"/>
                    </a:lnTo>
                    <a:lnTo>
                      <a:pt x="8685" y="2046"/>
                    </a:lnTo>
                    <a:lnTo>
                      <a:pt x="8693" y="2048"/>
                    </a:lnTo>
                    <a:lnTo>
                      <a:pt x="8696" y="2044"/>
                    </a:lnTo>
                    <a:lnTo>
                      <a:pt x="8700" y="2047"/>
                    </a:lnTo>
                    <a:lnTo>
                      <a:pt x="8706" y="2060"/>
                    </a:lnTo>
                    <a:lnTo>
                      <a:pt x="8706" y="2069"/>
                    </a:lnTo>
                    <a:lnTo>
                      <a:pt x="8704" y="2079"/>
                    </a:lnTo>
                    <a:lnTo>
                      <a:pt x="8696" y="2080"/>
                    </a:lnTo>
                    <a:lnTo>
                      <a:pt x="8693" y="2088"/>
                    </a:lnTo>
                    <a:lnTo>
                      <a:pt x="8693" y="2080"/>
                    </a:lnTo>
                    <a:lnTo>
                      <a:pt x="8695" y="2076"/>
                    </a:lnTo>
                    <a:lnTo>
                      <a:pt x="8695" y="2061"/>
                    </a:lnTo>
                    <a:lnTo>
                      <a:pt x="8683" y="2056"/>
                    </a:lnTo>
                    <a:lnTo>
                      <a:pt x="8673" y="2057"/>
                    </a:lnTo>
                    <a:lnTo>
                      <a:pt x="8671" y="2047"/>
                    </a:lnTo>
                    <a:lnTo>
                      <a:pt x="8672" y="2041"/>
                    </a:lnTo>
                    <a:lnTo>
                      <a:pt x="8660" y="2034"/>
                    </a:lnTo>
                    <a:lnTo>
                      <a:pt x="8655" y="2025"/>
                    </a:lnTo>
                    <a:lnTo>
                      <a:pt x="8657" y="2013"/>
                    </a:lnTo>
                    <a:lnTo>
                      <a:pt x="8656" y="2002"/>
                    </a:lnTo>
                    <a:lnTo>
                      <a:pt x="8650" y="1987"/>
                    </a:lnTo>
                    <a:lnTo>
                      <a:pt x="8647" y="1971"/>
                    </a:lnTo>
                    <a:lnTo>
                      <a:pt x="8642" y="1949"/>
                    </a:lnTo>
                    <a:lnTo>
                      <a:pt x="8637" y="1940"/>
                    </a:lnTo>
                    <a:lnTo>
                      <a:pt x="8640" y="1932"/>
                    </a:lnTo>
                    <a:lnTo>
                      <a:pt x="8647" y="1940"/>
                    </a:lnTo>
                    <a:lnTo>
                      <a:pt x="8648" y="1951"/>
                    </a:lnTo>
                    <a:lnTo>
                      <a:pt x="8651" y="1947"/>
                    </a:lnTo>
                    <a:lnTo>
                      <a:pt x="8647" y="1938"/>
                    </a:lnTo>
                    <a:lnTo>
                      <a:pt x="8623" y="1920"/>
                    </a:lnTo>
                    <a:lnTo>
                      <a:pt x="8619" y="1906"/>
                    </a:lnTo>
                    <a:lnTo>
                      <a:pt x="8618" y="1897"/>
                    </a:lnTo>
                    <a:lnTo>
                      <a:pt x="8592" y="1884"/>
                    </a:lnTo>
                    <a:lnTo>
                      <a:pt x="8588" y="1886"/>
                    </a:lnTo>
                    <a:lnTo>
                      <a:pt x="8592" y="1897"/>
                    </a:lnTo>
                    <a:lnTo>
                      <a:pt x="8599" y="1910"/>
                    </a:lnTo>
                    <a:lnTo>
                      <a:pt x="8605" y="1916"/>
                    </a:lnTo>
                    <a:lnTo>
                      <a:pt x="8610" y="1916"/>
                    </a:lnTo>
                    <a:lnTo>
                      <a:pt x="8615" y="1923"/>
                    </a:lnTo>
                    <a:lnTo>
                      <a:pt x="8617" y="1932"/>
                    </a:lnTo>
                    <a:lnTo>
                      <a:pt x="8608" y="1928"/>
                    </a:lnTo>
                    <a:lnTo>
                      <a:pt x="8578" y="1906"/>
                    </a:lnTo>
                    <a:lnTo>
                      <a:pt x="8569" y="1904"/>
                    </a:lnTo>
                    <a:lnTo>
                      <a:pt x="8559" y="1897"/>
                    </a:lnTo>
                    <a:lnTo>
                      <a:pt x="8564" y="1891"/>
                    </a:lnTo>
                    <a:lnTo>
                      <a:pt x="8574" y="1889"/>
                    </a:lnTo>
                    <a:lnTo>
                      <a:pt x="8575" y="1879"/>
                    </a:lnTo>
                    <a:lnTo>
                      <a:pt x="8577" y="1874"/>
                    </a:lnTo>
                    <a:lnTo>
                      <a:pt x="8556" y="1869"/>
                    </a:lnTo>
                    <a:lnTo>
                      <a:pt x="8545" y="1869"/>
                    </a:lnTo>
                    <a:lnTo>
                      <a:pt x="8538" y="1863"/>
                    </a:lnTo>
                    <a:lnTo>
                      <a:pt x="8527" y="1859"/>
                    </a:lnTo>
                    <a:lnTo>
                      <a:pt x="8532" y="1852"/>
                    </a:lnTo>
                    <a:lnTo>
                      <a:pt x="8537" y="1851"/>
                    </a:lnTo>
                    <a:lnTo>
                      <a:pt x="8534" y="1845"/>
                    </a:lnTo>
                    <a:lnTo>
                      <a:pt x="8532" y="1836"/>
                    </a:lnTo>
                    <a:lnTo>
                      <a:pt x="8515" y="1836"/>
                    </a:lnTo>
                    <a:lnTo>
                      <a:pt x="8517" y="1829"/>
                    </a:lnTo>
                    <a:lnTo>
                      <a:pt x="8510" y="1818"/>
                    </a:lnTo>
                    <a:lnTo>
                      <a:pt x="8501" y="1820"/>
                    </a:lnTo>
                    <a:lnTo>
                      <a:pt x="8501" y="1816"/>
                    </a:lnTo>
                    <a:lnTo>
                      <a:pt x="8489" y="1808"/>
                    </a:lnTo>
                    <a:lnTo>
                      <a:pt x="8470" y="1816"/>
                    </a:lnTo>
                    <a:lnTo>
                      <a:pt x="8469" y="1810"/>
                    </a:lnTo>
                    <a:lnTo>
                      <a:pt x="8472" y="1802"/>
                    </a:lnTo>
                    <a:lnTo>
                      <a:pt x="8470" y="1795"/>
                    </a:lnTo>
                    <a:lnTo>
                      <a:pt x="8465" y="1787"/>
                    </a:lnTo>
                    <a:lnTo>
                      <a:pt x="8453" y="1776"/>
                    </a:lnTo>
                    <a:lnTo>
                      <a:pt x="8463" y="1789"/>
                    </a:lnTo>
                    <a:lnTo>
                      <a:pt x="8448" y="1782"/>
                    </a:lnTo>
                    <a:lnTo>
                      <a:pt x="8442" y="1782"/>
                    </a:lnTo>
                    <a:lnTo>
                      <a:pt x="8433" y="1773"/>
                    </a:lnTo>
                    <a:lnTo>
                      <a:pt x="8431" y="1752"/>
                    </a:lnTo>
                    <a:lnTo>
                      <a:pt x="8425" y="1740"/>
                    </a:lnTo>
                    <a:lnTo>
                      <a:pt x="8419" y="1740"/>
                    </a:lnTo>
                    <a:lnTo>
                      <a:pt x="8394" y="1729"/>
                    </a:lnTo>
                    <a:lnTo>
                      <a:pt x="8387" y="1721"/>
                    </a:lnTo>
                    <a:lnTo>
                      <a:pt x="8375" y="1722"/>
                    </a:lnTo>
                    <a:lnTo>
                      <a:pt x="8363" y="1716"/>
                    </a:lnTo>
                    <a:lnTo>
                      <a:pt x="8317" y="1666"/>
                    </a:lnTo>
                    <a:lnTo>
                      <a:pt x="8295" y="1652"/>
                    </a:lnTo>
                    <a:lnTo>
                      <a:pt x="8282" y="1648"/>
                    </a:lnTo>
                    <a:lnTo>
                      <a:pt x="8276" y="1637"/>
                    </a:lnTo>
                    <a:lnTo>
                      <a:pt x="8271" y="1641"/>
                    </a:lnTo>
                    <a:lnTo>
                      <a:pt x="8234" y="1622"/>
                    </a:lnTo>
                    <a:lnTo>
                      <a:pt x="8220" y="1606"/>
                    </a:lnTo>
                    <a:lnTo>
                      <a:pt x="8212" y="1609"/>
                    </a:lnTo>
                    <a:lnTo>
                      <a:pt x="8191" y="1599"/>
                    </a:lnTo>
                    <a:lnTo>
                      <a:pt x="8179" y="1598"/>
                    </a:lnTo>
                    <a:lnTo>
                      <a:pt x="8150" y="1569"/>
                    </a:lnTo>
                    <a:lnTo>
                      <a:pt x="8137" y="1567"/>
                    </a:lnTo>
                    <a:lnTo>
                      <a:pt x="8086" y="1566"/>
                    </a:lnTo>
                    <a:lnTo>
                      <a:pt x="8081" y="1571"/>
                    </a:lnTo>
                    <a:lnTo>
                      <a:pt x="8066" y="1574"/>
                    </a:lnTo>
                    <a:lnTo>
                      <a:pt x="8056" y="1568"/>
                    </a:lnTo>
                    <a:lnTo>
                      <a:pt x="8042" y="1563"/>
                    </a:lnTo>
                    <a:lnTo>
                      <a:pt x="8028" y="1567"/>
                    </a:lnTo>
                    <a:lnTo>
                      <a:pt x="8005" y="1565"/>
                    </a:lnTo>
                    <a:lnTo>
                      <a:pt x="7992" y="1571"/>
                    </a:lnTo>
                    <a:lnTo>
                      <a:pt x="7978" y="1568"/>
                    </a:lnTo>
                    <a:lnTo>
                      <a:pt x="7952" y="1553"/>
                    </a:lnTo>
                    <a:lnTo>
                      <a:pt x="7945" y="1556"/>
                    </a:lnTo>
                    <a:lnTo>
                      <a:pt x="7877" y="1539"/>
                    </a:lnTo>
                    <a:lnTo>
                      <a:pt x="7850" y="1539"/>
                    </a:lnTo>
                    <a:lnTo>
                      <a:pt x="7840" y="1545"/>
                    </a:lnTo>
                    <a:lnTo>
                      <a:pt x="7839" y="1557"/>
                    </a:lnTo>
                    <a:lnTo>
                      <a:pt x="7843" y="1567"/>
                    </a:lnTo>
                    <a:lnTo>
                      <a:pt x="7841" y="1589"/>
                    </a:lnTo>
                    <a:lnTo>
                      <a:pt x="7824" y="1595"/>
                    </a:lnTo>
                    <a:lnTo>
                      <a:pt x="7819" y="1608"/>
                    </a:lnTo>
                    <a:lnTo>
                      <a:pt x="7849" y="1615"/>
                    </a:lnTo>
                    <a:lnTo>
                      <a:pt x="7860" y="1651"/>
                    </a:lnTo>
                    <a:lnTo>
                      <a:pt x="7866" y="1657"/>
                    </a:lnTo>
                    <a:lnTo>
                      <a:pt x="7866" y="1666"/>
                    </a:lnTo>
                    <a:lnTo>
                      <a:pt x="7871" y="1689"/>
                    </a:lnTo>
                    <a:lnTo>
                      <a:pt x="7840" y="1725"/>
                    </a:lnTo>
                    <a:lnTo>
                      <a:pt x="7820" y="1739"/>
                    </a:lnTo>
                    <a:lnTo>
                      <a:pt x="7797" y="1738"/>
                    </a:lnTo>
                    <a:lnTo>
                      <a:pt x="7790" y="1733"/>
                    </a:lnTo>
                    <a:lnTo>
                      <a:pt x="7782" y="1711"/>
                    </a:lnTo>
                    <a:lnTo>
                      <a:pt x="7777" y="1700"/>
                    </a:lnTo>
                    <a:lnTo>
                      <a:pt x="7762" y="1690"/>
                    </a:lnTo>
                    <a:lnTo>
                      <a:pt x="7760" y="1684"/>
                    </a:lnTo>
                    <a:lnTo>
                      <a:pt x="7750" y="1678"/>
                    </a:lnTo>
                    <a:lnTo>
                      <a:pt x="7727" y="1675"/>
                    </a:lnTo>
                    <a:lnTo>
                      <a:pt x="7721" y="1670"/>
                    </a:lnTo>
                    <a:lnTo>
                      <a:pt x="7719" y="1663"/>
                    </a:lnTo>
                    <a:lnTo>
                      <a:pt x="7717" y="1655"/>
                    </a:lnTo>
                    <a:lnTo>
                      <a:pt x="7720" y="1625"/>
                    </a:lnTo>
                    <a:lnTo>
                      <a:pt x="7716" y="1614"/>
                    </a:lnTo>
                    <a:lnTo>
                      <a:pt x="7698" y="1608"/>
                    </a:lnTo>
                    <a:lnTo>
                      <a:pt x="7700" y="1598"/>
                    </a:lnTo>
                    <a:lnTo>
                      <a:pt x="7707" y="1595"/>
                    </a:lnTo>
                    <a:lnTo>
                      <a:pt x="7706" y="1590"/>
                    </a:lnTo>
                    <a:lnTo>
                      <a:pt x="7693" y="1582"/>
                    </a:lnTo>
                    <a:lnTo>
                      <a:pt x="7685" y="1584"/>
                    </a:lnTo>
                    <a:lnTo>
                      <a:pt x="7679" y="1590"/>
                    </a:lnTo>
                    <a:lnTo>
                      <a:pt x="7650" y="1627"/>
                    </a:lnTo>
                    <a:lnTo>
                      <a:pt x="7641" y="1628"/>
                    </a:lnTo>
                    <a:lnTo>
                      <a:pt x="7635" y="1626"/>
                    </a:lnTo>
                    <a:lnTo>
                      <a:pt x="7613" y="1626"/>
                    </a:lnTo>
                    <a:lnTo>
                      <a:pt x="7591" y="1614"/>
                    </a:lnTo>
                    <a:lnTo>
                      <a:pt x="7559" y="1610"/>
                    </a:lnTo>
                    <a:lnTo>
                      <a:pt x="7547" y="1614"/>
                    </a:lnTo>
                    <a:lnTo>
                      <a:pt x="7544" y="1617"/>
                    </a:lnTo>
                    <a:lnTo>
                      <a:pt x="7542" y="1614"/>
                    </a:lnTo>
                    <a:lnTo>
                      <a:pt x="7518" y="1616"/>
                    </a:lnTo>
                    <a:lnTo>
                      <a:pt x="7504" y="1606"/>
                    </a:lnTo>
                    <a:lnTo>
                      <a:pt x="7489" y="1582"/>
                    </a:lnTo>
                    <a:lnTo>
                      <a:pt x="7469" y="1594"/>
                    </a:lnTo>
                    <a:lnTo>
                      <a:pt x="7438" y="1590"/>
                    </a:lnTo>
                    <a:lnTo>
                      <a:pt x="7420" y="1600"/>
                    </a:lnTo>
                    <a:lnTo>
                      <a:pt x="7405" y="1594"/>
                    </a:lnTo>
                    <a:lnTo>
                      <a:pt x="7398" y="1594"/>
                    </a:lnTo>
                    <a:lnTo>
                      <a:pt x="7393" y="1599"/>
                    </a:lnTo>
                    <a:lnTo>
                      <a:pt x="7389" y="1606"/>
                    </a:lnTo>
                    <a:lnTo>
                      <a:pt x="7382" y="1606"/>
                    </a:lnTo>
                    <a:lnTo>
                      <a:pt x="7378" y="1623"/>
                    </a:lnTo>
                    <a:lnTo>
                      <a:pt x="7362" y="1622"/>
                    </a:lnTo>
                    <a:lnTo>
                      <a:pt x="7356" y="1635"/>
                    </a:lnTo>
                    <a:lnTo>
                      <a:pt x="7346" y="1646"/>
                    </a:lnTo>
                    <a:lnTo>
                      <a:pt x="7338" y="1643"/>
                    </a:lnTo>
                    <a:lnTo>
                      <a:pt x="7339" y="1626"/>
                    </a:lnTo>
                    <a:lnTo>
                      <a:pt x="7336" y="1616"/>
                    </a:lnTo>
                    <a:lnTo>
                      <a:pt x="7327" y="1620"/>
                    </a:lnTo>
                    <a:lnTo>
                      <a:pt x="7322" y="1617"/>
                    </a:lnTo>
                    <a:lnTo>
                      <a:pt x="7314" y="1605"/>
                    </a:lnTo>
                    <a:lnTo>
                      <a:pt x="7306" y="1596"/>
                    </a:lnTo>
                    <a:lnTo>
                      <a:pt x="7293" y="1590"/>
                    </a:lnTo>
                    <a:lnTo>
                      <a:pt x="7284" y="1590"/>
                    </a:lnTo>
                    <a:lnTo>
                      <a:pt x="7273" y="1590"/>
                    </a:lnTo>
                    <a:lnTo>
                      <a:pt x="7268" y="1582"/>
                    </a:lnTo>
                    <a:lnTo>
                      <a:pt x="7250" y="1578"/>
                    </a:lnTo>
                    <a:lnTo>
                      <a:pt x="7250" y="1569"/>
                    </a:lnTo>
                    <a:lnTo>
                      <a:pt x="7270" y="1509"/>
                    </a:lnTo>
                    <a:lnTo>
                      <a:pt x="7270" y="1497"/>
                    </a:lnTo>
                    <a:lnTo>
                      <a:pt x="7268" y="1486"/>
                    </a:lnTo>
                    <a:lnTo>
                      <a:pt x="7268" y="1480"/>
                    </a:lnTo>
                    <a:lnTo>
                      <a:pt x="7258" y="1459"/>
                    </a:lnTo>
                    <a:lnTo>
                      <a:pt x="7258" y="1455"/>
                    </a:lnTo>
                    <a:lnTo>
                      <a:pt x="7247" y="1444"/>
                    </a:lnTo>
                    <a:lnTo>
                      <a:pt x="7238" y="1431"/>
                    </a:lnTo>
                    <a:lnTo>
                      <a:pt x="7232" y="1426"/>
                    </a:lnTo>
                    <a:lnTo>
                      <a:pt x="7222" y="1409"/>
                    </a:lnTo>
                    <a:lnTo>
                      <a:pt x="7212" y="1402"/>
                    </a:lnTo>
                    <a:lnTo>
                      <a:pt x="7204" y="1393"/>
                    </a:lnTo>
                    <a:lnTo>
                      <a:pt x="7192" y="1388"/>
                    </a:lnTo>
                    <a:lnTo>
                      <a:pt x="7152" y="1384"/>
                    </a:lnTo>
                    <a:lnTo>
                      <a:pt x="7139" y="1379"/>
                    </a:lnTo>
                    <a:lnTo>
                      <a:pt x="7112" y="1378"/>
                    </a:lnTo>
                    <a:lnTo>
                      <a:pt x="7090" y="1382"/>
                    </a:lnTo>
                    <a:lnTo>
                      <a:pt x="7064" y="1380"/>
                    </a:lnTo>
                    <a:lnTo>
                      <a:pt x="7051" y="1383"/>
                    </a:lnTo>
                    <a:lnTo>
                      <a:pt x="7047" y="1388"/>
                    </a:lnTo>
                    <a:lnTo>
                      <a:pt x="7024" y="1385"/>
                    </a:lnTo>
                    <a:lnTo>
                      <a:pt x="7017" y="1393"/>
                    </a:lnTo>
                    <a:lnTo>
                      <a:pt x="7006" y="1393"/>
                    </a:lnTo>
                    <a:lnTo>
                      <a:pt x="6979" y="1386"/>
                    </a:lnTo>
                    <a:lnTo>
                      <a:pt x="6973" y="1388"/>
                    </a:lnTo>
                    <a:lnTo>
                      <a:pt x="6964" y="1396"/>
                    </a:lnTo>
                    <a:lnTo>
                      <a:pt x="6951" y="1400"/>
                    </a:lnTo>
                    <a:lnTo>
                      <a:pt x="6941" y="1395"/>
                    </a:lnTo>
                    <a:lnTo>
                      <a:pt x="6920" y="1396"/>
                    </a:lnTo>
                    <a:lnTo>
                      <a:pt x="6913" y="1400"/>
                    </a:lnTo>
                    <a:lnTo>
                      <a:pt x="6905" y="1397"/>
                    </a:lnTo>
                    <a:lnTo>
                      <a:pt x="6881" y="1410"/>
                    </a:lnTo>
                    <a:lnTo>
                      <a:pt x="6870" y="1410"/>
                    </a:lnTo>
                    <a:lnTo>
                      <a:pt x="6861" y="1417"/>
                    </a:lnTo>
                    <a:lnTo>
                      <a:pt x="6855" y="1409"/>
                    </a:lnTo>
                    <a:lnTo>
                      <a:pt x="6837" y="1393"/>
                    </a:lnTo>
                    <a:lnTo>
                      <a:pt x="6823" y="1391"/>
                    </a:lnTo>
                    <a:lnTo>
                      <a:pt x="6817" y="1386"/>
                    </a:lnTo>
                    <a:lnTo>
                      <a:pt x="6840" y="1379"/>
                    </a:lnTo>
                    <a:lnTo>
                      <a:pt x="6848" y="1368"/>
                    </a:lnTo>
                    <a:lnTo>
                      <a:pt x="6850" y="1354"/>
                    </a:lnTo>
                    <a:lnTo>
                      <a:pt x="6814" y="1323"/>
                    </a:lnTo>
                    <a:lnTo>
                      <a:pt x="6811" y="1315"/>
                    </a:lnTo>
                    <a:lnTo>
                      <a:pt x="6808" y="1307"/>
                    </a:lnTo>
                    <a:lnTo>
                      <a:pt x="6786" y="1310"/>
                    </a:lnTo>
                    <a:lnTo>
                      <a:pt x="6769" y="1316"/>
                    </a:lnTo>
                    <a:lnTo>
                      <a:pt x="6759" y="1316"/>
                    </a:lnTo>
                    <a:lnTo>
                      <a:pt x="6755" y="1307"/>
                    </a:lnTo>
                    <a:lnTo>
                      <a:pt x="6755" y="1299"/>
                    </a:lnTo>
                    <a:lnTo>
                      <a:pt x="6737" y="1288"/>
                    </a:lnTo>
                    <a:lnTo>
                      <a:pt x="6732" y="1276"/>
                    </a:lnTo>
                    <a:lnTo>
                      <a:pt x="6725" y="1275"/>
                    </a:lnTo>
                    <a:lnTo>
                      <a:pt x="6706" y="1264"/>
                    </a:lnTo>
                    <a:lnTo>
                      <a:pt x="6701" y="1271"/>
                    </a:lnTo>
                    <a:lnTo>
                      <a:pt x="6692" y="1272"/>
                    </a:lnTo>
                    <a:lnTo>
                      <a:pt x="6685" y="1267"/>
                    </a:lnTo>
                    <a:lnTo>
                      <a:pt x="6671" y="1264"/>
                    </a:lnTo>
                    <a:lnTo>
                      <a:pt x="6665" y="1266"/>
                    </a:lnTo>
                    <a:lnTo>
                      <a:pt x="6665" y="1260"/>
                    </a:lnTo>
                    <a:lnTo>
                      <a:pt x="6684" y="1232"/>
                    </a:lnTo>
                    <a:lnTo>
                      <a:pt x="6690" y="1227"/>
                    </a:lnTo>
                    <a:lnTo>
                      <a:pt x="6703" y="1237"/>
                    </a:lnTo>
                    <a:lnTo>
                      <a:pt x="6709" y="1245"/>
                    </a:lnTo>
                    <a:lnTo>
                      <a:pt x="6722" y="1237"/>
                    </a:lnTo>
                    <a:lnTo>
                      <a:pt x="6722" y="1226"/>
                    </a:lnTo>
                    <a:lnTo>
                      <a:pt x="6721" y="1217"/>
                    </a:lnTo>
                    <a:lnTo>
                      <a:pt x="6708" y="1181"/>
                    </a:lnTo>
                    <a:lnTo>
                      <a:pt x="6689" y="1169"/>
                    </a:lnTo>
                    <a:lnTo>
                      <a:pt x="6678" y="1162"/>
                    </a:lnTo>
                    <a:lnTo>
                      <a:pt x="6662" y="1159"/>
                    </a:lnTo>
                    <a:lnTo>
                      <a:pt x="6656" y="1153"/>
                    </a:lnTo>
                    <a:lnTo>
                      <a:pt x="6636" y="1143"/>
                    </a:lnTo>
                    <a:lnTo>
                      <a:pt x="6617" y="1147"/>
                    </a:lnTo>
                    <a:lnTo>
                      <a:pt x="6615" y="1151"/>
                    </a:lnTo>
                    <a:lnTo>
                      <a:pt x="6612" y="1144"/>
                    </a:lnTo>
                    <a:lnTo>
                      <a:pt x="6603" y="1143"/>
                    </a:lnTo>
                    <a:lnTo>
                      <a:pt x="6575" y="1143"/>
                    </a:lnTo>
                    <a:lnTo>
                      <a:pt x="6565" y="1148"/>
                    </a:lnTo>
                    <a:lnTo>
                      <a:pt x="6540" y="1142"/>
                    </a:lnTo>
                    <a:lnTo>
                      <a:pt x="6528" y="1131"/>
                    </a:lnTo>
                    <a:lnTo>
                      <a:pt x="6512" y="1131"/>
                    </a:lnTo>
                    <a:lnTo>
                      <a:pt x="6490" y="1109"/>
                    </a:lnTo>
                    <a:lnTo>
                      <a:pt x="6484" y="1111"/>
                    </a:lnTo>
                    <a:lnTo>
                      <a:pt x="6443" y="1106"/>
                    </a:lnTo>
                    <a:lnTo>
                      <a:pt x="6419" y="1092"/>
                    </a:lnTo>
                    <a:lnTo>
                      <a:pt x="6378" y="1089"/>
                    </a:lnTo>
                    <a:lnTo>
                      <a:pt x="6365" y="1084"/>
                    </a:lnTo>
                    <a:lnTo>
                      <a:pt x="6319" y="1086"/>
                    </a:lnTo>
                    <a:lnTo>
                      <a:pt x="6264" y="1079"/>
                    </a:lnTo>
                    <a:lnTo>
                      <a:pt x="6257" y="1073"/>
                    </a:lnTo>
                    <a:lnTo>
                      <a:pt x="6252" y="1066"/>
                    </a:lnTo>
                    <a:lnTo>
                      <a:pt x="6242" y="1060"/>
                    </a:lnTo>
                    <a:lnTo>
                      <a:pt x="6232" y="1058"/>
                    </a:lnTo>
                    <a:lnTo>
                      <a:pt x="6225" y="1057"/>
                    </a:lnTo>
                    <a:lnTo>
                      <a:pt x="6217" y="1068"/>
                    </a:lnTo>
                    <a:lnTo>
                      <a:pt x="6216" y="1074"/>
                    </a:lnTo>
                    <a:lnTo>
                      <a:pt x="6226" y="1084"/>
                    </a:lnTo>
                    <a:lnTo>
                      <a:pt x="6227" y="1093"/>
                    </a:lnTo>
                    <a:lnTo>
                      <a:pt x="6235" y="1105"/>
                    </a:lnTo>
                    <a:lnTo>
                      <a:pt x="6227" y="1109"/>
                    </a:lnTo>
                    <a:lnTo>
                      <a:pt x="6216" y="1119"/>
                    </a:lnTo>
                    <a:lnTo>
                      <a:pt x="6211" y="1127"/>
                    </a:lnTo>
                    <a:lnTo>
                      <a:pt x="6206" y="1152"/>
                    </a:lnTo>
                    <a:lnTo>
                      <a:pt x="6199" y="1167"/>
                    </a:lnTo>
                    <a:lnTo>
                      <a:pt x="6192" y="1176"/>
                    </a:lnTo>
                    <a:lnTo>
                      <a:pt x="6179" y="1179"/>
                    </a:lnTo>
                    <a:lnTo>
                      <a:pt x="6166" y="1191"/>
                    </a:lnTo>
                    <a:lnTo>
                      <a:pt x="6158" y="1205"/>
                    </a:lnTo>
                    <a:lnTo>
                      <a:pt x="6157" y="1212"/>
                    </a:lnTo>
                    <a:lnTo>
                      <a:pt x="6163" y="1226"/>
                    </a:lnTo>
                    <a:lnTo>
                      <a:pt x="6165" y="1234"/>
                    </a:lnTo>
                    <a:lnTo>
                      <a:pt x="6155" y="1235"/>
                    </a:lnTo>
                    <a:lnTo>
                      <a:pt x="6156" y="1255"/>
                    </a:lnTo>
                    <a:lnTo>
                      <a:pt x="6161" y="1269"/>
                    </a:lnTo>
                    <a:lnTo>
                      <a:pt x="6171" y="1280"/>
                    </a:lnTo>
                    <a:lnTo>
                      <a:pt x="6173" y="1286"/>
                    </a:lnTo>
                    <a:lnTo>
                      <a:pt x="6173" y="1298"/>
                    </a:lnTo>
                    <a:lnTo>
                      <a:pt x="6171" y="1307"/>
                    </a:lnTo>
                    <a:lnTo>
                      <a:pt x="6161" y="1307"/>
                    </a:lnTo>
                    <a:lnTo>
                      <a:pt x="6141" y="1294"/>
                    </a:lnTo>
                    <a:lnTo>
                      <a:pt x="6135" y="1313"/>
                    </a:lnTo>
                    <a:lnTo>
                      <a:pt x="6120" y="1307"/>
                    </a:lnTo>
                    <a:lnTo>
                      <a:pt x="6115" y="1314"/>
                    </a:lnTo>
                    <a:lnTo>
                      <a:pt x="6113" y="1309"/>
                    </a:lnTo>
                    <a:lnTo>
                      <a:pt x="6093" y="1325"/>
                    </a:lnTo>
                    <a:lnTo>
                      <a:pt x="6088" y="1334"/>
                    </a:lnTo>
                    <a:lnTo>
                      <a:pt x="6080" y="1340"/>
                    </a:lnTo>
                    <a:lnTo>
                      <a:pt x="6076" y="1352"/>
                    </a:lnTo>
                    <a:lnTo>
                      <a:pt x="6065" y="1351"/>
                    </a:lnTo>
                    <a:lnTo>
                      <a:pt x="6060" y="1357"/>
                    </a:lnTo>
                    <a:lnTo>
                      <a:pt x="6054" y="1350"/>
                    </a:lnTo>
                    <a:lnTo>
                      <a:pt x="6047" y="1348"/>
                    </a:lnTo>
                    <a:lnTo>
                      <a:pt x="6042" y="1343"/>
                    </a:lnTo>
                    <a:lnTo>
                      <a:pt x="6042" y="1334"/>
                    </a:lnTo>
                    <a:lnTo>
                      <a:pt x="6033" y="1331"/>
                    </a:lnTo>
                    <a:lnTo>
                      <a:pt x="6029" y="1320"/>
                    </a:lnTo>
                    <a:lnTo>
                      <a:pt x="6021" y="1314"/>
                    </a:lnTo>
                    <a:lnTo>
                      <a:pt x="6013" y="1314"/>
                    </a:lnTo>
                    <a:lnTo>
                      <a:pt x="5985" y="1293"/>
                    </a:lnTo>
                    <a:lnTo>
                      <a:pt x="5972" y="1294"/>
                    </a:lnTo>
                    <a:lnTo>
                      <a:pt x="5956" y="1288"/>
                    </a:lnTo>
                    <a:lnTo>
                      <a:pt x="5950" y="1281"/>
                    </a:lnTo>
                    <a:lnTo>
                      <a:pt x="5941" y="1280"/>
                    </a:lnTo>
                    <a:lnTo>
                      <a:pt x="5929" y="1272"/>
                    </a:lnTo>
                    <a:lnTo>
                      <a:pt x="5898" y="1276"/>
                    </a:lnTo>
                    <a:lnTo>
                      <a:pt x="5887" y="1294"/>
                    </a:lnTo>
                    <a:lnTo>
                      <a:pt x="5886" y="1304"/>
                    </a:lnTo>
                    <a:lnTo>
                      <a:pt x="5888" y="1318"/>
                    </a:lnTo>
                    <a:lnTo>
                      <a:pt x="5887" y="1324"/>
                    </a:lnTo>
                    <a:lnTo>
                      <a:pt x="5877" y="1309"/>
                    </a:lnTo>
                    <a:lnTo>
                      <a:pt x="5872" y="1314"/>
                    </a:lnTo>
                    <a:lnTo>
                      <a:pt x="5845" y="1309"/>
                    </a:lnTo>
                    <a:lnTo>
                      <a:pt x="5834" y="1314"/>
                    </a:lnTo>
                    <a:lnTo>
                      <a:pt x="5824" y="1312"/>
                    </a:lnTo>
                    <a:lnTo>
                      <a:pt x="5811" y="1292"/>
                    </a:lnTo>
                    <a:lnTo>
                      <a:pt x="5802" y="1287"/>
                    </a:lnTo>
                    <a:lnTo>
                      <a:pt x="5792" y="1264"/>
                    </a:lnTo>
                    <a:lnTo>
                      <a:pt x="5783" y="1254"/>
                    </a:lnTo>
                    <a:lnTo>
                      <a:pt x="5775" y="1232"/>
                    </a:lnTo>
                    <a:lnTo>
                      <a:pt x="5774" y="1217"/>
                    </a:lnTo>
                    <a:lnTo>
                      <a:pt x="5773" y="1214"/>
                    </a:lnTo>
                    <a:lnTo>
                      <a:pt x="5767" y="1218"/>
                    </a:lnTo>
                    <a:lnTo>
                      <a:pt x="5762" y="1232"/>
                    </a:lnTo>
                    <a:lnTo>
                      <a:pt x="5744" y="1275"/>
                    </a:lnTo>
                    <a:lnTo>
                      <a:pt x="5737" y="1289"/>
                    </a:lnTo>
                    <a:lnTo>
                      <a:pt x="5736" y="1307"/>
                    </a:lnTo>
                    <a:lnTo>
                      <a:pt x="5733" y="1319"/>
                    </a:lnTo>
                    <a:lnTo>
                      <a:pt x="5735" y="1353"/>
                    </a:lnTo>
                    <a:lnTo>
                      <a:pt x="5727" y="1358"/>
                    </a:lnTo>
                    <a:lnTo>
                      <a:pt x="5719" y="1380"/>
                    </a:lnTo>
                    <a:lnTo>
                      <a:pt x="5712" y="1388"/>
                    </a:lnTo>
                    <a:lnTo>
                      <a:pt x="5710" y="1406"/>
                    </a:lnTo>
                    <a:lnTo>
                      <a:pt x="5700" y="1418"/>
                    </a:lnTo>
                    <a:lnTo>
                      <a:pt x="5697" y="1433"/>
                    </a:lnTo>
                    <a:lnTo>
                      <a:pt x="5684" y="1427"/>
                    </a:lnTo>
                    <a:lnTo>
                      <a:pt x="5674" y="1395"/>
                    </a:lnTo>
                    <a:lnTo>
                      <a:pt x="5671" y="1393"/>
                    </a:lnTo>
                    <a:lnTo>
                      <a:pt x="5669" y="1405"/>
                    </a:lnTo>
                    <a:lnTo>
                      <a:pt x="5662" y="1406"/>
                    </a:lnTo>
                    <a:lnTo>
                      <a:pt x="5656" y="1397"/>
                    </a:lnTo>
                    <a:lnTo>
                      <a:pt x="5649" y="1399"/>
                    </a:lnTo>
                    <a:lnTo>
                      <a:pt x="5641" y="1394"/>
                    </a:lnTo>
                    <a:lnTo>
                      <a:pt x="5636" y="1386"/>
                    </a:lnTo>
                    <a:lnTo>
                      <a:pt x="5636" y="1379"/>
                    </a:lnTo>
                    <a:lnTo>
                      <a:pt x="5627" y="1368"/>
                    </a:lnTo>
                    <a:lnTo>
                      <a:pt x="5620" y="1375"/>
                    </a:lnTo>
                    <a:lnTo>
                      <a:pt x="5618" y="1369"/>
                    </a:lnTo>
                    <a:lnTo>
                      <a:pt x="5613" y="1364"/>
                    </a:lnTo>
                    <a:lnTo>
                      <a:pt x="5609" y="1354"/>
                    </a:lnTo>
                    <a:lnTo>
                      <a:pt x="5607" y="1340"/>
                    </a:lnTo>
                    <a:lnTo>
                      <a:pt x="5599" y="1336"/>
                    </a:lnTo>
                    <a:lnTo>
                      <a:pt x="5596" y="1340"/>
                    </a:lnTo>
                    <a:lnTo>
                      <a:pt x="5596" y="1332"/>
                    </a:lnTo>
                    <a:lnTo>
                      <a:pt x="5588" y="1318"/>
                    </a:lnTo>
                    <a:lnTo>
                      <a:pt x="5586" y="1303"/>
                    </a:lnTo>
                    <a:lnTo>
                      <a:pt x="5582" y="1299"/>
                    </a:lnTo>
                    <a:lnTo>
                      <a:pt x="5582" y="1288"/>
                    </a:lnTo>
                    <a:lnTo>
                      <a:pt x="5579" y="1282"/>
                    </a:lnTo>
                    <a:lnTo>
                      <a:pt x="5576" y="1270"/>
                    </a:lnTo>
                    <a:lnTo>
                      <a:pt x="5575" y="1273"/>
                    </a:lnTo>
                    <a:lnTo>
                      <a:pt x="5565" y="1280"/>
                    </a:lnTo>
                    <a:lnTo>
                      <a:pt x="5559" y="1272"/>
                    </a:lnTo>
                    <a:lnTo>
                      <a:pt x="5561" y="1264"/>
                    </a:lnTo>
                    <a:lnTo>
                      <a:pt x="5559" y="1255"/>
                    </a:lnTo>
                    <a:lnTo>
                      <a:pt x="5555" y="1251"/>
                    </a:lnTo>
                    <a:lnTo>
                      <a:pt x="5554" y="1245"/>
                    </a:lnTo>
                    <a:lnTo>
                      <a:pt x="5553" y="1229"/>
                    </a:lnTo>
                    <a:lnTo>
                      <a:pt x="5572" y="1200"/>
                    </a:lnTo>
                    <a:lnTo>
                      <a:pt x="5577" y="1205"/>
                    </a:lnTo>
                    <a:lnTo>
                      <a:pt x="5582" y="1203"/>
                    </a:lnTo>
                    <a:lnTo>
                      <a:pt x="5579" y="1199"/>
                    </a:lnTo>
                    <a:lnTo>
                      <a:pt x="5580" y="1192"/>
                    </a:lnTo>
                    <a:lnTo>
                      <a:pt x="5591" y="1187"/>
                    </a:lnTo>
                    <a:lnTo>
                      <a:pt x="5597" y="1180"/>
                    </a:lnTo>
                    <a:lnTo>
                      <a:pt x="5591" y="1181"/>
                    </a:lnTo>
                    <a:lnTo>
                      <a:pt x="5591" y="1178"/>
                    </a:lnTo>
                    <a:lnTo>
                      <a:pt x="5596" y="1173"/>
                    </a:lnTo>
                    <a:lnTo>
                      <a:pt x="5593" y="1169"/>
                    </a:lnTo>
                    <a:lnTo>
                      <a:pt x="5593" y="1159"/>
                    </a:lnTo>
                    <a:lnTo>
                      <a:pt x="5603" y="1141"/>
                    </a:lnTo>
                    <a:lnTo>
                      <a:pt x="5581" y="1125"/>
                    </a:lnTo>
                    <a:lnTo>
                      <a:pt x="5582" y="1120"/>
                    </a:lnTo>
                    <a:lnTo>
                      <a:pt x="5590" y="1111"/>
                    </a:lnTo>
                    <a:lnTo>
                      <a:pt x="5580" y="1104"/>
                    </a:lnTo>
                    <a:lnTo>
                      <a:pt x="5582" y="1094"/>
                    </a:lnTo>
                    <a:lnTo>
                      <a:pt x="5588" y="1090"/>
                    </a:lnTo>
                    <a:lnTo>
                      <a:pt x="5588" y="1077"/>
                    </a:lnTo>
                    <a:lnTo>
                      <a:pt x="5591" y="1074"/>
                    </a:lnTo>
                    <a:lnTo>
                      <a:pt x="5587" y="1072"/>
                    </a:lnTo>
                    <a:lnTo>
                      <a:pt x="5586" y="1066"/>
                    </a:lnTo>
                    <a:lnTo>
                      <a:pt x="5587" y="1058"/>
                    </a:lnTo>
                    <a:lnTo>
                      <a:pt x="5585" y="1050"/>
                    </a:lnTo>
                    <a:lnTo>
                      <a:pt x="5592" y="1049"/>
                    </a:lnTo>
                    <a:lnTo>
                      <a:pt x="5593" y="1045"/>
                    </a:lnTo>
                    <a:lnTo>
                      <a:pt x="5595" y="1038"/>
                    </a:lnTo>
                    <a:lnTo>
                      <a:pt x="5597" y="1031"/>
                    </a:lnTo>
                    <a:lnTo>
                      <a:pt x="5593" y="1028"/>
                    </a:lnTo>
                    <a:lnTo>
                      <a:pt x="5593" y="1022"/>
                    </a:lnTo>
                    <a:lnTo>
                      <a:pt x="5577" y="1012"/>
                    </a:lnTo>
                    <a:lnTo>
                      <a:pt x="5572" y="1001"/>
                    </a:lnTo>
                    <a:lnTo>
                      <a:pt x="5565" y="992"/>
                    </a:lnTo>
                    <a:lnTo>
                      <a:pt x="5565" y="985"/>
                    </a:lnTo>
                    <a:lnTo>
                      <a:pt x="5541" y="971"/>
                    </a:lnTo>
                    <a:lnTo>
                      <a:pt x="5542" y="964"/>
                    </a:lnTo>
                    <a:lnTo>
                      <a:pt x="5541" y="957"/>
                    </a:lnTo>
                    <a:lnTo>
                      <a:pt x="5528" y="955"/>
                    </a:lnTo>
                    <a:lnTo>
                      <a:pt x="5523" y="952"/>
                    </a:lnTo>
                    <a:lnTo>
                      <a:pt x="5527" y="948"/>
                    </a:lnTo>
                    <a:lnTo>
                      <a:pt x="5521" y="939"/>
                    </a:lnTo>
                    <a:lnTo>
                      <a:pt x="5504" y="932"/>
                    </a:lnTo>
                    <a:lnTo>
                      <a:pt x="5494" y="936"/>
                    </a:lnTo>
                    <a:lnTo>
                      <a:pt x="5478" y="933"/>
                    </a:lnTo>
                    <a:lnTo>
                      <a:pt x="5461" y="925"/>
                    </a:lnTo>
                    <a:lnTo>
                      <a:pt x="5457" y="930"/>
                    </a:lnTo>
                    <a:lnTo>
                      <a:pt x="5455" y="938"/>
                    </a:lnTo>
                    <a:lnTo>
                      <a:pt x="5447" y="938"/>
                    </a:lnTo>
                    <a:lnTo>
                      <a:pt x="5437" y="950"/>
                    </a:lnTo>
                    <a:lnTo>
                      <a:pt x="5435" y="947"/>
                    </a:lnTo>
                    <a:lnTo>
                      <a:pt x="5434" y="941"/>
                    </a:lnTo>
                    <a:lnTo>
                      <a:pt x="5415" y="918"/>
                    </a:lnTo>
                    <a:lnTo>
                      <a:pt x="5408" y="925"/>
                    </a:lnTo>
                    <a:lnTo>
                      <a:pt x="5399" y="920"/>
                    </a:lnTo>
                    <a:lnTo>
                      <a:pt x="5392" y="922"/>
                    </a:lnTo>
                    <a:lnTo>
                      <a:pt x="5385" y="912"/>
                    </a:lnTo>
                    <a:lnTo>
                      <a:pt x="5380" y="916"/>
                    </a:lnTo>
                    <a:lnTo>
                      <a:pt x="5373" y="910"/>
                    </a:lnTo>
                    <a:lnTo>
                      <a:pt x="5370" y="918"/>
                    </a:lnTo>
                    <a:lnTo>
                      <a:pt x="5361" y="910"/>
                    </a:lnTo>
                    <a:lnTo>
                      <a:pt x="5361" y="904"/>
                    </a:lnTo>
                    <a:lnTo>
                      <a:pt x="5359" y="895"/>
                    </a:lnTo>
                    <a:lnTo>
                      <a:pt x="5354" y="891"/>
                    </a:lnTo>
                    <a:lnTo>
                      <a:pt x="5350" y="896"/>
                    </a:lnTo>
                    <a:lnTo>
                      <a:pt x="5339" y="883"/>
                    </a:lnTo>
                    <a:lnTo>
                      <a:pt x="5333" y="885"/>
                    </a:lnTo>
                    <a:lnTo>
                      <a:pt x="5323" y="879"/>
                    </a:lnTo>
                    <a:lnTo>
                      <a:pt x="5305" y="875"/>
                    </a:lnTo>
                    <a:lnTo>
                      <a:pt x="5292" y="866"/>
                    </a:lnTo>
                    <a:lnTo>
                      <a:pt x="5286" y="866"/>
                    </a:lnTo>
                    <a:lnTo>
                      <a:pt x="5285" y="873"/>
                    </a:lnTo>
                    <a:lnTo>
                      <a:pt x="5285" y="880"/>
                    </a:lnTo>
                    <a:lnTo>
                      <a:pt x="5286" y="890"/>
                    </a:lnTo>
                    <a:lnTo>
                      <a:pt x="5284" y="895"/>
                    </a:lnTo>
                    <a:lnTo>
                      <a:pt x="5268" y="893"/>
                    </a:lnTo>
                    <a:lnTo>
                      <a:pt x="5258" y="877"/>
                    </a:lnTo>
                    <a:lnTo>
                      <a:pt x="5257" y="883"/>
                    </a:lnTo>
                    <a:lnTo>
                      <a:pt x="5256" y="900"/>
                    </a:lnTo>
                    <a:lnTo>
                      <a:pt x="5247" y="942"/>
                    </a:lnTo>
                    <a:lnTo>
                      <a:pt x="5252" y="944"/>
                    </a:lnTo>
                    <a:lnTo>
                      <a:pt x="5249" y="950"/>
                    </a:lnTo>
                    <a:lnTo>
                      <a:pt x="5248" y="955"/>
                    </a:lnTo>
                    <a:lnTo>
                      <a:pt x="5251" y="970"/>
                    </a:lnTo>
                    <a:lnTo>
                      <a:pt x="5264" y="1003"/>
                    </a:lnTo>
                    <a:lnTo>
                      <a:pt x="5260" y="1011"/>
                    </a:lnTo>
                    <a:lnTo>
                      <a:pt x="5252" y="1019"/>
                    </a:lnTo>
                    <a:lnTo>
                      <a:pt x="5225" y="1024"/>
                    </a:lnTo>
                    <a:lnTo>
                      <a:pt x="5210" y="1036"/>
                    </a:lnTo>
                    <a:lnTo>
                      <a:pt x="5204" y="1031"/>
                    </a:lnTo>
                    <a:lnTo>
                      <a:pt x="5200" y="1038"/>
                    </a:lnTo>
                    <a:lnTo>
                      <a:pt x="5195" y="1034"/>
                    </a:lnTo>
                    <a:lnTo>
                      <a:pt x="5179" y="1038"/>
                    </a:lnTo>
                    <a:lnTo>
                      <a:pt x="5168" y="1033"/>
                    </a:lnTo>
                    <a:lnTo>
                      <a:pt x="5161" y="1033"/>
                    </a:lnTo>
                    <a:lnTo>
                      <a:pt x="5136" y="1038"/>
                    </a:lnTo>
                    <a:lnTo>
                      <a:pt x="5131" y="1041"/>
                    </a:lnTo>
                    <a:lnTo>
                      <a:pt x="5112" y="1030"/>
                    </a:lnTo>
                    <a:lnTo>
                      <a:pt x="5082" y="1023"/>
                    </a:lnTo>
                    <a:lnTo>
                      <a:pt x="5074" y="1022"/>
                    </a:lnTo>
                    <a:lnTo>
                      <a:pt x="5074" y="1030"/>
                    </a:lnTo>
                    <a:lnTo>
                      <a:pt x="5071" y="1035"/>
                    </a:lnTo>
                    <a:lnTo>
                      <a:pt x="5042" y="1015"/>
                    </a:lnTo>
                    <a:lnTo>
                      <a:pt x="5023" y="1011"/>
                    </a:lnTo>
                    <a:lnTo>
                      <a:pt x="4994" y="995"/>
                    </a:lnTo>
                    <a:lnTo>
                      <a:pt x="4989" y="987"/>
                    </a:lnTo>
                    <a:lnTo>
                      <a:pt x="4989" y="980"/>
                    </a:lnTo>
                    <a:lnTo>
                      <a:pt x="4989" y="974"/>
                    </a:lnTo>
                    <a:lnTo>
                      <a:pt x="4990" y="969"/>
                    </a:lnTo>
                    <a:lnTo>
                      <a:pt x="4988" y="955"/>
                    </a:lnTo>
                    <a:lnTo>
                      <a:pt x="4990" y="948"/>
                    </a:lnTo>
                    <a:lnTo>
                      <a:pt x="4996" y="944"/>
                    </a:lnTo>
                    <a:lnTo>
                      <a:pt x="5007" y="944"/>
                    </a:lnTo>
                    <a:lnTo>
                      <a:pt x="5009" y="938"/>
                    </a:lnTo>
                    <a:lnTo>
                      <a:pt x="5015" y="938"/>
                    </a:lnTo>
                    <a:lnTo>
                      <a:pt x="5012" y="931"/>
                    </a:lnTo>
                    <a:lnTo>
                      <a:pt x="5005" y="925"/>
                    </a:lnTo>
                    <a:lnTo>
                      <a:pt x="4978" y="926"/>
                    </a:lnTo>
                    <a:lnTo>
                      <a:pt x="4967" y="920"/>
                    </a:lnTo>
                    <a:lnTo>
                      <a:pt x="4948" y="925"/>
                    </a:lnTo>
                    <a:lnTo>
                      <a:pt x="4924" y="920"/>
                    </a:lnTo>
                    <a:lnTo>
                      <a:pt x="4912" y="912"/>
                    </a:lnTo>
                    <a:lnTo>
                      <a:pt x="4900" y="912"/>
                    </a:lnTo>
                    <a:lnTo>
                      <a:pt x="4888" y="907"/>
                    </a:lnTo>
                    <a:lnTo>
                      <a:pt x="4875" y="907"/>
                    </a:lnTo>
                    <a:lnTo>
                      <a:pt x="4858" y="899"/>
                    </a:lnTo>
                    <a:lnTo>
                      <a:pt x="4837" y="895"/>
                    </a:lnTo>
                    <a:lnTo>
                      <a:pt x="4818" y="900"/>
                    </a:lnTo>
                    <a:lnTo>
                      <a:pt x="4818" y="909"/>
                    </a:lnTo>
                    <a:lnTo>
                      <a:pt x="4792" y="918"/>
                    </a:lnTo>
                    <a:lnTo>
                      <a:pt x="4779" y="921"/>
                    </a:lnTo>
                    <a:lnTo>
                      <a:pt x="4756" y="918"/>
                    </a:lnTo>
                    <a:lnTo>
                      <a:pt x="4721" y="932"/>
                    </a:lnTo>
                    <a:lnTo>
                      <a:pt x="4736" y="957"/>
                    </a:lnTo>
                    <a:lnTo>
                      <a:pt x="4738" y="969"/>
                    </a:lnTo>
                    <a:lnTo>
                      <a:pt x="4735" y="974"/>
                    </a:lnTo>
                    <a:lnTo>
                      <a:pt x="4713" y="990"/>
                    </a:lnTo>
                    <a:lnTo>
                      <a:pt x="4698" y="984"/>
                    </a:lnTo>
                    <a:lnTo>
                      <a:pt x="4700" y="976"/>
                    </a:lnTo>
                    <a:lnTo>
                      <a:pt x="4715" y="979"/>
                    </a:lnTo>
                    <a:lnTo>
                      <a:pt x="4719" y="969"/>
                    </a:lnTo>
                    <a:lnTo>
                      <a:pt x="4703" y="964"/>
                    </a:lnTo>
                    <a:lnTo>
                      <a:pt x="4705" y="955"/>
                    </a:lnTo>
                    <a:lnTo>
                      <a:pt x="4700" y="947"/>
                    </a:lnTo>
                    <a:lnTo>
                      <a:pt x="4711" y="922"/>
                    </a:lnTo>
                    <a:lnTo>
                      <a:pt x="4710" y="907"/>
                    </a:lnTo>
                    <a:lnTo>
                      <a:pt x="4705" y="894"/>
                    </a:lnTo>
                    <a:lnTo>
                      <a:pt x="4700" y="889"/>
                    </a:lnTo>
                    <a:lnTo>
                      <a:pt x="4698" y="872"/>
                    </a:lnTo>
                    <a:lnTo>
                      <a:pt x="4690" y="858"/>
                    </a:lnTo>
                    <a:lnTo>
                      <a:pt x="4678" y="832"/>
                    </a:lnTo>
                    <a:lnTo>
                      <a:pt x="4684" y="861"/>
                    </a:lnTo>
                    <a:lnTo>
                      <a:pt x="4682" y="878"/>
                    </a:lnTo>
                    <a:lnTo>
                      <a:pt x="4674" y="891"/>
                    </a:lnTo>
                    <a:lnTo>
                      <a:pt x="4658" y="896"/>
                    </a:lnTo>
                    <a:lnTo>
                      <a:pt x="4628" y="894"/>
                    </a:lnTo>
                    <a:lnTo>
                      <a:pt x="4619" y="896"/>
                    </a:lnTo>
                    <a:lnTo>
                      <a:pt x="4617" y="891"/>
                    </a:lnTo>
                    <a:lnTo>
                      <a:pt x="4596" y="874"/>
                    </a:lnTo>
                    <a:lnTo>
                      <a:pt x="4592" y="862"/>
                    </a:lnTo>
                    <a:lnTo>
                      <a:pt x="4591" y="848"/>
                    </a:lnTo>
                    <a:lnTo>
                      <a:pt x="4596" y="837"/>
                    </a:lnTo>
                    <a:lnTo>
                      <a:pt x="4598" y="847"/>
                    </a:lnTo>
                    <a:lnTo>
                      <a:pt x="4607" y="832"/>
                    </a:lnTo>
                    <a:lnTo>
                      <a:pt x="4608" y="826"/>
                    </a:lnTo>
                    <a:lnTo>
                      <a:pt x="4584" y="834"/>
                    </a:lnTo>
                    <a:lnTo>
                      <a:pt x="4576" y="842"/>
                    </a:lnTo>
                    <a:lnTo>
                      <a:pt x="4574" y="851"/>
                    </a:lnTo>
                    <a:lnTo>
                      <a:pt x="4570" y="855"/>
                    </a:lnTo>
                    <a:lnTo>
                      <a:pt x="4565" y="845"/>
                    </a:lnTo>
                    <a:lnTo>
                      <a:pt x="4553" y="840"/>
                    </a:lnTo>
                    <a:lnTo>
                      <a:pt x="4542" y="831"/>
                    </a:lnTo>
                    <a:lnTo>
                      <a:pt x="4527" y="834"/>
                    </a:lnTo>
                    <a:lnTo>
                      <a:pt x="4515" y="839"/>
                    </a:lnTo>
                    <a:lnTo>
                      <a:pt x="4512" y="852"/>
                    </a:lnTo>
                    <a:lnTo>
                      <a:pt x="4496" y="875"/>
                    </a:lnTo>
                    <a:lnTo>
                      <a:pt x="4495" y="884"/>
                    </a:lnTo>
                    <a:lnTo>
                      <a:pt x="4500" y="899"/>
                    </a:lnTo>
                    <a:lnTo>
                      <a:pt x="4507" y="911"/>
                    </a:lnTo>
                    <a:lnTo>
                      <a:pt x="4514" y="907"/>
                    </a:lnTo>
                    <a:lnTo>
                      <a:pt x="4509" y="905"/>
                    </a:lnTo>
                    <a:lnTo>
                      <a:pt x="4509" y="896"/>
                    </a:lnTo>
                    <a:lnTo>
                      <a:pt x="4515" y="902"/>
                    </a:lnTo>
                    <a:lnTo>
                      <a:pt x="4534" y="902"/>
                    </a:lnTo>
                    <a:lnTo>
                      <a:pt x="4542" y="893"/>
                    </a:lnTo>
                    <a:lnTo>
                      <a:pt x="4552" y="888"/>
                    </a:lnTo>
                    <a:lnTo>
                      <a:pt x="4557" y="879"/>
                    </a:lnTo>
                    <a:lnTo>
                      <a:pt x="4565" y="884"/>
                    </a:lnTo>
                    <a:lnTo>
                      <a:pt x="4573" y="901"/>
                    </a:lnTo>
                    <a:lnTo>
                      <a:pt x="4542" y="916"/>
                    </a:lnTo>
                    <a:lnTo>
                      <a:pt x="4536" y="930"/>
                    </a:lnTo>
                    <a:lnTo>
                      <a:pt x="4531" y="927"/>
                    </a:lnTo>
                    <a:lnTo>
                      <a:pt x="4506" y="948"/>
                    </a:lnTo>
                    <a:lnTo>
                      <a:pt x="4495" y="948"/>
                    </a:lnTo>
                    <a:lnTo>
                      <a:pt x="4478" y="926"/>
                    </a:lnTo>
                    <a:lnTo>
                      <a:pt x="4490" y="949"/>
                    </a:lnTo>
                    <a:lnTo>
                      <a:pt x="4487" y="952"/>
                    </a:lnTo>
                    <a:lnTo>
                      <a:pt x="4480" y="945"/>
                    </a:lnTo>
                    <a:lnTo>
                      <a:pt x="4482" y="953"/>
                    </a:lnTo>
                    <a:lnTo>
                      <a:pt x="4479" y="960"/>
                    </a:lnTo>
                    <a:lnTo>
                      <a:pt x="4444" y="971"/>
                    </a:lnTo>
                    <a:lnTo>
                      <a:pt x="4432" y="970"/>
                    </a:lnTo>
                    <a:lnTo>
                      <a:pt x="4430" y="979"/>
                    </a:lnTo>
                    <a:lnTo>
                      <a:pt x="4432" y="986"/>
                    </a:lnTo>
                    <a:lnTo>
                      <a:pt x="4414" y="982"/>
                    </a:lnTo>
                    <a:lnTo>
                      <a:pt x="4394" y="1001"/>
                    </a:lnTo>
                    <a:lnTo>
                      <a:pt x="4389" y="998"/>
                    </a:lnTo>
                    <a:lnTo>
                      <a:pt x="4361" y="996"/>
                    </a:lnTo>
                    <a:lnTo>
                      <a:pt x="4354" y="1003"/>
                    </a:lnTo>
                    <a:lnTo>
                      <a:pt x="4326" y="996"/>
                    </a:lnTo>
                    <a:lnTo>
                      <a:pt x="4315" y="1004"/>
                    </a:lnTo>
                    <a:lnTo>
                      <a:pt x="4316" y="1018"/>
                    </a:lnTo>
                    <a:lnTo>
                      <a:pt x="4323" y="1036"/>
                    </a:lnTo>
                    <a:lnTo>
                      <a:pt x="4358" y="1054"/>
                    </a:lnTo>
                    <a:lnTo>
                      <a:pt x="4350" y="1056"/>
                    </a:lnTo>
                    <a:lnTo>
                      <a:pt x="4340" y="1054"/>
                    </a:lnTo>
                    <a:lnTo>
                      <a:pt x="4317" y="1044"/>
                    </a:lnTo>
                    <a:lnTo>
                      <a:pt x="4308" y="1038"/>
                    </a:lnTo>
                    <a:lnTo>
                      <a:pt x="4301" y="1047"/>
                    </a:lnTo>
                    <a:lnTo>
                      <a:pt x="4294" y="1052"/>
                    </a:lnTo>
                    <a:lnTo>
                      <a:pt x="4288" y="1065"/>
                    </a:lnTo>
                    <a:lnTo>
                      <a:pt x="4278" y="1071"/>
                    </a:lnTo>
                    <a:lnTo>
                      <a:pt x="4267" y="1072"/>
                    </a:lnTo>
                    <a:lnTo>
                      <a:pt x="4253" y="1082"/>
                    </a:lnTo>
                    <a:lnTo>
                      <a:pt x="4242" y="1090"/>
                    </a:lnTo>
                    <a:lnTo>
                      <a:pt x="4229" y="1109"/>
                    </a:lnTo>
                    <a:lnTo>
                      <a:pt x="4232" y="1104"/>
                    </a:lnTo>
                    <a:lnTo>
                      <a:pt x="4229" y="1101"/>
                    </a:lnTo>
                    <a:lnTo>
                      <a:pt x="4215" y="1105"/>
                    </a:lnTo>
                    <a:lnTo>
                      <a:pt x="4213" y="1111"/>
                    </a:lnTo>
                    <a:lnTo>
                      <a:pt x="4206" y="1110"/>
                    </a:lnTo>
                    <a:lnTo>
                      <a:pt x="4205" y="1103"/>
                    </a:lnTo>
                    <a:lnTo>
                      <a:pt x="4227" y="1083"/>
                    </a:lnTo>
                    <a:lnTo>
                      <a:pt x="4236" y="1078"/>
                    </a:lnTo>
                    <a:lnTo>
                      <a:pt x="4240" y="1072"/>
                    </a:lnTo>
                    <a:lnTo>
                      <a:pt x="4252" y="1063"/>
                    </a:lnTo>
                    <a:lnTo>
                      <a:pt x="4263" y="1067"/>
                    </a:lnTo>
                    <a:lnTo>
                      <a:pt x="4276" y="1055"/>
                    </a:lnTo>
                    <a:lnTo>
                      <a:pt x="4285" y="1044"/>
                    </a:lnTo>
                    <a:lnTo>
                      <a:pt x="4301" y="1008"/>
                    </a:lnTo>
                    <a:lnTo>
                      <a:pt x="4306" y="1002"/>
                    </a:lnTo>
                    <a:lnTo>
                      <a:pt x="4306" y="997"/>
                    </a:lnTo>
                    <a:lnTo>
                      <a:pt x="4310" y="987"/>
                    </a:lnTo>
                    <a:lnTo>
                      <a:pt x="4316" y="972"/>
                    </a:lnTo>
                    <a:lnTo>
                      <a:pt x="4326" y="974"/>
                    </a:lnTo>
                    <a:lnTo>
                      <a:pt x="4349" y="965"/>
                    </a:lnTo>
                    <a:lnTo>
                      <a:pt x="4351" y="952"/>
                    </a:lnTo>
                    <a:lnTo>
                      <a:pt x="4365" y="928"/>
                    </a:lnTo>
                    <a:lnTo>
                      <a:pt x="4369" y="911"/>
                    </a:lnTo>
                    <a:lnTo>
                      <a:pt x="4409" y="910"/>
                    </a:lnTo>
                    <a:lnTo>
                      <a:pt x="4419" y="907"/>
                    </a:lnTo>
                    <a:lnTo>
                      <a:pt x="4425" y="915"/>
                    </a:lnTo>
                    <a:lnTo>
                      <a:pt x="4445" y="875"/>
                    </a:lnTo>
                    <a:lnTo>
                      <a:pt x="4452" y="864"/>
                    </a:lnTo>
                    <a:lnTo>
                      <a:pt x="4456" y="848"/>
                    </a:lnTo>
                    <a:lnTo>
                      <a:pt x="4484" y="820"/>
                    </a:lnTo>
                    <a:lnTo>
                      <a:pt x="4500" y="813"/>
                    </a:lnTo>
                    <a:lnTo>
                      <a:pt x="4511" y="802"/>
                    </a:lnTo>
                    <a:lnTo>
                      <a:pt x="4520" y="788"/>
                    </a:lnTo>
                    <a:lnTo>
                      <a:pt x="4526" y="767"/>
                    </a:lnTo>
                    <a:lnTo>
                      <a:pt x="4547" y="748"/>
                    </a:lnTo>
                    <a:lnTo>
                      <a:pt x="4545" y="743"/>
                    </a:lnTo>
                    <a:lnTo>
                      <a:pt x="4548" y="735"/>
                    </a:lnTo>
                    <a:lnTo>
                      <a:pt x="4559" y="733"/>
                    </a:lnTo>
                    <a:lnTo>
                      <a:pt x="4566" y="727"/>
                    </a:lnTo>
                    <a:lnTo>
                      <a:pt x="4563" y="724"/>
                    </a:lnTo>
                    <a:lnTo>
                      <a:pt x="4569" y="722"/>
                    </a:lnTo>
                    <a:lnTo>
                      <a:pt x="4573" y="726"/>
                    </a:lnTo>
                    <a:lnTo>
                      <a:pt x="4584" y="721"/>
                    </a:lnTo>
                    <a:lnTo>
                      <a:pt x="4587" y="707"/>
                    </a:lnTo>
                    <a:lnTo>
                      <a:pt x="4592" y="708"/>
                    </a:lnTo>
                    <a:lnTo>
                      <a:pt x="4607" y="692"/>
                    </a:lnTo>
                    <a:lnTo>
                      <a:pt x="4625" y="703"/>
                    </a:lnTo>
                    <a:lnTo>
                      <a:pt x="4627" y="695"/>
                    </a:lnTo>
                    <a:lnTo>
                      <a:pt x="4630" y="686"/>
                    </a:lnTo>
                    <a:lnTo>
                      <a:pt x="4625" y="678"/>
                    </a:lnTo>
                    <a:lnTo>
                      <a:pt x="4657" y="665"/>
                    </a:lnTo>
                    <a:lnTo>
                      <a:pt x="4643" y="662"/>
                    </a:lnTo>
                    <a:lnTo>
                      <a:pt x="4645" y="656"/>
                    </a:lnTo>
                    <a:lnTo>
                      <a:pt x="4667" y="645"/>
                    </a:lnTo>
                    <a:lnTo>
                      <a:pt x="4665" y="656"/>
                    </a:lnTo>
                    <a:lnTo>
                      <a:pt x="4672" y="645"/>
                    </a:lnTo>
                    <a:lnTo>
                      <a:pt x="4678" y="643"/>
                    </a:lnTo>
                    <a:lnTo>
                      <a:pt x="4684" y="636"/>
                    </a:lnTo>
                    <a:lnTo>
                      <a:pt x="4679" y="631"/>
                    </a:lnTo>
                    <a:lnTo>
                      <a:pt x="4688" y="622"/>
                    </a:lnTo>
                    <a:lnTo>
                      <a:pt x="4698" y="624"/>
                    </a:lnTo>
                    <a:lnTo>
                      <a:pt x="4704" y="611"/>
                    </a:lnTo>
                    <a:lnTo>
                      <a:pt x="4708" y="599"/>
                    </a:lnTo>
                    <a:lnTo>
                      <a:pt x="4708" y="595"/>
                    </a:lnTo>
                    <a:lnTo>
                      <a:pt x="4719" y="582"/>
                    </a:lnTo>
                    <a:lnTo>
                      <a:pt x="4722" y="573"/>
                    </a:lnTo>
                    <a:lnTo>
                      <a:pt x="4729" y="567"/>
                    </a:lnTo>
                    <a:lnTo>
                      <a:pt x="4729" y="549"/>
                    </a:lnTo>
                    <a:lnTo>
                      <a:pt x="4726" y="548"/>
                    </a:lnTo>
                    <a:lnTo>
                      <a:pt x="4722" y="534"/>
                    </a:lnTo>
                    <a:lnTo>
                      <a:pt x="4731" y="538"/>
                    </a:lnTo>
                    <a:lnTo>
                      <a:pt x="4730" y="518"/>
                    </a:lnTo>
                    <a:lnTo>
                      <a:pt x="4716" y="518"/>
                    </a:lnTo>
                    <a:lnTo>
                      <a:pt x="4703" y="506"/>
                    </a:lnTo>
                    <a:lnTo>
                      <a:pt x="4701" y="491"/>
                    </a:lnTo>
                    <a:lnTo>
                      <a:pt x="4692" y="492"/>
                    </a:lnTo>
                    <a:lnTo>
                      <a:pt x="4689" y="502"/>
                    </a:lnTo>
                    <a:lnTo>
                      <a:pt x="4686" y="507"/>
                    </a:lnTo>
                    <a:lnTo>
                      <a:pt x="4681" y="497"/>
                    </a:lnTo>
                    <a:lnTo>
                      <a:pt x="4681" y="493"/>
                    </a:lnTo>
                    <a:lnTo>
                      <a:pt x="4676" y="481"/>
                    </a:lnTo>
                    <a:lnTo>
                      <a:pt x="4679" y="475"/>
                    </a:lnTo>
                    <a:lnTo>
                      <a:pt x="4666" y="464"/>
                    </a:lnTo>
                    <a:lnTo>
                      <a:pt x="4660" y="454"/>
                    </a:lnTo>
                    <a:lnTo>
                      <a:pt x="4662" y="447"/>
                    </a:lnTo>
                    <a:lnTo>
                      <a:pt x="4670" y="449"/>
                    </a:lnTo>
                    <a:lnTo>
                      <a:pt x="4687" y="470"/>
                    </a:lnTo>
                    <a:lnTo>
                      <a:pt x="4717" y="490"/>
                    </a:lnTo>
                    <a:lnTo>
                      <a:pt x="4711" y="507"/>
                    </a:lnTo>
                    <a:lnTo>
                      <a:pt x="4717" y="505"/>
                    </a:lnTo>
                    <a:lnTo>
                      <a:pt x="4724" y="493"/>
                    </a:lnTo>
                    <a:lnTo>
                      <a:pt x="4736" y="455"/>
                    </a:lnTo>
                    <a:lnTo>
                      <a:pt x="4736" y="441"/>
                    </a:lnTo>
                    <a:lnTo>
                      <a:pt x="4732" y="428"/>
                    </a:lnTo>
                    <a:lnTo>
                      <a:pt x="4726" y="432"/>
                    </a:lnTo>
                    <a:lnTo>
                      <a:pt x="4717" y="428"/>
                    </a:lnTo>
                    <a:lnTo>
                      <a:pt x="4713" y="400"/>
                    </a:lnTo>
                    <a:lnTo>
                      <a:pt x="4714" y="389"/>
                    </a:lnTo>
                    <a:lnTo>
                      <a:pt x="4698" y="360"/>
                    </a:lnTo>
                    <a:lnTo>
                      <a:pt x="4689" y="364"/>
                    </a:lnTo>
                    <a:lnTo>
                      <a:pt x="4695" y="378"/>
                    </a:lnTo>
                    <a:lnTo>
                      <a:pt x="4686" y="387"/>
                    </a:lnTo>
                    <a:lnTo>
                      <a:pt x="4684" y="394"/>
                    </a:lnTo>
                    <a:lnTo>
                      <a:pt x="4679" y="394"/>
                    </a:lnTo>
                    <a:lnTo>
                      <a:pt x="4672" y="374"/>
                    </a:lnTo>
                    <a:lnTo>
                      <a:pt x="4662" y="362"/>
                    </a:lnTo>
                    <a:lnTo>
                      <a:pt x="4670" y="358"/>
                    </a:lnTo>
                    <a:lnTo>
                      <a:pt x="4671" y="349"/>
                    </a:lnTo>
                    <a:lnTo>
                      <a:pt x="4673" y="341"/>
                    </a:lnTo>
                    <a:lnTo>
                      <a:pt x="4647" y="315"/>
                    </a:lnTo>
                    <a:lnTo>
                      <a:pt x="4640" y="318"/>
                    </a:lnTo>
                    <a:lnTo>
                      <a:pt x="4639" y="306"/>
                    </a:lnTo>
                    <a:lnTo>
                      <a:pt x="4624" y="283"/>
                    </a:lnTo>
                    <a:lnTo>
                      <a:pt x="4603" y="271"/>
                    </a:lnTo>
                    <a:lnTo>
                      <a:pt x="4607" y="266"/>
                    </a:lnTo>
                    <a:lnTo>
                      <a:pt x="4603" y="258"/>
                    </a:lnTo>
                    <a:lnTo>
                      <a:pt x="4593" y="255"/>
                    </a:lnTo>
                    <a:lnTo>
                      <a:pt x="4588" y="261"/>
                    </a:lnTo>
                    <a:lnTo>
                      <a:pt x="4585" y="255"/>
                    </a:lnTo>
                    <a:lnTo>
                      <a:pt x="4586" y="244"/>
                    </a:lnTo>
                    <a:lnTo>
                      <a:pt x="4569" y="248"/>
                    </a:lnTo>
                    <a:lnTo>
                      <a:pt x="4539" y="242"/>
                    </a:lnTo>
                    <a:lnTo>
                      <a:pt x="4523" y="255"/>
                    </a:lnTo>
                    <a:lnTo>
                      <a:pt x="4518" y="253"/>
                    </a:lnTo>
                    <a:lnTo>
                      <a:pt x="4509" y="255"/>
                    </a:lnTo>
                    <a:lnTo>
                      <a:pt x="4489" y="238"/>
                    </a:lnTo>
                    <a:lnTo>
                      <a:pt x="4477" y="248"/>
                    </a:lnTo>
                    <a:lnTo>
                      <a:pt x="4469" y="247"/>
                    </a:lnTo>
                    <a:lnTo>
                      <a:pt x="4441" y="253"/>
                    </a:lnTo>
                    <a:lnTo>
                      <a:pt x="4435" y="247"/>
                    </a:lnTo>
                    <a:lnTo>
                      <a:pt x="4426" y="255"/>
                    </a:lnTo>
                    <a:lnTo>
                      <a:pt x="4428" y="248"/>
                    </a:lnTo>
                    <a:lnTo>
                      <a:pt x="4432" y="242"/>
                    </a:lnTo>
                    <a:lnTo>
                      <a:pt x="4430" y="238"/>
                    </a:lnTo>
                    <a:lnTo>
                      <a:pt x="4424" y="237"/>
                    </a:lnTo>
                    <a:lnTo>
                      <a:pt x="4421" y="244"/>
                    </a:lnTo>
                    <a:lnTo>
                      <a:pt x="4410" y="247"/>
                    </a:lnTo>
                    <a:lnTo>
                      <a:pt x="4409" y="258"/>
                    </a:lnTo>
                    <a:lnTo>
                      <a:pt x="4405" y="264"/>
                    </a:lnTo>
                    <a:lnTo>
                      <a:pt x="4416" y="261"/>
                    </a:lnTo>
                    <a:lnTo>
                      <a:pt x="4409" y="272"/>
                    </a:lnTo>
                    <a:lnTo>
                      <a:pt x="4403" y="272"/>
                    </a:lnTo>
                    <a:lnTo>
                      <a:pt x="4402" y="283"/>
                    </a:lnTo>
                    <a:lnTo>
                      <a:pt x="4397" y="294"/>
                    </a:lnTo>
                    <a:lnTo>
                      <a:pt x="4386" y="299"/>
                    </a:lnTo>
                    <a:lnTo>
                      <a:pt x="4382" y="296"/>
                    </a:lnTo>
                    <a:lnTo>
                      <a:pt x="4380" y="307"/>
                    </a:lnTo>
                    <a:lnTo>
                      <a:pt x="4356" y="306"/>
                    </a:lnTo>
                    <a:lnTo>
                      <a:pt x="4349" y="312"/>
                    </a:lnTo>
                    <a:lnTo>
                      <a:pt x="4334" y="306"/>
                    </a:lnTo>
                    <a:lnTo>
                      <a:pt x="4313" y="306"/>
                    </a:lnTo>
                    <a:lnTo>
                      <a:pt x="4313" y="301"/>
                    </a:lnTo>
                    <a:lnTo>
                      <a:pt x="4311" y="299"/>
                    </a:lnTo>
                    <a:lnTo>
                      <a:pt x="4329" y="288"/>
                    </a:lnTo>
                    <a:lnTo>
                      <a:pt x="4333" y="292"/>
                    </a:lnTo>
                    <a:lnTo>
                      <a:pt x="4343" y="264"/>
                    </a:lnTo>
                    <a:lnTo>
                      <a:pt x="4349" y="253"/>
                    </a:lnTo>
                    <a:lnTo>
                      <a:pt x="4353" y="242"/>
                    </a:lnTo>
                    <a:lnTo>
                      <a:pt x="4367" y="238"/>
                    </a:lnTo>
                    <a:lnTo>
                      <a:pt x="4377" y="216"/>
                    </a:lnTo>
                    <a:lnTo>
                      <a:pt x="4373" y="213"/>
                    </a:lnTo>
                    <a:lnTo>
                      <a:pt x="4370" y="207"/>
                    </a:lnTo>
                    <a:lnTo>
                      <a:pt x="4372" y="204"/>
                    </a:lnTo>
                    <a:lnTo>
                      <a:pt x="4380" y="204"/>
                    </a:lnTo>
                    <a:lnTo>
                      <a:pt x="4380" y="197"/>
                    </a:lnTo>
                    <a:lnTo>
                      <a:pt x="4373" y="195"/>
                    </a:lnTo>
                    <a:lnTo>
                      <a:pt x="4373" y="188"/>
                    </a:lnTo>
                    <a:lnTo>
                      <a:pt x="4375" y="183"/>
                    </a:lnTo>
                    <a:lnTo>
                      <a:pt x="4349" y="175"/>
                    </a:lnTo>
                    <a:lnTo>
                      <a:pt x="4344" y="178"/>
                    </a:lnTo>
                    <a:lnTo>
                      <a:pt x="4338" y="168"/>
                    </a:lnTo>
                    <a:lnTo>
                      <a:pt x="4329" y="166"/>
                    </a:lnTo>
                    <a:lnTo>
                      <a:pt x="4321" y="166"/>
                    </a:lnTo>
                    <a:lnTo>
                      <a:pt x="4312" y="173"/>
                    </a:lnTo>
                    <a:lnTo>
                      <a:pt x="4306" y="164"/>
                    </a:lnTo>
                    <a:lnTo>
                      <a:pt x="4289" y="173"/>
                    </a:lnTo>
                    <a:lnTo>
                      <a:pt x="4294" y="157"/>
                    </a:lnTo>
                    <a:lnTo>
                      <a:pt x="4292" y="143"/>
                    </a:lnTo>
                    <a:lnTo>
                      <a:pt x="4286" y="162"/>
                    </a:lnTo>
                    <a:lnTo>
                      <a:pt x="4268" y="161"/>
                    </a:lnTo>
                    <a:lnTo>
                      <a:pt x="4211" y="189"/>
                    </a:lnTo>
                    <a:lnTo>
                      <a:pt x="4224" y="169"/>
                    </a:lnTo>
                    <a:lnTo>
                      <a:pt x="4231" y="166"/>
                    </a:lnTo>
                    <a:lnTo>
                      <a:pt x="4256" y="126"/>
                    </a:lnTo>
                    <a:lnTo>
                      <a:pt x="4268" y="116"/>
                    </a:lnTo>
                    <a:lnTo>
                      <a:pt x="4276" y="115"/>
                    </a:lnTo>
                    <a:lnTo>
                      <a:pt x="4286" y="98"/>
                    </a:lnTo>
                    <a:lnTo>
                      <a:pt x="4286" y="91"/>
                    </a:lnTo>
                    <a:lnTo>
                      <a:pt x="4301" y="88"/>
                    </a:lnTo>
                    <a:lnTo>
                      <a:pt x="4310" y="95"/>
                    </a:lnTo>
                    <a:lnTo>
                      <a:pt x="4301" y="82"/>
                    </a:lnTo>
                    <a:lnTo>
                      <a:pt x="4290" y="43"/>
                    </a:lnTo>
                    <a:lnTo>
                      <a:pt x="4281" y="39"/>
                    </a:lnTo>
                    <a:lnTo>
                      <a:pt x="4276" y="48"/>
                    </a:lnTo>
                    <a:lnTo>
                      <a:pt x="4259" y="45"/>
                    </a:lnTo>
                    <a:lnTo>
                      <a:pt x="4242" y="34"/>
                    </a:lnTo>
                    <a:lnTo>
                      <a:pt x="4226" y="7"/>
                    </a:lnTo>
                    <a:lnTo>
                      <a:pt x="4219" y="17"/>
                    </a:lnTo>
                    <a:lnTo>
                      <a:pt x="4213" y="14"/>
                    </a:lnTo>
                    <a:lnTo>
                      <a:pt x="4211" y="12"/>
                    </a:lnTo>
                    <a:lnTo>
                      <a:pt x="4211" y="5"/>
                    </a:lnTo>
                    <a:lnTo>
                      <a:pt x="4203" y="0"/>
                    </a:lnTo>
                    <a:lnTo>
                      <a:pt x="4193" y="2"/>
                    </a:lnTo>
                    <a:lnTo>
                      <a:pt x="4178" y="14"/>
                    </a:lnTo>
                    <a:lnTo>
                      <a:pt x="4172" y="24"/>
                    </a:lnTo>
                    <a:lnTo>
                      <a:pt x="4166" y="27"/>
                    </a:lnTo>
                    <a:lnTo>
                      <a:pt x="4143" y="22"/>
                    </a:lnTo>
                    <a:lnTo>
                      <a:pt x="4139" y="35"/>
                    </a:lnTo>
                    <a:lnTo>
                      <a:pt x="4122" y="51"/>
                    </a:lnTo>
                    <a:lnTo>
                      <a:pt x="4098" y="88"/>
                    </a:lnTo>
                    <a:lnTo>
                      <a:pt x="4093" y="102"/>
                    </a:lnTo>
                    <a:lnTo>
                      <a:pt x="4073" y="120"/>
                    </a:lnTo>
                    <a:lnTo>
                      <a:pt x="4070" y="126"/>
                    </a:lnTo>
                    <a:lnTo>
                      <a:pt x="4049" y="157"/>
                    </a:lnTo>
                    <a:lnTo>
                      <a:pt x="4043" y="168"/>
                    </a:lnTo>
                    <a:lnTo>
                      <a:pt x="4042" y="178"/>
                    </a:lnTo>
                    <a:lnTo>
                      <a:pt x="4042" y="185"/>
                    </a:lnTo>
                    <a:lnTo>
                      <a:pt x="4039" y="194"/>
                    </a:lnTo>
                    <a:lnTo>
                      <a:pt x="4033" y="194"/>
                    </a:lnTo>
                    <a:lnTo>
                      <a:pt x="4032" y="201"/>
                    </a:lnTo>
                    <a:lnTo>
                      <a:pt x="4023" y="220"/>
                    </a:lnTo>
                    <a:lnTo>
                      <a:pt x="4025" y="222"/>
                    </a:lnTo>
                    <a:lnTo>
                      <a:pt x="4025" y="232"/>
                    </a:lnTo>
                    <a:lnTo>
                      <a:pt x="4030" y="238"/>
                    </a:lnTo>
                    <a:lnTo>
                      <a:pt x="4043" y="244"/>
                    </a:lnTo>
                    <a:lnTo>
                      <a:pt x="4046" y="258"/>
                    </a:lnTo>
                    <a:lnTo>
                      <a:pt x="4052" y="263"/>
                    </a:lnTo>
                    <a:lnTo>
                      <a:pt x="4050" y="267"/>
                    </a:lnTo>
                    <a:lnTo>
                      <a:pt x="4039" y="265"/>
                    </a:lnTo>
                    <a:lnTo>
                      <a:pt x="4037" y="258"/>
                    </a:lnTo>
                    <a:lnTo>
                      <a:pt x="4037" y="282"/>
                    </a:lnTo>
                    <a:lnTo>
                      <a:pt x="4041" y="285"/>
                    </a:lnTo>
                    <a:lnTo>
                      <a:pt x="4039" y="286"/>
                    </a:lnTo>
                    <a:lnTo>
                      <a:pt x="4010" y="303"/>
                    </a:lnTo>
                    <a:lnTo>
                      <a:pt x="3995" y="307"/>
                    </a:lnTo>
                    <a:lnTo>
                      <a:pt x="3975" y="306"/>
                    </a:lnTo>
                    <a:lnTo>
                      <a:pt x="3962" y="312"/>
                    </a:lnTo>
                    <a:lnTo>
                      <a:pt x="3913" y="302"/>
                    </a:lnTo>
                    <a:lnTo>
                      <a:pt x="3915" y="310"/>
                    </a:lnTo>
                    <a:lnTo>
                      <a:pt x="3915" y="315"/>
                    </a:lnTo>
                    <a:lnTo>
                      <a:pt x="3921" y="321"/>
                    </a:lnTo>
                    <a:lnTo>
                      <a:pt x="3923" y="334"/>
                    </a:lnTo>
                    <a:lnTo>
                      <a:pt x="3934" y="335"/>
                    </a:lnTo>
                    <a:lnTo>
                      <a:pt x="3941" y="344"/>
                    </a:lnTo>
                    <a:lnTo>
                      <a:pt x="3941" y="351"/>
                    </a:lnTo>
                    <a:lnTo>
                      <a:pt x="3960" y="351"/>
                    </a:lnTo>
                    <a:lnTo>
                      <a:pt x="3967" y="356"/>
                    </a:lnTo>
                    <a:lnTo>
                      <a:pt x="3968" y="364"/>
                    </a:lnTo>
                    <a:lnTo>
                      <a:pt x="3963" y="377"/>
                    </a:lnTo>
                    <a:lnTo>
                      <a:pt x="3963" y="396"/>
                    </a:lnTo>
                    <a:lnTo>
                      <a:pt x="3960" y="406"/>
                    </a:lnTo>
                    <a:lnTo>
                      <a:pt x="3947" y="401"/>
                    </a:lnTo>
                    <a:lnTo>
                      <a:pt x="3947" y="389"/>
                    </a:lnTo>
                    <a:lnTo>
                      <a:pt x="3944" y="384"/>
                    </a:lnTo>
                    <a:lnTo>
                      <a:pt x="3923" y="380"/>
                    </a:lnTo>
                    <a:lnTo>
                      <a:pt x="3923" y="377"/>
                    </a:lnTo>
                    <a:lnTo>
                      <a:pt x="3926" y="366"/>
                    </a:lnTo>
                    <a:lnTo>
                      <a:pt x="3924" y="361"/>
                    </a:lnTo>
                    <a:lnTo>
                      <a:pt x="3907" y="364"/>
                    </a:lnTo>
                    <a:lnTo>
                      <a:pt x="3908" y="353"/>
                    </a:lnTo>
                    <a:lnTo>
                      <a:pt x="3902" y="352"/>
                    </a:lnTo>
                    <a:lnTo>
                      <a:pt x="3865" y="379"/>
                    </a:lnTo>
                    <a:lnTo>
                      <a:pt x="3869" y="389"/>
                    </a:lnTo>
                    <a:lnTo>
                      <a:pt x="3869" y="396"/>
                    </a:lnTo>
                    <a:lnTo>
                      <a:pt x="3864" y="396"/>
                    </a:lnTo>
                    <a:lnTo>
                      <a:pt x="3860" y="390"/>
                    </a:lnTo>
                    <a:lnTo>
                      <a:pt x="3849" y="393"/>
                    </a:lnTo>
                    <a:lnTo>
                      <a:pt x="3844" y="404"/>
                    </a:lnTo>
                    <a:lnTo>
                      <a:pt x="3851" y="405"/>
                    </a:lnTo>
                    <a:lnTo>
                      <a:pt x="3854" y="409"/>
                    </a:lnTo>
                    <a:lnTo>
                      <a:pt x="3855" y="417"/>
                    </a:lnTo>
                    <a:lnTo>
                      <a:pt x="3850" y="419"/>
                    </a:lnTo>
                    <a:lnTo>
                      <a:pt x="3838" y="415"/>
                    </a:lnTo>
                    <a:lnTo>
                      <a:pt x="3821" y="428"/>
                    </a:lnTo>
                    <a:lnTo>
                      <a:pt x="3821" y="415"/>
                    </a:lnTo>
                    <a:lnTo>
                      <a:pt x="3819" y="411"/>
                    </a:lnTo>
                    <a:lnTo>
                      <a:pt x="3815" y="415"/>
                    </a:lnTo>
                    <a:lnTo>
                      <a:pt x="3805" y="431"/>
                    </a:lnTo>
                    <a:lnTo>
                      <a:pt x="3797" y="431"/>
                    </a:lnTo>
                    <a:lnTo>
                      <a:pt x="3784" y="442"/>
                    </a:lnTo>
                    <a:lnTo>
                      <a:pt x="3780" y="439"/>
                    </a:lnTo>
                    <a:lnTo>
                      <a:pt x="3790" y="427"/>
                    </a:lnTo>
                    <a:lnTo>
                      <a:pt x="3791" y="419"/>
                    </a:lnTo>
                    <a:lnTo>
                      <a:pt x="3780" y="417"/>
                    </a:lnTo>
                    <a:lnTo>
                      <a:pt x="3779" y="411"/>
                    </a:lnTo>
                    <a:lnTo>
                      <a:pt x="3774" y="419"/>
                    </a:lnTo>
                    <a:lnTo>
                      <a:pt x="3756" y="423"/>
                    </a:lnTo>
                    <a:lnTo>
                      <a:pt x="3748" y="438"/>
                    </a:lnTo>
                    <a:lnTo>
                      <a:pt x="3740" y="442"/>
                    </a:lnTo>
                    <a:lnTo>
                      <a:pt x="3736" y="436"/>
                    </a:lnTo>
                    <a:lnTo>
                      <a:pt x="3756" y="414"/>
                    </a:lnTo>
                    <a:lnTo>
                      <a:pt x="3761" y="393"/>
                    </a:lnTo>
                    <a:lnTo>
                      <a:pt x="3745" y="380"/>
                    </a:lnTo>
                    <a:lnTo>
                      <a:pt x="3716" y="382"/>
                    </a:lnTo>
                    <a:lnTo>
                      <a:pt x="3711" y="385"/>
                    </a:lnTo>
                    <a:lnTo>
                      <a:pt x="3710" y="393"/>
                    </a:lnTo>
                    <a:lnTo>
                      <a:pt x="3678" y="383"/>
                    </a:lnTo>
                    <a:lnTo>
                      <a:pt x="3676" y="390"/>
                    </a:lnTo>
                    <a:lnTo>
                      <a:pt x="3665" y="399"/>
                    </a:lnTo>
                    <a:lnTo>
                      <a:pt x="3657" y="389"/>
                    </a:lnTo>
                    <a:lnTo>
                      <a:pt x="3629" y="390"/>
                    </a:lnTo>
                    <a:lnTo>
                      <a:pt x="3628" y="394"/>
                    </a:lnTo>
                    <a:lnTo>
                      <a:pt x="3635" y="399"/>
                    </a:lnTo>
                    <a:lnTo>
                      <a:pt x="3635" y="403"/>
                    </a:lnTo>
                    <a:lnTo>
                      <a:pt x="3609" y="409"/>
                    </a:lnTo>
                    <a:lnTo>
                      <a:pt x="3608" y="405"/>
                    </a:lnTo>
                    <a:lnTo>
                      <a:pt x="3611" y="398"/>
                    </a:lnTo>
                    <a:lnTo>
                      <a:pt x="3604" y="399"/>
                    </a:lnTo>
                    <a:lnTo>
                      <a:pt x="3590" y="412"/>
                    </a:lnTo>
                    <a:lnTo>
                      <a:pt x="3586" y="401"/>
                    </a:lnTo>
                    <a:lnTo>
                      <a:pt x="3581" y="405"/>
                    </a:lnTo>
                    <a:lnTo>
                      <a:pt x="3581" y="423"/>
                    </a:lnTo>
                    <a:lnTo>
                      <a:pt x="3585" y="427"/>
                    </a:lnTo>
                    <a:lnTo>
                      <a:pt x="3604" y="417"/>
                    </a:lnTo>
                    <a:lnTo>
                      <a:pt x="3607" y="428"/>
                    </a:lnTo>
                    <a:lnTo>
                      <a:pt x="3611" y="435"/>
                    </a:lnTo>
                    <a:lnTo>
                      <a:pt x="3612" y="432"/>
                    </a:lnTo>
                    <a:lnTo>
                      <a:pt x="3612" y="426"/>
                    </a:lnTo>
                    <a:lnTo>
                      <a:pt x="3619" y="423"/>
                    </a:lnTo>
                    <a:lnTo>
                      <a:pt x="3618" y="428"/>
                    </a:lnTo>
                    <a:lnTo>
                      <a:pt x="3620" y="435"/>
                    </a:lnTo>
                    <a:lnTo>
                      <a:pt x="3614" y="446"/>
                    </a:lnTo>
                    <a:lnTo>
                      <a:pt x="3549" y="471"/>
                    </a:lnTo>
                    <a:lnTo>
                      <a:pt x="3520" y="475"/>
                    </a:lnTo>
                    <a:lnTo>
                      <a:pt x="3516" y="473"/>
                    </a:lnTo>
                    <a:lnTo>
                      <a:pt x="3514" y="481"/>
                    </a:lnTo>
                    <a:lnTo>
                      <a:pt x="3514" y="492"/>
                    </a:lnTo>
                    <a:lnTo>
                      <a:pt x="3514" y="489"/>
                    </a:lnTo>
                    <a:lnTo>
                      <a:pt x="3501" y="487"/>
                    </a:lnTo>
                    <a:lnTo>
                      <a:pt x="3488" y="496"/>
                    </a:lnTo>
                    <a:lnTo>
                      <a:pt x="3473" y="490"/>
                    </a:lnTo>
                    <a:lnTo>
                      <a:pt x="3455" y="502"/>
                    </a:lnTo>
                    <a:lnTo>
                      <a:pt x="3436" y="502"/>
                    </a:lnTo>
                    <a:lnTo>
                      <a:pt x="3420" y="516"/>
                    </a:lnTo>
                    <a:lnTo>
                      <a:pt x="3434" y="524"/>
                    </a:lnTo>
                    <a:lnTo>
                      <a:pt x="3415" y="529"/>
                    </a:lnTo>
                    <a:lnTo>
                      <a:pt x="3401" y="541"/>
                    </a:lnTo>
                    <a:lnTo>
                      <a:pt x="3385" y="528"/>
                    </a:lnTo>
                    <a:lnTo>
                      <a:pt x="3378" y="536"/>
                    </a:lnTo>
                    <a:lnTo>
                      <a:pt x="3366" y="539"/>
                    </a:lnTo>
                    <a:lnTo>
                      <a:pt x="3365" y="544"/>
                    </a:lnTo>
                    <a:lnTo>
                      <a:pt x="3371" y="544"/>
                    </a:lnTo>
                    <a:lnTo>
                      <a:pt x="3374" y="550"/>
                    </a:lnTo>
                    <a:lnTo>
                      <a:pt x="3355" y="555"/>
                    </a:lnTo>
                    <a:lnTo>
                      <a:pt x="3354" y="562"/>
                    </a:lnTo>
                    <a:lnTo>
                      <a:pt x="3344" y="566"/>
                    </a:lnTo>
                    <a:lnTo>
                      <a:pt x="3333" y="584"/>
                    </a:lnTo>
                    <a:lnTo>
                      <a:pt x="3322" y="593"/>
                    </a:lnTo>
                    <a:lnTo>
                      <a:pt x="3321" y="598"/>
                    </a:lnTo>
                    <a:lnTo>
                      <a:pt x="3322" y="604"/>
                    </a:lnTo>
                    <a:lnTo>
                      <a:pt x="3319" y="608"/>
                    </a:lnTo>
                    <a:lnTo>
                      <a:pt x="3305" y="614"/>
                    </a:lnTo>
                    <a:lnTo>
                      <a:pt x="3300" y="605"/>
                    </a:lnTo>
                    <a:lnTo>
                      <a:pt x="3292" y="604"/>
                    </a:lnTo>
                    <a:lnTo>
                      <a:pt x="3269" y="602"/>
                    </a:lnTo>
                    <a:lnTo>
                      <a:pt x="3261" y="606"/>
                    </a:lnTo>
                    <a:lnTo>
                      <a:pt x="3256" y="611"/>
                    </a:lnTo>
                    <a:lnTo>
                      <a:pt x="3262" y="618"/>
                    </a:lnTo>
                    <a:lnTo>
                      <a:pt x="3279" y="625"/>
                    </a:lnTo>
                    <a:lnTo>
                      <a:pt x="3301" y="626"/>
                    </a:lnTo>
                    <a:lnTo>
                      <a:pt x="3297" y="633"/>
                    </a:lnTo>
                    <a:lnTo>
                      <a:pt x="3288" y="642"/>
                    </a:lnTo>
                    <a:lnTo>
                      <a:pt x="3281" y="640"/>
                    </a:lnTo>
                    <a:lnTo>
                      <a:pt x="3279" y="633"/>
                    </a:lnTo>
                    <a:lnTo>
                      <a:pt x="3272" y="640"/>
                    </a:lnTo>
                    <a:lnTo>
                      <a:pt x="3274" y="645"/>
                    </a:lnTo>
                    <a:lnTo>
                      <a:pt x="3268" y="659"/>
                    </a:lnTo>
                    <a:lnTo>
                      <a:pt x="3262" y="667"/>
                    </a:lnTo>
                    <a:lnTo>
                      <a:pt x="3256" y="683"/>
                    </a:lnTo>
                    <a:lnTo>
                      <a:pt x="3249" y="683"/>
                    </a:lnTo>
                    <a:lnTo>
                      <a:pt x="3247" y="694"/>
                    </a:lnTo>
                    <a:lnTo>
                      <a:pt x="3253" y="702"/>
                    </a:lnTo>
                    <a:lnTo>
                      <a:pt x="3246" y="708"/>
                    </a:lnTo>
                    <a:lnTo>
                      <a:pt x="3236" y="691"/>
                    </a:lnTo>
                    <a:lnTo>
                      <a:pt x="3222" y="684"/>
                    </a:lnTo>
                    <a:lnTo>
                      <a:pt x="3221" y="674"/>
                    </a:lnTo>
                    <a:lnTo>
                      <a:pt x="3204" y="667"/>
                    </a:lnTo>
                    <a:lnTo>
                      <a:pt x="3203" y="668"/>
                    </a:lnTo>
                    <a:lnTo>
                      <a:pt x="3209" y="681"/>
                    </a:lnTo>
                    <a:lnTo>
                      <a:pt x="3194" y="690"/>
                    </a:lnTo>
                    <a:lnTo>
                      <a:pt x="3197" y="699"/>
                    </a:lnTo>
                    <a:lnTo>
                      <a:pt x="3192" y="701"/>
                    </a:lnTo>
                    <a:lnTo>
                      <a:pt x="3193" y="707"/>
                    </a:lnTo>
                    <a:lnTo>
                      <a:pt x="3222" y="711"/>
                    </a:lnTo>
                    <a:lnTo>
                      <a:pt x="3229" y="717"/>
                    </a:lnTo>
                    <a:lnTo>
                      <a:pt x="3242" y="724"/>
                    </a:lnTo>
                    <a:lnTo>
                      <a:pt x="3238" y="728"/>
                    </a:lnTo>
                    <a:lnTo>
                      <a:pt x="3238" y="735"/>
                    </a:lnTo>
                    <a:lnTo>
                      <a:pt x="3242" y="739"/>
                    </a:lnTo>
                    <a:lnTo>
                      <a:pt x="3240" y="743"/>
                    </a:lnTo>
                    <a:lnTo>
                      <a:pt x="3227" y="740"/>
                    </a:lnTo>
                    <a:lnTo>
                      <a:pt x="3224" y="744"/>
                    </a:lnTo>
                    <a:lnTo>
                      <a:pt x="3211" y="750"/>
                    </a:lnTo>
                    <a:lnTo>
                      <a:pt x="3215" y="756"/>
                    </a:lnTo>
                    <a:lnTo>
                      <a:pt x="3204" y="756"/>
                    </a:lnTo>
                    <a:lnTo>
                      <a:pt x="3202" y="761"/>
                    </a:lnTo>
                    <a:lnTo>
                      <a:pt x="3203" y="771"/>
                    </a:lnTo>
                    <a:lnTo>
                      <a:pt x="3209" y="777"/>
                    </a:lnTo>
                    <a:lnTo>
                      <a:pt x="3246" y="788"/>
                    </a:lnTo>
                    <a:lnTo>
                      <a:pt x="3249" y="814"/>
                    </a:lnTo>
                    <a:lnTo>
                      <a:pt x="3253" y="821"/>
                    </a:lnTo>
                    <a:lnTo>
                      <a:pt x="3259" y="826"/>
                    </a:lnTo>
                    <a:lnTo>
                      <a:pt x="3254" y="832"/>
                    </a:lnTo>
                    <a:lnTo>
                      <a:pt x="3242" y="828"/>
                    </a:lnTo>
                    <a:lnTo>
                      <a:pt x="3242" y="831"/>
                    </a:lnTo>
                    <a:lnTo>
                      <a:pt x="3245" y="839"/>
                    </a:lnTo>
                    <a:lnTo>
                      <a:pt x="3240" y="841"/>
                    </a:lnTo>
                    <a:lnTo>
                      <a:pt x="3242" y="847"/>
                    </a:lnTo>
                    <a:lnTo>
                      <a:pt x="3247" y="850"/>
                    </a:lnTo>
                    <a:lnTo>
                      <a:pt x="3247" y="856"/>
                    </a:lnTo>
                    <a:lnTo>
                      <a:pt x="3237" y="861"/>
                    </a:lnTo>
                    <a:lnTo>
                      <a:pt x="3215" y="863"/>
                    </a:lnTo>
                    <a:lnTo>
                      <a:pt x="3202" y="872"/>
                    </a:lnTo>
                    <a:lnTo>
                      <a:pt x="3189" y="871"/>
                    </a:lnTo>
                    <a:lnTo>
                      <a:pt x="3182" y="874"/>
                    </a:lnTo>
                    <a:lnTo>
                      <a:pt x="3179" y="883"/>
                    </a:lnTo>
                    <a:lnTo>
                      <a:pt x="3166" y="894"/>
                    </a:lnTo>
                    <a:lnTo>
                      <a:pt x="3148" y="889"/>
                    </a:lnTo>
                    <a:lnTo>
                      <a:pt x="3145" y="883"/>
                    </a:lnTo>
                    <a:lnTo>
                      <a:pt x="3143" y="883"/>
                    </a:lnTo>
                    <a:lnTo>
                      <a:pt x="3130" y="888"/>
                    </a:lnTo>
                    <a:lnTo>
                      <a:pt x="3105" y="893"/>
                    </a:lnTo>
                    <a:lnTo>
                      <a:pt x="3082" y="900"/>
                    </a:lnTo>
                    <a:lnTo>
                      <a:pt x="3035" y="906"/>
                    </a:lnTo>
                    <a:lnTo>
                      <a:pt x="3026" y="900"/>
                    </a:lnTo>
                    <a:lnTo>
                      <a:pt x="3007" y="904"/>
                    </a:lnTo>
                    <a:lnTo>
                      <a:pt x="2989" y="901"/>
                    </a:lnTo>
                    <a:lnTo>
                      <a:pt x="2952" y="912"/>
                    </a:lnTo>
                    <a:lnTo>
                      <a:pt x="2952" y="917"/>
                    </a:lnTo>
                    <a:lnTo>
                      <a:pt x="2950" y="920"/>
                    </a:lnTo>
                    <a:lnTo>
                      <a:pt x="2939" y="914"/>
                    </a:lnTo>
                    <a:lnTo>
                      <a:pt x="2929" y="918"/>
                    </a:lnTo>
                    <a:lnTo>
                      <a:pt x="2928" y="922"/>
                    </a:lnTo>
                    <a:lnTo>
                      <a:pt x="2912" y="926"/>
                    </a:lnTo>
                    <a:lnTo>
                      <a:pt x="2913" y="936"/>
                    </a:lnTo>
                    <a:lnTo>
                      <a:pt x="2917" y="944"/>
                    </a:lnTo>
                    <a:lnTo>
                      <a:pt x="2920" y="943"/>
                    </a:lnTo>
                    <a:lnTo>
                      <a:pt x="2921" y="938"/>
                    </a:lnTo>
                    <a:lnTo>
                      <a:pt x="2926" y="939"/>
                    </a:lnTo>
                    <a:lnTo>
                      <a:pt x="2924" y="947"/>
                    </a:lnTo>
                    <a:lnTo>
                      <a:pt x="2912" y="958"/>
                    </a:lnTo>
                    <a:lnTo>
                      <a:pt x="2912" y="964"/>
                    </a:lnTo>
                    <a:lnTo>
                      <a:pt x="2904" y="960"/>
                    </a:lnTo>
                    <a:lnTo>
                      <a:pt x="2901" y="966"/>
                    </a:lnTo>
                    <a:lnTo>
                      <a:pt x="2904" y="975"/>
                    </a:lnTo>
                    <a:lnTo>
                      <a:pt x="2913" y="977"/>
                    </a:lnTo>
                    <a:lnTo>
                      <a:pt x="2913" y="987"/>
                    </a:lnTo>
                    <a:lnTo>
                      <a:pt x="2901" y="996"/>
                    </a:lnTo>
                    <a:lnTo>
                      <a:pt x="2918" y="1009"/>
                    </a:lnTo>
                    <a:lnTo>
                      <a:pt x="2917" y="1014"/>
                    </a:lnTo>
                    <a:lnTo>
                      <a:pt x="2923" y="1019"/>
                    </a:lnTo>
                    <a:lnTo>
                      <a:pt x="2926" y="1018"/>
                    </a:lnTo>
                    <a:lnTo>
                      <a:pt x="2931" y="1040"/>
                    </a:lnTo>
                    <a:lnTo>
                      <a:pt x="2937" y="1046"/>
                    </a:lnTo>
                    <a:lnTo>
                      <a:pt x="2934" y="1052"/>
                    </a:lnTo>
                    <a:lnTo>
                      <a:pt x="2933" y="1058"/>
                    </a:lnTo>
                    <a:lnTo>
                      <a:pt x="2929" y="1066"/>
                    </a:lnTo>
                    <a:lnTo>
                      <a:pt x="2924" y="1082"/>
                    </a:lnTo>
                    <a:lnTo>
                      <a:pt x="2925" y="1097"/>
                    </a:lnTo>
                    <a:lnTo>
                      <a:pt x="2930" y="1105"/>
                    </a:lnTo>
                    <a:lnTo>
                      <a:pt x="2930" y="1122"/>
                    </a:lnTo>
                    <a:lnTo>
                      <a:pt x="2935" y="1133"/>
                    </a:lnTo>
                    <a:lnTo>
                      <a:pt x="2949" y="1149"/>
                    </a:lnTo>
                    <a:lnTo>
                      <a:pt x="2962" y="1153"/>
                    </a:lnTo>
                    <a:lnTo>
                      <a:pt x="2987" y="1157"/>
                    </a:lnTo>
                    <a:lnTo>
                      <a:pt x="3001" y="1168"/>
                    </a:lnTo>
                    <a:lnTo>
                      <a:pt x="3009" y="1168"/>
                    </a:lnTo>
                    <a:lnTo>
                      <a:pt x="3015" y="1184"/>
                    </a:lnTo>
                    <a:lnTo>
                      <a:pt x="3010" y="1196"/>
                    </a:lnTo>
                    <a:lnTo>
                      <a:pt x="3006" y="1200"/>
                    </a:lnTo>
                    <a:lnTo>
                      <a:pt x="3017" y="1203"/>
                    </a:lnTo>
                    <a:lnTo>
                      <a:pt x="3023" y="1211"/>
                    </a:lnTo>
                    <a:lnTo>
                      <a:pt x="3031" y="1227"/>
                    </a:lnTo>
                    <a:lnTo>
                      <a:pt x="3041" y="1233"/>
                    </a:lnTo>
                    <a:lnTo>
                      <a:pt x="3060" y="1239"/>
                    </a:lnTo>
                    <a:lnTo>
                      <a:pt x="3069" y="1246"/>
                    </a:lnTo>
                    <a:lnTo>
                      <a:pt x="3073" y="1239"/>
                    </a:lnTo>
                    <a:lnTo>
                      <a:pt x="3076" y="1254"/>
                    </a:lnTo>
                    <a:lnTo>
                      <a:pt x="3084" y="1272"/>
                    </a:lnTo>
                    <a:lnTo>
                      <a:pt x="3084" y="1282"/>
                    </a:lnTo>
                    <a:lnTo>
                      <a:pt x="3080" y="1302"/>
                    </a:lnTo>
                    <a:lnTo>
                      <a:pt x="3069" y="1312"/>
                    </a:lnTo>
                    <a:lnTo>
                      <a:pt x="3068" y="1329"/>
                    </a:lnTo>
                    <a:lnTo>
                      <a:pt x="3060" y="1343"/>
                    </a:lnTo>
                    <a:lnTo>
                      <a:pt x="3064" y="1358"/>
                    </a:lnTo>
                    <a:lnTo>
                      <a:pt x="3063" y="1372"/>
                    </a:lnTo>
                    <a:lnTo>
                      <a:pt x="3079" y="1394"/>
                    </a:lnTo>
                    <a:lnTo>
                      <a:pt x="3082" y="1426"/>
                    </a:lnTo>
                    <a:lnTo>
                      <a:pt x="3087" y="1440"/>
                    </a:lnTo>
                    <a:lnTo>
                      <a:pt x="3090" y="1459"/>
                    </a:lnTo>
                    <a:lnTo>
                      <a:pt x="3090" y="1474"/>
                    </a:lnTo>
                    <a:lnTo>
                      <a:pt x="3085" y="1487"/>
                    </a:lnTo>
                    <a:lnTo>
                      <a:pt x="3075" y="1501"/>
                    </a:lnTo>
                    <a:lnTo>
                      <a:pt x="3063" y="1504"/>
                    </a:lnTo>
                    <a:lnTo>
                      <a:pt x="3055" y="1501"/>
                    </a:lnTo>
                    <a:lnTo>
                      <a:pt x="3054" y="1509"/>
                    </a:lnTo>
                    <a:lnTo>
                      <a:pt x="3063" y="1530"/>
                    </a:lnTo>
                    <a:lnTo>
                      <a:pt x="3059" y="1539"/>
                    </a:lnTo>
                    <a:lnTo>
                      <a:pt x="3035" y="1529"/>
                    </a:lnTo>
                    <a:lnTo>
                      <a:pt x="3017" y="1528"/>
                    </a:lnTo>
                    <a:lnTo>
                      <a:pt x="3006" y="1517"/>
                    </a:lnTo>
                    <a:lnTo>
                      <a:pt x="3004" y="1504"/>
                    </a:lnTo>
                    <a:lnTo>
                      <a:pt x="3004" y="1458"/>
                    </a:lnTo>
                    <a:lnTo>
                      <a:pt x="3012" y="1428"/>
                    </a:lnTo>
                    <a:lnTo>
                      <a:pt x="3009" y="1422"/>
                    </a:lnTo>
                    <a:lnTo>
                      <a:pt x="3007" y="1393"/>
                    </a:lnTo>
                    <a:lnTo>
                      <a:pt x="3010" y="1379"/>
                    </a:lnTo>
                    <a:lnTo>
                      <a:pt x="3009" y="1362"/>
                    </a:lnTo>
                    <a:lnTo>
                      <a:pt x="3007" y="1352"/>
                    </a:lnTo>
                    <a:lnTo>
                      <a:pt x="3015" y="1340"/>
                    </a:lnTo>
                    <a:lnTo>
                      <a:pt x="3047" y="1319"/>
                    </a:lnTo>
                    <a:lnTo>
                      <a:pt x="3049" y="1313"/>
                    </a:lnTo>
                    <a:lnTo>
                      <a:pt x="3049" y="1300"/>
                    </a:lnTo>
                    <a:lnTo>
                      <a:pt x="3052" y="1288"/>
                    </a:lnTo>
                    <a:lnTo>
                      <a:pt x="3060" y="1287"/>
                    </a:lnTo>
                    <a:lnTo>
                      <a:pt x="3063" y="1270"/>
                    </a:lnTo>
                    <a:lnTo>
                      <a:pt x="3039" y="1254"/>
                    </a:lnTo>
                    <a:lnTo>
                      <a:pt x="3010" y="1264"/>
                    </a:lnTo>
                    <a:lnTo>
                      <a:pt x="2982" y="1267"/>
                    </a:lnTo>
                    <a:lnTo>
                      <a:pt x="2966" y="1260"/>
                    </a:lnTo>
                    <a:lnTo>
                      <a:pt x="2955" y="1248"/>
                    </a:lnTo>
                    <a:lnTo>
                      <a:pt x="2952" y="1250"/>
                    </a:lnTo>
                    <a:lnTo>
                      <a:pt x="2945" y="1235"/>
                    </a:lnTo>
                    <a:lnTo>
                      <a:pt x="2931" y="1219"/>
                    </a:lnTo>
                    <a:lnTo>
                      <a:pt x="2928" y="1212"/>
                    </a:lnTo>
                    <a:lnTo>
                      <a:pt x="2928" y="1203"/>
                    </a:lnTo>
                    <a:lnTo>
                      <a:pt x="2902" y="1191"/>
                    </a:lnTo>
                    <a:lnTo>
                      <a:pt x="2880" y="1174"/>
                    </a:lnTo>
                    <a:lnTo>
                      <a:pt x="2871" y="1163"/>
                    </a:lnTo>
                    <a:lnTo>
                      <a:pt x="2844" y="1149"/>
                    </a:lnTo>
                    <a:lnTo>
                      <a:pt x="2792" y="1148"/>
                    </a:lnTo>
                    <a:lnTo>
                      <a:pt x="2777" y="1151"/>
                    </a:lnTo>
                    <a:lnTo>
                      <a:pt x="2763" y="1171"/>
                    </a:lnTo>
                    <a:lnTo>
                      <a:pt x="2741" y="1181"/>
                    </a:lnTo>
                    <a:lnTo>
                      <a:pt x="2737" y="1201"/>
                    </a:lnTo>
                    <a:lnTo>
                      <a:pt x="2764" y="1202"/>
                    </a:lnTo>
                    <a:lnTo>
                      <a:pt x="2778" y="1213"/>
                    </a:lnTo>
                    <a:lnTo>
                      <a:pt x="2773" y="1227"/>
                    </a:lnTo>
                    <a:lnTo>
                      <a:pt x="2763" y="1240"/>
                    </a:lnTo>
                    <a:lnTo>
                      <a:pt x="2743" y="1246"/>
                    </a:lnTo>
                    <a:lnTo>
                      <a:pt x="2729" y="1259"/>
                    </a:lnTo>
                    <a:lnTo>
                      <a:pt x="2708" y="1265"/>
                    </a:lnTo>
                    <a:lnTo>
                      <a:pt x="2708" y="1249"/>
                    </a:lnTo>
                    <a:lnTo>
                      <a:pt x="2692" y="1233"/>
                    </a:lnTo>
                    <a:lnTo>
                      <a:pt x="2683" y="1217"/>
                    </a:lnTo>
                    <a:lnTo>
                      <a:pt x="2672" y="1218"/>
                    </a:lnTo>
                    <a:lnTo>
                      <a:pt x="2662" y="1232"/>
                    </a:lnTo>
                    <a:lnTo>
                      <a:pt x="2668" y="1239"/>
                    </a:lnTo>
                    <a:lnTo>
                      <a:pt x="2673" y="1260"/>
                    </a:lnTo>
                    <a:lnTo>
                      <a:pt x="2678" y="1275"/>
                    </a:lnTo>
                    <a:lnTo>
                      <a:pt x="2681" y="1287"/>
                    </a:lnTo>
                    <a:lnTo>
                      <a:pt x="2687" y="1289"/>
                    </a:lnTo>
                    <a:lnTo>
                      <a:pt x="2709" y="1308"/>
                    </a:lnTo>
                    <a:lnTo>
                      <a:pt x="2724" y="1314"/>
                    </a:lnTo>
                    <a:lnTo>
                      <a:pt x="2732" y="1326"/>
                    </a:lnTo>
                    <a:lnTo>
                      <a:pt x="2741" y="1327"/>
                    </a:lnTo>
                    <a:lnTo>
                      <a:pt x="2747" y="1335"/>
                    </a:lnTo>
                    <a:lnTo>
                      <a:pt x="2757" y="1329"/>
                    </a:lnTo>
                    <a:lnTo>
                      <a:pt x="2767" y="1319"/>
                    </a:lnTo>
                    <a:lnTo>
                      <a:pt x="2764" y="1334"/>
                    </a:lnTo>
                    <a:lnTo>
                      <a:pt x="2769" y="1341"/>
                    </a:lnTo>
                    <a:lnTo>
                      <a:pt x="2780" y="1337"/>
                    </a:lnTo>
                    <a:lnTo>
                      <a:pt x="2781" y="1367"/>
                    </a:lnTo>
                    <a:lnTo>
                      <a:pt x="2795" y="1383"/>
                    </a:lnTo>
                    <a:lnTo>
                      <a:pt x="2795" y="1393"/>
                    </a:lnTo>
                    <a:lnTo>
                      <a:pt x="2779" y="1390"/>
                    </a:lnTo>
                    <a:lnTo>
                      <a:pt x="2769" y="1384"/>
                    </a:lnTo>
                    <a:lnTo>
                      <a:pt x="2762" y="1377"/>
                    </a:lnTo>
                    <a:lnTo>
                      <a:pt x="2758" y="1367"/>
                    </a:lnTo>
                    <a:lnTo>
                      <a:pt x="2748" y="1358"/>
                    </a:lnTo>
                    <a:lnTo>
                      <a:pt x="2713" y="1354"/>
                    </a:lnTo>
                    <a:lnTo>
                      <a:pt x="2702" y="1348"/>
                    </a:lnTo>
                    <a:lnTo>
                      <a:pt x="2668" y="1345"/>
                    </a:lnTo>
                    <a:lnTo>
                      <a:pt x="2636" y="1332"/>
                    </a:lnTo>
                    <a:lnTo>
                      <a:pt x="2627" y="1325"/>
                    </a:lnTo>
                    <a:lnTo>
                      <a:pt x="2617" y="1310"/>
                    </a:lnTo>
                    <a:lnTo>
                      <a:pt x="2619" y="1307"/>
                    </a:lnTo>
                    <a:lnTo>
                      <a:pt x="2633" y="1304"/>
                    </a:lnTo>
                    <a:lnTo>
                      <a:pt x="2634" y="1299"/>
                    </a:lnTo>
                    <a:lnTo>
                      <a:pt x="2633" y="1278"/>
                    </a:lnTo>
                    <a:lnTo>
                      <a:pt x="2622" y="1256"/>
                    </a:lnTo>
                    <a:lnTo>
                      <a:pt x="2621" y="1246"/>
                    </a:lnTo>
                    <a:lnTo>
                      <a:pt x="2627" y="1222"/>
                    </a:lnTo>
                    <a:lnTo>
                      <a:pt x="2618" y="1211"/>
                    </a:lnTo>
                    <a:lnTo>
                      <a:pt x="2627" y="1202"/>
                    </a:lnTo>
                    <a:lnTo>
                      <a:pt x="2641" y="1163"/>
                    </a:lnTo>
                    <a:lnTo>
                      <a:pt x="2634" y="1137"/>
                    </a:lnTo>
                    <a:lnTo>
                      <a:pt x="2632" y="1120"/>
                    </a:lnTo>
                    <a:lnTo>
                      <a:pt x="2640" y="1115"/>
                    </a:lnTo>
                    <a:lnTo>
                      <a:pt x="2630" y="1100"/>
                    </a:lnTo>
                    <a:lnTo>
                      <a:pt x="2628" y="1090"/>
                    </a:lnTo>
                    <a:lnTo>
                      <a:pt x="2629" y="1082"/>
                    </a:lnTo>
                    <a:lnTo>
                      <a:pt x="2613" y="1066"/>
                    </a:lnTo>
                    <a:lnTo>
                      <a:pt x="2608" y="1055"/>
                    </a:lnTo>
                    <a:lnTo>
                      <a:pt x="2593" y="1063"/>
                    </a:lnTo>
                    <a:lnTo>
                      <a:pt x="2595" y="1074"/>
                    </a:lnTo>
                    <a:lnTo>
                      <a:pt x="2602" y="1094"/>
                    </a:lnTo>
                    <a:lnTo>
                      <a:pt x="2607" y="1115"/>
                    </a:lnTo>
                    <a:lnTo>
                      <a:pt x="2607" y="1160"/>
                    </a:lnTo>
                    <a:lnTo>
                      <a:pt x="2598" y="1176"/>
                    </a:lnTo>
                    <a:lnTo>
                      <a:pt x="2566" y="1207"/>
                    </a:lnTo>
                    <a:lnTo>
                      <a:pt x="2546" y="1217"/>
                    </a:lnTo>
                    <a:lnTo>
                      <a:pt x="2516" y="1239"/>
                    </a:lnTo>
                    <a:lnTo>
                      <a:pt x="2517" y="1253"/>
                    </a:lnTo>
                    <a:lnTo>
                      <a:pt x="2517" y="1261"/>
                    </a:lnTo>
                    <a:lnTo>
                      <a:pt x="2514" y="1272"/>
                    </a:lnTo>
                    <a:lnTo>
                      <a:pt x="2498" y="1289"/>
                    </a:lnTo>
                    <a:lnTo>
                      <a:pt x="2498" y="1298"/>
                    </a:lnTo>
                    <a:lnTo>
                      <a:pt x="2519" y="1321"/>
                    </a:lnTo>
                    <a:lnTo>
                      <a:pt x="2532" y="1343"/>
                    </a:lnTo>
                    <a:lnTo>
                      <a:pt x="2541" y="1362"/>
                    </a:lnTo>
                    <a:lnTo>
                      <a:pt x="2547" y="1395"/>
                    </a:lnTo>
                    <a:lnTo>
                      <a:pt x="2560" y="1417"/>
                    </a:lnTo>
                    <a:lnTo>
                      <a:pt x="2569" y="1438"/>
                    </a:lnTo>
                    <a:lnTo>
                      <a:pt x="2569" y="1448"/>
                    </a:lnTo>
                    <a:lnTo>
                      <a:pt x="2565" y="1468"/>
                    </a:lnTo>
                    <a:lnTo>
                      <a:pt x="2557" y="1488"/>
                    </a:lnTo>
                    <a:lnTo>
                      <a:pt x="2555" y="1496"/>
                    </a:lnTo>
                    <a:lnTo>
                      <a:pt x="2541" y="1514"/>
                    </a:lnTo>
                    <a:lnTo>
                      <a:pt x="2538" y="1528"/>
                    </a:lnTo>
                    <a:lnTo>
                      <a:pt x="2539" y="1545"/>
                    </a:lnTo>
                    <a:lnTo>
                      <a:pt x="2532" y="1555"/>
                    </a:lnTo>
                    <a:lnTo>
                      <a:pt x="2530" y="1568"/>
                    </a:lnTo>
                    <a:lnTo>
                      <a:pt x="2527" y="1588"/>
                    </a:lnTo>
                    <a:lnTo>
                      <a:pt x="2541" y="1611"/>
                    </a:lnTo>
                    <a:lnTo>
                      <a:pt x="2548" y="1632"/>
                    </a:lnTo>
                    <a:lnTo>
                      <a:pt x="2546" y="1647"/>
                    </a:lnTo>
                    <a:lnTo>
                      <a:pt x="2539" y="1664"/>
                    </a:lnTo>
                    <a:lnTo>
                      <a:pt x="2538" y="1673"/>
                    </a:lnTo>
                    <a:lnTo>
                      <a:pt x="2547" y="1689"/>
                    </a:lnTo>
                    <a:lnTo>
                      <a:pt x="2559" y="1691"/>
                    </a:lnTo>
                    <a:lnTo>
                      <a:pt x="2575" y="1686"/>
                    </a:lnTo>
                    <a:lnTo>
                      <a:pt x="2586" y="1686"/>
                    </a:lnTo>
                    <a:lnTo>
                      <a:pt x="2600" y="1691"/>
                    </a:lnTo>
                    <a:lnTo>
                      <a:pt x="2616" y="1694"/>
                    </a:lnTo>
                    <a:lnTo>
                      <a:pt x="2618" y="1685"/>
                    </a:lnTo>
                    <a:lnTo>
                      <a:pt x="2641" y="1670"/>
                    </a:lnTo>
                    <a:lnTo>
                      <a:pt x="2665" y="1670"/>
                    </a:lnTo>
                    <a:lnTo>
                      <a:pt x="2698" y="1690"/>
                    </a:lnTo>
                    <a:lnTo>
                      <a:pt x="2708" y="1700"/>
                    </a:lnTo>
                    <a:lnTo>
                      <a:pt x="2734" y="1716"/>
                    </a:lnTo>
                    <a:lnTo>
                      <a:pt x="2753" y="1724"/>
                    </a:lnTo>
                    <a:lnTo>
                      <a:pt x="2758" y="1734"/>
                    </a:lnTo>
                    <a:lnTo>
                      <a:pt x="2758" y="1750"/>
                    </a:lnTo>
                    <a:lnTo>
                      <a:pt x="2757" y="1761"/>
                    </a:lnTo>
                    <a:lnTo>
                      <a:pt x="2775" y="1802"/>
                    </a:lnTo>
                    <a:lnTo>
                      <a:pt x="2779" y="1802"/>
                    </a:lnTo>
                    <a:lnTo>
                      <a:pt x="2780" y="1814"/>
                    </a:lnTo>
                    <a:lnTo>
                      <a:pt x="2774" y="1822"/>
                    </a:lnTo>
                    <a:lnTo>
                      <a:pt x="2761" y="1824"/>
                    </a:lnTo>
                    <a:lnTo>
                      <a:pt x="2750" y="1832"/>
                    </a:lnTo>
                    <a:lnTo>
                      <a:pt x="2746" y="1845"/>
                    </a:lnTo>
                    <a:lnTo>
                      <a:pt x="2745" y="1868"/>
                    </a:lnTo>
                    <a:lnTo>
                      <a:pt x="2747" y="1886"/>
                    </a:lnTo>
                    <a:lnTo>
                      <a:pt x="2751" y="1896"/>
                    </a:lnTo>
                    <a:lnTo>
                      <a:pt x="2763" y="1894"/>
                    </a:lnTo>
                    <a:lnTo>
                      <a:pt x="2781" y="1904"/>
                    </a:lnTo>
                    <a:lnTo>
                      <a:pt x="2800" y="1902"/>
                    </a:lnTo>
                    <a:lnTo>
                      <a:pt x="2820" y="1915"/>
                    </a:lnTo>
                    <a:lnTo>
                      <a:pt x="2817" y="1918"/>
                    </a:lnTo>
                    <a:lnTo>
                      <a:pt x="2792" y="1923"/>
                    </a:lnTo>
                    <a:lnTo>
                      <a:pt x="2779" y="1920"/>
                    </a:lnTo>
                    <a:lnTo>
                      <a:pt x="2754" y="1921"/>
                    </a:lnTo>
                    <a:lnTo>
                      <a:pt x="2752" y="1912"/>
                    </a:lnTo>
                    <a:lnTo>
                      <a:pt x="2748" y="1905"/>
                    </a:lnTo>
                    <a:lnTo>
                      <a:pt x="2727" y="1894"/>
                    </a:lnTo>
                    <a:lnTo>
                      <a:pt x="2726" y="1883"/>
                    </a:lnTo>
                    <a:lnTo>
                      <a:pt x="2730" y="1878"/>
                    </a:lnTo>
                    <a:lnTo>
                      <a:pt x="2732" y="1868"/>
                    </a:lnTo>
                    <a:lnTo>
                      <a:pt x="2731" y="1857"/>
                    </a:lnTo>
                    <a:lnTo>
                      <a:pt x="2732" y="1842"/>
                    </a:lnTo>
                    <a:lnTo>
                      <a:pt x="2740" y="1825"/>
                    </a:lnTo>
                    <a:lnTo>
                      <a:pt x="2736" y="1821"/>
                    </a:lnTo>
                    <a:lnTo>
                      <a:pt x="2730" y="1824"/>
                    </a:lnTo>
                    <a:lnTo>
                      <a:pt x="2729" y="1814"/>
                    </a:lnTo>
                    <a:lnTo>
                      <a:pt x="2732" y="1800"/>
                    </a:lnTo>
                    <a:lnTo>
                      <a:pt x="2734" y="1798"/>
                    </a:lnTo>
                    <a:lnTo>
                      <a:pt x="2732" y="1791"/>
                    </a:lnTo>
                    <a:lnTo>
                      <a:pt x="2735" y="1783"/>
                    </a:lnTo>
                    <a:lnTo>
                      <a:pt x="2732" y="1776"/>
                    </a:lnTo>
                    <a:lnTo>
                      <a:pt x="2726" y="1767"/>
                    </a:lnTo>
                    <a:lnTo>
                      <a:pt x="2718" y="1762"/>
                    </a:lnTo>
                    <a:lnTo>
                      <a:pt x="2713" y="1754"/>
                    </a:lnTo>
                    <a:lnTo>
                      <a:pt x="2703" y="1749"/>
                    </a:lnTo>
                    <a:lnTo>
                      <a:pt x="2699" y="1739"/>
                    </a:lnTo>
                    <a:lnTo>
                      <a:pt x="2700" y="1727"/>
                    </a:lnTo>
                    <a:lnTo>
                      <a:pt x="2694" y="1708"/>
                    </a:lnTo>
                    <a:lnTo>
                      <a:pt x="2667" y="1712"/>
                    </a:lnTo>
                    <a:lnTo>
                      <a:pt x="2652" y="1718"/>
                    </a:lnTo>
                    <a:lnTo>
                      <a:pt x="2621" y="1724"/>
                    </a:lnTo>
                    <a:lnTo>
                      <a:pt x="2602" y="1737"/>
                    </a:lnTo>
                    <a:lnTo>
                      <a:pt x="2582" y="1744"/>
                    </a:lnTo>
                    <a:lnTo>
                      <a:pt x="2574" y="1750"/>
                    </a:lnTo>
                    <a:lnTo>
                      <a:pt x="2574" y="1760"/>
                    </a:lnTo>
                    <a:lnTo>
                      <a:pt x="2576" y="1772"/>
                    </a:lnTo>
                    <a:lnTo>
                      <a:pt x="2573" y="1786"/>
                    </a:lnTo>
                    <a:lnTo>
                      <a:pt x="2566" y="1794"/>
                    </a:lnTo>
                    <a:lnTo>
                      <a:pt x="2570" y="1805"/>
                    </a:lnTo>
                    <a:lnTo>
                      <a:pt x="2575" y="1808"/>
                    </a:lnTo>
                    <a:lnTo>
                      <a:pt x="2579" y="1818"/>
                    </a:lnTo>
                    <a:lnTo>
                      <a:pt x="2585" y="1825"/>
                    </a:lnTo>
                    <a:lnTo>
                      <a:pt x="2584" y="1835"/>
                    </a:lnTo>
                    <a:lnTo>
                      <a:pt x="2590" y="1842"/>
                    </a:lnTo>
                    <a:lnTo>
                      <a:pt x="2593" y="1854"/>
                    </a:lnTo>
                    <a:lnTo>
                      <a:pt x="2595" y="1873"/>
                    </a:lnTo>
                    <a:lnTo>
                      <a:pt x="2590" y="1900"/>
                    </a:lnTo>
                    <a:lnTo>
                      <a:pt x="2576" y="1911"/>
                    </a:lnTo>
                    <a:lnTo>
                      <a:pt x="2547" y="1948"/>
                    </a:lnTo>
                    <a:lnTo>
                      <a:pt x="2544" y="1954"/>
                    </a:lnTo>
                    <a:lnTo>
                      <a:pt x="2544" y="1969"/>
                    </a:lnTo>
                    <a:lnTo>
                      <a:pt x="2541" y="1988"/>
                    </a:lnTo>
                    <a:lnTo>
                      <a:pt x="2525" y="2013"/>
                    </a:lnTo>
                    <a:lnTo>
                      <a:pt x="2515" y="2023"/>
                    </a:lnTo>
                    <a:lnTo>
                      <a:pt x="2499" y="2031"/>
                    </a:lnTo>
                    <a:lnTo>
                      <a:pt x="2490" y="2042"/>
                    </a:lnTo>
                    <a:lnTo>
                      <a:pt x="2462" y="2053"/>
                    </a:lnTo>
                    <a:lnTo>
                      <a:pt x="2457" y="2061"/>
                    </a:lnTo>
                    <a:lnTo>
                      <a:pt x="2465" y="2078"/>
                    </a:lnTo>
                    <a:lnTo>
                      <a:pt x="2458" y="2098"/>
                    </a:lnTo>
                    <a:lnTo>
                      <a:pt x="2445" y="2103"/>
                    </a:lnTo>
                    <a:lnTo>
                      <a:pt x="2407" y="2085"/>
                    </a:lnTo>
                    <a:lnTo>
                      <a:pt x="2387" y="2083"/>
                    </a:lnTo>
                    <a:lnTo>
                      <a:pt x="2374" y="2087"/>
                    </a:lnTo>
                    <a:lnTo>
                      <a:pt x="2363" y="2088"/>
                    </a:lnTo>
                    <a:lnTo>
                      <a:pt x="2338" y="2083"/>
                    </a:lnTo>
                    <a:lnTo>
                      <a:pt x="2334" y="2080"/>
                    </a:lnTo>
                    <a:lnTo>
                      <a:pt x="2334" y="2071"/>
                    </a:lnTo>
                    <a:lnTo>
                      <a:pt x="2337" y="2064"/>
                    </a:lnTo>
                    <a:lnTo>
                      <a:pt x="2334" y="2040"/>
                    </a:lnTo>
                    <a:lnTo>
                      <a:pt x="2321" y="2037"/>
                    </a:lnTo>
                    <a:lnTo>
                      <a:pt x="2318" y="2030"/>
                    </a:lnTo>
                    <a:lnTo>
                      <a:pt x="2321" y="2026"/>
                    </a:lnTo>
                    <a:lnTo>
                      <a:pt x="2332" y="2021"/>
                    </a:lnTo>
                    <a:lnTo>
                      <a:pt x="2343" y="2030"/>
                    </a:lnTo>
                    <a:lnTo>
                      <a:pt x="2347" y="2037"/>
                    </a:lnTo>
                    <a:lnTo>
                      <a:pt x="2360" y="2037"/>
                    </a:lnTo>
                    <a:lnTo>
                      <a:pt x="2366" y="2028"/>
                    </a:lnTo>
                    <a:lnTo>
                      <a:pt x="2375" y="2028"/>
                    </a:lnTo>
                    <a:lnTo>
                      <a:pt x="2385" y="2012"/>
                    </a:lnTo>
                    <a:lnTo>
                      <a:pt x="2393" y="2018"/>
                    </a:lnTo>
                    <a:lnTo>
                      <a:pt x="2407" y="2012"/>
                    </a:lnTo>
                    <a:lnTo>
                      <a:pt x="2409" y="2005"/>
                    </a:lnTo>
                    <a:lnTo>
                      <a:pt x="2415" y="2003"/>
                    </a:lnTo>
                    <a:lnTo>
                      <a:pt x="2424" y="2004"/>
                    </a:lnTo>
                    <a:lnTo>
                      <a:pt x="2439" y="2001"/>
                    </a:lnTo>
                    <a:lnTo>
                      <a:pt x="2445" y="1992"/>
                    </a:lnTo>
                    <a:lnTo>
                      <a:pt x="2439" y="1983"/>
                    </a:lnTo>
                    <a:lnTo>
                      <a:pt x="2422" y="1983"/>
                    </a:lnTo>
                    <a:lnTo>
                      <a:pt x="2415" y="1988"/>
                    </a:lnTo>
                    <a:lnTo>
                      <a:pt x="2407" y="1982"/>
                    </a:lnTo>
                    <a:lnTo>
                      <a:pt x="2408" y="1969"/>
                    </a:lnTo>
                    <a:lnTo>
                      <a:pt x="2428" y="1981"/>
                    </a:lnTo>
                    <a:lnTo>
                      <a:pt x="2449" y="1977"/>
                    </a:lnTo>
                    <a:lnTo>
                      <a:pt x="2451" y="1974"/>
                    </a:lnTo>
                    <a:lnTo>
                      <a:pt x="2452" y="1956"/>
                    </a:lnTo>
                    <a:lnTo>
                      <a:pt x="2461" y="1956"/>
                    </a:lnTo>
                    <a:lnTo>
                      <a:pt x="2468" y="1947"/>
                    </a:lnTo>
                    <a:lnTo>
                      <a:pt x="2469" y="1937"/>
                    </a:lnTo>
                    <a:lnTo>
                      <a:pt x="2474" y="1924"/>
                    </a:lnTo>
                    <a:lnTo>
                      <a:pt x="2477" y="1915"/>
                    </a:lnTo>
                    <a:lnTo>
                      <a:pt x="2494" y="1906"/>
                    </a:lnTo>
                    <a:lnTo>
                      <a:pt x="2503" y="1895"/>
                    </a:lnTo>
                    <a:lnTo>
                      <a:pt x="2499" y="1888"/>
                    </a:lnTo>
                    <a:lnTo>
                      <a:pt x="2504" y="1878"/>
                    </a:lnTo>
                    <a:lnTo>
                      <a:pt x="2501" y="1843"/>
                    </a:lnTo>
                    <a:lnTo>
                      <a:pt x="2501" y="1832"/>
                    </a:lnTo>
                    <a:lnTo>
                      <a:pt x="2506" y="1815"/>
                    </a:lnTo>
                    <a:lnTo>
                      <a:pt x="2521" y="1792"/>
                    </a:lnTo>
                    <a:lnTo>
                      <a:pt x="2520" y="1762"/>
                    </a:lnTo>
                    <a:lnTo>
                      <a:pt x="2490" y="1735"/>
                    </a:lnTo>
                    <a:lnTo>
                      <a:pt x="2468" y="1701"/>
                    </a:lnTo>
                    <a:lnTo>
                      <a:pt x="2468" y="1684"/>
                    </a:lnTo>
                    <a:lnTo>
                      <a:pt x="2472" y="1670"/>
                    </a:lnTo>
                    <a:lnTo>
                      <a:pt x="2473" y="1657"/>
                    </a:lnTo>
                    <a:lnTo>
                      <a:pt x="2471" y="1643"/>
                    </a:lnTo>
                    <a:lnTo>
                      <a:pt x="2478" y="1630"/>
                    </a:lnTo>
                    <a:lnTo>
                      <a:pt x="2473" y="1606"/>
                    </a:lnTo>
                    <a:lnTo>
                      <a:pt x="2479" y="1592"/>
                    </a:lnTo>
                    <a:lnTo>
                      <a:pt x="2479" y="1571"/>
                    </a:lnTo>
                    <a:lnTo>
                      <a:pt x="2476" y="1565"/>
                    </a:lnTo>
                    <a:lnTo>
                      <a:pt x="2476" y="1558"/>
                    </a:lnTo>
                    <a:lnTo>
                      <a:pt x="2473" y="1555"/>
                    </a:lnTo>
                    <a:lnTo>
                      <a:pt x="2472" y="1545"/>
                    </a:lnTo>
                    <a:lnTo>
                      <a:pt x="2474" y="1530"/>
                    </a:lnTo>
                    <a:lnTo>
                      <a:pt x="2473" y="1524"/>
                    </a:lnTo>
                    <a:lnTo>
                      <a:pt x="2467" y="1518"/>
                    </a:lnTo>
                    <a:lnTo>
                      <a:pt x="2465" y="1504"/>
                    </a:lnTo>
                    <a:lnTo>
                      <a:pt x="2469" y="1492"/>
                    </a:lnTo>
                    <a:lnTo>
                      <a:pt x="2482" y="1482"/>
                    </a:lnTo>
                    <a:lnTo>
                      <a:pt x="2483" y="1475"/>
                    </a:lnTo>
                    <a:lnTo>
                      <a:pt x="2480" y="1442"/>
                    </a:lnTo>
                    <a:lnTo>
                      <a:pt x="2485" y="1427"/>
                    </a:lnTo>
                    <a:lnTo>
                      <a:pt x="2485" y="1406"/>
                    </a:lnTo>
                    <a:lnTo>
                      <a:pt x="2471" y="1373"/>
                    </a:lnTo>
                    <a:lnTo>
                      <a:pt x="2473" y="1350"/>
                    </a:lnTo>
                    <a:lnTo>
                      <a:pt x="2453" y="1334"/>
                    </a:lnTo>
                    <a:lnTo>
                      <a:pt x="2442" y="1321"/>
                    </a:lnTo>
                    <a:lnTo>
                      <a:pt x="2429" y="1297"/>
                    </a:lnTo>
                    <a:lnTo>
                      <a:pt x="2430" y="1283"/>
                    </a:lnTo>
                    <a:lnTo>
                      <a:pt x="2431" y="1281"/>
                    </a:lnTo>
                    <a:lnTo>
                      <a:pt x="2447" y="1271"/>
                    </a:lnTo>
                    <a:lnTo>
                      <a:pt x="2450" y="1260"/>
                    </a:lnTo>
                    <a:lnTo>
                      <a:pt x="2457" y="1250"/>
                    </a:lnTo>
                    <a:lnTo>
                      <a:pt x="2457" y="1243"/>
                    </a:lnTo>
                    <a:lnTo>
                      <a:pt x="2456" y="1233"/>
                    </a:lnTo>
                    <a:lnTo>
                      <a:pt x="2465" y="1217"/>
                    </a:lnTo>
                    <a:lnTo>
                      <a:pt x="2472" y="1187"/>
                    </a:lnTo>
                    <a:lnTo>
                      <a:pt x="2478" y="1173"/>
                    </a:lnTo>
                    <a:lnTo>
                      <a:pt x="2480" y="1147"/>
                    </a:lnTo>
                    <a:lnTo>
                      <a:pt x="2477" y="1132"/>
                    </a:lnTo>
                    <a:lnTo>
                      <a:pt x="2476" y="1114"/>
                    </a:lnTo>
                    <a:lnTo>
                      <a:pt x="2477" y="1092"/>
                    </a:lnTo>
                    <a:lnTo>
                      <a:pt x="2473" y="1084"/>
                    </a:lnTo>
                    <a:lnTo>
                      <a:pt x="2477" y="1079"/>
                    </a:lnTo>
                    <a:lnTo>
                      <a:pt x="2476" y="1078"/>
                    </a:lnTo>
                    <a:lnTo>
                      <a:pt x="2434" y="1058"/>
                    </a:lnTo>
                    <a:lnTo>
                      <a:pt x="2419" y="1046"/>
                    </a:lnTo>
                    <a:lnTo>
                      <a:pt x="2376" y="1052"/>
                    </a:lnTo>
                    <a:lnTo>
                      <a:pt x="2359" y="1050"/>
                    </a:lnTo>
                    <a:lnTo>
                      <a:pt x="2331" y="1051"/>
                    </a:lnTo>
                    <a:lnTo>
                      <a:pt x="2318" y="1045"/>
                    </a:lnTo>
                    <a:lnTo>
                      <a:pt x="2326" y="1038"/>
                    </a:lnTo>
                    <a:lnTo>
                      <a:pt x="2297" y="1040"/>
                    </a:lnTo>
                    <a:lnTo>
                      <a:pt x="2293" y="1050"/>
                    </a:lnTo>
                    <a:lnTo>
                      <a:pt x="2293" y="1056"/>
                    </a:lnTo>
                    <a:lnTo>
                      <a:pt x="2288" y="1071"/>
                    </a:lnTo>
                    <a:lnTo>
                      <a:pt x="2279" y="1084"/>
                    </a:lnTo>
                    <a:lnTo>
                      <a:pt x="2273" y="1103"/>
                    </a:lnTo>
                    <a:lnTo>
                      <a:pt x="2265" y="1143"/>
                    </a:lnTo>
                    <a:lnTo>
                      <a:pt x="2261" y="1164"/>
                    </a:lnTo>
                    <a:lnTo>
                      <a:pt x="2254" y="1176"/>
                    </a:lnTo>
                    <a:lnTo>
                      <a:pt x="2248" y="1228"/>
                    </a:lnTo>
                    <a:lnTo>
                      <a:pt x="2243" y="1246"/>
                    </a:lnTo>
                    <a:lnTo>
                      <a:pt x="2225" y="1282"/>
                    </a:lnTo>
                    <a:lnTo>
                      <a:pt x="2204" y="1305"/>
                    </a:lnTo>
                    <a:lnTo>
                      <a:pt x="2186" y="1323"/>
                    </a:lnTo>
                    <a:lnTo>
                      <a:pt x="2159" y="1336"/>
                    </a:lnTo>
                    <a:lnTo>
                      <a:pt x="2152" y="1369"/>
                    </a:lnTo>
                    <a:lnTo>
                      <a:pt x="2152" y="1374"/>
                    </a:lnTo>
                    <a:lnTo>
                      <a:pt x="2156" y="1375"/>
                    </a:lnTo>
                    <a:lnTo>
                      <a:pt x="2167" y="1358"/>
                    </a:lnTo>
                    <a:lnTo>
                      <a:pt x="2171" y="1361"/>
                    </a:lnTo>
                    <a:lnTo>
                      <a:pt x="2171" y="1375"/>
                    </a:lnTo>
                    <a:lnTo>
                      <a:pt x="2166" y="1385"/>
                    </a:lnTo>
                    <a:lnTo>
                      <a:pt x="2148" y="1397"/>
                    </a:lnTo>
                    <a:lnTo>
                      <a:pt x="2143" y="1415"/>
                    </a:lnTo>
                    <a:lnTo>
                      <a:pt x="2149" y="1428"/>
                    </a:lnTo>
                    <a:lnTo>
                      <a:pt x="2162" y="1422"/>
                    </a:lnTo>
                    <a:lnTo>
                      <a:pt x="2171" y="1415"/>
                    </a:lnTo>
                    <a:lnTo>
                      <a:pt x="2186" y="1416"/>
                    </a:lnTo>
                    <a:lnTo>
                      <a:pt x="2192" y="1432"/>
                    </a:lnTo>
                    <a:lnTo>
                      <a:pt x="2187" y="1445"/>
                    </a:lnTo>
                    <a:lnTo>
                      <a:pt x="2187" y="1487"/>
                    </a:lnTo>
                    <a:lnTo>
                      <a:pt x="2178" y="1499"/>
                    </a:lnTo>
                    <a:lnTo>
                      <a:pt x="2181" y="1522"/>
                    </a:lnTo>
                    <a:lnTo>
                      <a:pt x="2187" y="1534"/>
                    </a:lnTo>
                    <a:lnTo>
                      <a:pt x="2181" y="1550"/>
                    </a:lnTo>
                    <a:lnTo>
                      <a:pt x="2170" y="1550"/>
                    </a:lnTo>
                    <a:lnTo>
                      <a:pt x="2164" y="1540"/>
                    </a:lnTo>
                    <a:lnTo>
                      <a:pt x="2161" y="1563"/>
                    </a:lnTo>
                    <a:lnTo>
                      <a:pt x="2161" y="1606"/>
                    </a:lnTo>
                    <a:lnTo>
                      <a:pt x="2168" y="1621"/>
                    </a:lnTo>
                    <a:lnTo>
                      <a:pt x="2168" y="1606"/>
                    </a:lnTo>
                    <a:lnTo>
                      <a:pt x="2182" y="1601"/>
                    </a:lnTo>
                    <a:lnTo>
                      <a:pt x="2205" y="1616"/>
                    </a:lnTo>
                    <a:lnTo>
                      <a:pt x="2218" y="1628"/>
                    </a:lnTo>
                    <a:lnTo>
                      <a:pt x="2225" y="1625"/>
                    </a:lnTo>
                    <a:lnTo>
                      <a:pt x="2230" y="1625"/>
                    </a:lnTo>
                    <a:lnTo>
                      <a:pt x="2227" y="1647"/>
                    </a:lnTo>
                    <a:lnTo>
                      <a:pt x="2236" y="1671"/>
                    </a:lnTo>
                    <a:lnTo>
                      <a:pt x="2243" y="1686"/>
                    </a:lnTo>
                    <a:lnTo>
                      <a:pt x="2251" y="1706"/>
                    </a:lnTo>
                    <a:lnTo>
                      <a:pt x="2267" y="1717"/>
                    </a:lnTo>
                    <a:lnTo>
                      <a:pt x="2279" y="1713"/>
                    </a:lnTo>
                    <a:lnTo>
                      <a:pt x="2279" y="1719"/>
                    </a:lnTo>
                    <a:lnTo>
                      <a:pt x="2285" y="1727"/>
                    </a:lnTo>
                    <a:lnTo>
                      <a:pt x="2274" y="1743"/>
                    </a:lnTo>
                    <a:lnTo>
                      <a:pt x="2264" y="1776"/>
                    </a:lnTo>
                    <a:lnTo>
                      <a:pt x="2256" y="1799"/>
                    </a:lnTo>
                    <a:lnTo>
                      <a:pt x="2253" y="1811"/>
                    </a:lnTo>
                    <a:lnTo>
                      <a:pt x="2238" y="1822"/>
                    </a:lnTo>
                    <a:lnTo>
                      <a:pt x="2234" y="1814"/>
                    </a:lnTo>
                    <a:lnTo>
                      <a:pt x="2235" y="1800"/>
                    </a:lnTo>
                    <a:lnTo>
                      <a:pt x="2225" y="1787"/>
                    </a:lnTo>
                    <a:lnTo>
                      <a:pt x="2207" y="1776"/>
                    </a:lnTo>
                    <a:lnTo>
                      <a:pt x="2172" y="1733"/>
                    </a:lnTo>
                    <a:lnTo>
                      <a:pt x="2161" y="1724"/>
                    </a:lnTo>
                    <a:lnTo>
                      <a:pt x="2144" y="1721"/>
                    </a:lnTo>
                    <a:lnTo>
                      <a:pt x="2119" y="1701"/>
                    </a:lnTo>
                    <a:lnTo>
                      <a:pt x="2092" y="1691"/>
                    </a:lnTo>
                    <a:lnTo>
                      <a:pt x="2094" y="1682"/>
                    </a:lnTo>
                    <a:lnTo>
                      <a:pt x="2101" y="1682"/>
                    </a:lnTo>
                    <a:lnTo>
                      <a:pt x="2097" y="1679"/>
                    </a:lnTo>
                    <a:lnTo>
                      <a:pt x="2079" y="1675"/>
                    </a:lnTo>
                    <a:lnTo>
                      <a:pt x="2057" y="1658"/>
                    </a:lnTo>
                    <a:lnTo>
                      <a:pt x="2043" y="1652"/>
                    </a:lnTo>
                    <a:lnTo>
                      <a:pt x="2011" y="1622"/>
                    </a:lnTo>
                    <a:lnTo>
                      <a:pt x="1993" y="1617"/>
                    </a:lnTo>
                    <a:lnTo>
                      <a:pt x="1965" y="1603"/>
                    </a:lnTo>
                    <a:lnTo>
                      <a:pt x="1956" y="1603"/>
                    </a:lnTo>
                    <a:lnTo>
                      <a:pt x="1936" y="1589"/>
                    </a:lnTo>
                    <a:lnTo>
                      <a:pt x="1922" y="1590"/>
                    </a:lnTo>
                    <a:lnTo>
                      <a:pt x="1869" y="1587"/>
                    </a:lnTo>
                    <a:lnTo>
                      <a:pt x="1865" y="1581"/>
                    </a:lnTo>
                    <a:lnTo>
                      <a:pt x="1848" y="1573"/>
                    </a:lnTo>
                    <a:lnTo>
                      <a:pt x="1834" y="1573"/>
                    </a:lnTo>
                    <a:lnTo>
                      <a:pt x="1829" y="1577"/>
                    </a:lnTo>
                    <a:lnTo>
                      <a:pt x="1828" y="1587"/>
                    </a:lnTo>
                    <a:lnTo>
                      <a:pt x="1823" y="1595"/>
                    </a:lnTo>
                    <a:lnTo>
                      <a:pt x="1802" y="1609"/>
                    </a:lnTo>
                    <a:lnTo>
                      <a:pt x="1804" y="1617"/>
                    </a:lnTo>
                    <a:lnTo>
                      <a:pt x="1810" y="1635"/>
                    </a:lnTo>
                    <a:lnTo>
                      <a:pt x="1823" y="1655"/>
                    </a:lnTo>
                    <a:lnTo>
                      <a:pt x="1833" y="1690"/>
                    </a:lnTo>
                    <a:lnTo>
                      <a:pt x="1832" y="1682"/>
                    </a:lnTo>
                    <a:lnTo>
                      <a:pt x="1837" y="1684"/>
                    </a:lnTo>
                    <a:lnTo>
                      <a:pt x="1832" y="1718"/>
                    </a:lnTo>
                    <a:lnTo>
                      <a:pt x="1829" y="1724"/>
                    </a:lnTo>
                    <a:lnTo>
                      <a:pt x="1810" y="1746"/>
                    </a:lnTo>
                    <a:lnTo>
                      <a:pt x="1779" y="1750"/>
                    </a:lnTo>
                    <a:lnTo>
                      <a:pt x="1778" y="1765"/>
                    </a:lnTo>
                    <a:lnTo>
                      <a:pt x="1783" y="1773"/>
                    </a:lnTo>
                    <a:lnTo>
                      <a:pt x="1784" y="1783"/>
                    </a:lnTo>
                    <a:lnTo>
                      <a:pt x="1773" y="1799"/>
                    </a:lnTo>
                    <a:lnTo>
                      <a:pt x="1761" y="1805"/>
                    </a:lnTo>
                    <a:lnTo>
                      <a:pt x="1747" y="1798"/>
                    </a:lnTo>
                    <a:lnTo>
                      <a:pt x="1736" y="1787"/>
                    </a:lnTo>
                    <a:lnTo>
                      <a:pt x="1736" y="1770"/>
                    </a:lnTo>
                    <a:lnTo>
                      <a:pt x="1741" y="1759"/>
                    </a:lnTo>
                    <a:lnTo>
                      <a:pt x="1747" y="1750"/>
                    </a:lnTo>
                    <a:lnTo>
                      <a:pt x="1754" y="1745"/>
                    </a:lnTo>
                    <a:lnTo>
                      <a:pt x="1732" y="1713"/>
                    </a:lnTo>
                    <a:lnTo>
                      <a:pt x="1735" y="1705"/>
                    </a:lnTo>
                    <a:lnTo>
                      <a:pt x="1724" y="1703"/>
                    </a:lnTo>
                    <a:lnTo>
                      <a:pt x="1684" y="1721"/>
                    </a:lnTo>
                    <a:lnTo>
                      <a:pt x="1675" y="1737"/>
                    </a:lnTo>
                    <a:lnTo>
                      <a:pt x="1660" y="1743"/>
                    </a:lnTo>
                    <a:lnTo>
                      <a:pt x="1640" y="1773"/>
                    </a:lnTo>
                    <a:lnTo>
                      <a:pt x="1628" y="1775"/>
                    </a:lnTo>
                    <a:lnTo>
                      <a:pt x="1622" y="1766"/>
                    </a:lnTo>
                    <a:lnTo>
                      <a:pt x="1606" y="1762"/>
                    </a:lnTo>
                    <a:lnTo>
                      <a:pt x="1587" y="1767"/>
                    </a:lnTo>
                    <a:lnTo>
                      <a:pt x="1570" y="1757"/>
                    </a:lnTo>
                    <a:lnTo>
                      <a:pt x="1547" y="1772"/>
                    </a:lnTo>
                    <a:lnTo>
                      <a:pt x="1536" y="1771"/>
                    </a:lnTo>
                    <a:lnTo>
                      <a:pt x="1512" y="1792"/>
                    </a:lnTo>
                    <a:lnTo>
                      <a:pt x="1508" y="1802"/>
                    </a:lnTo>
                    <a:lnTo>
                      <a:pt x="1506" y="1822"/>
                    </a:lnTo>
                    <a:lnTo>
                      <a:pt x="1504" y="1831"/>
                    </a:lnTo>
                    <a:lnTo>
                      <a:pt x="1495" y="1831"/>
                    </a:lnTo>
                    <a:lnTo>
                      <a:pt x="1487" y="1824"/>
                    </a:lnTo>
                    <a:lnTo>
                      <a:pt x="1478" y="1813"/>
                    </a:lnTo>
                    <a:lnTo>
                      <a:pt x="1474" y="1816"/>
                    </a:lnTo>
                    <a:lnTo>
                      <a:pt x="1467" y="1821"/>
                    </a:lnTo>
                    <a:lnTo>
                      <a:pt x="1456" y="1807"/>
                    </a:lnTo>
                    <a:lnTo>
                      <a:pt x="1456" y="1779"/>
                    </a:lnTo>
                    <a:lnTo>
                      <a:pt x="1450" y="1773"/>
                    </a:lnTo>
                    <a:lnTo>
                      <a:pt x="1450" y="1766"/>
                    </a:lnTo>
                    <a:lnTo>
                      <a:pt x="1457" y="1751"/>
                    </a:lnTo>
                    <a:lnTo>
                      <a:pt x="1458" y="1737"/>
                    </a:lnTo>
                    <a:lnTo>
                      <a:pt x="1452" y="1724"/>
                    </a:lnTo>
                    <a:lnTo>
                      <a:pt x="1447" y="1722"/>
                    </a:lnTo>
                    <a:lnTo>
                      <a:pt x="1446" y="1730"/>
                    </a:lnTo>
                    <a:lnTo>
                      <a:pt x="1442" y="1730"/>
                    </a:lnTo>
                    <a:lnTo>
                      <a:pt x="1444" y="1721"/>
                    </a:lnTo>
                    <a:lnTo>
                      <a:pt x="1451" y="1716"/>
                    </a:lnTo>
                    <a:lnTo>
                      <a:pt x="1477" y="1713"/>
                    </a:lnTo>
                    <a:lnTo>
                      <a:pt x="1488" y="1707"/>
                    </a:lnTo>
                    <a:lnTo>
                      <a:pt x="1490" y="1705"/>
                    </a:lnTo>
                    <a:lnTo>
                      <a:pt x="1484" y="1707"/>
                    </a:lnTo>
                    <a:lnTo>
                      <a:pt x="1467" y="1712"/>
                    </a:lnTo>
                    <a:lnTo>
                      <a:pt x="1460" y="1711"/>
                    </a:lnTo>
                    <a:lnTo>
                      <a:pt x="1445" y="1712"/>
                    </a:lnTo>
                    <a:lnTo>
                      <a:pt x="1423" y="1723"/>
                    </a:lnTo>
                    <a:lnTo>
                      <a:pt x="1424" y="1730"/>
                    </a:lnTo>
                    <a:lnTo>
                      <a:pt x="1415" y="1734"/>
                    </a:lnTo>
                    <a:lnTo>
                      <a:pt x="1413" y="1738"/>
                    </a:lnTo>
                    <a:lnTo>
                      <a:pt x="1417" y="1751"/>
                    </a:lnTo>
                    <a:lnTo>
                      <a:pt x="1417" y="1759"/>
                    </a:lnTo>
                    <a:lnTo>
                      <a:pt x="1406" y="1765"/>
                    </a:lnTo>
                    <a:lnTo>
                      <a:pt x="1397" y="1760"/>
                    </a:lnTo>
                    <a:lnTo>
                      <a:pt x="1393" y="1751"/>
                    </a:lnTo>
                    <a:lnTo>
                      <a:pt x="1398" y="1743"/>
                    </a:lnTo>
                    <a:lnTo>
                      <a:pt x="1391" y="1743"/>
                    </a:lnTo>
                    <a:lnTo>
                      <a:pt x="1369" y="1767"/>
                    </a:lnTo>
                    <a:lnTo>
                      <a:pt x="1377" y="1766"/>
                    </a:lnTo>
                    <a:lnTo>
                      <a:pt x="1381" y="1775"/>
                    </a:lnTo>
                    <a:lnTo>
                      <a:pt x="1381" y="1783"/>
                    </a:lnTo>
                    <a:lnTo>
                      <a:pt x="1380" y="1793"/>
                    </a:lnTo>
                    <a:lnTo>
                      <a:pt x="1371" y="1800"/>
                    </a:lnTo>
                    <a:lnTo>
                      <a:pt x="1366" y="1803"/>
                    </a:lnTo>
                    <a:lnTo>
                      <a:pt x="1361" y="1789"/>
                    </a:lnTo>
                    <a:lnTo>
                      <a:pt x="1354" y="1777"/>
                    </a:lnTo>
                    <a:lnTo>
                      <a:pt x="1326" y="1786"/>
                    </a:lnTo>
                    <a:lnTo>
                      <a:pt x="1328" y="1789"/>
                    </a:lnTo>
                    <a:lnTo>
                      <a:pt x="1291" y="1807"/>
                    </a:lnTo>
                    <a:lnTo>
                      <a:pt x="1288" y="1804"/>
                    </a:lnTo>
                    <a:lnTo>
                      <a:pt x="1282" y="1807"/>
                    </a:lnTo>
                    <a:lnTo>
                      <a:pt x="1254" y="1832"/>
                    </a:lnTo>
                    <a:lnTo>
                      <a:pt x="1181" y="1880"/>
                    </a:lnTo>
                    <a:lnTo>
                      <a:pt x="1172" y="1880"/>
                    </a:lnTo>
                    <a:lnTo>
                      <a:pt x="1171" y="1895"/>
                    </a:lnTo>
                    <a:lnTo>
                      <a:pt x="1175" y="1897"/>
                    </a:lnTo>
                    <a:lnTo>
                      <a:pt x="1166" y="1905"/>
                    </a:lnTo>
                    <a:lnTo>
                      <a:pt x="1144" y="1908"/>
                    </a:lnTo>
                    <a:lnTo>
                      <a:pt x="1135" y="1916"/>
                    </a:lnTo>
                    <a:lnTo>
                      <a:pt x="1129" y="1913"/>
                    </a:lnTo>
                    <a:lnTo>
                      <a:pt x="1123" y="1927"/>
                    </a:lnTo>
                    <a:lnTo>
                      <a:pt x="1114" y="1958"/>
                    </a:lnTo>
                    <a:lnTo>
                      <a:pt x="1111" y="1970"/>
                    </a:lnTo>
                    <a:lnTo>
                      <a:pt x="1113" y="1996"/>
                    </a:lnTo>
                    <a:lnTo>
                      <a:pt x="1106" y="2008"/>
                    </a:lnTo>
                    <a:lnTo>
                      <a:pt x="1090" y="2017"/>
                    </a:lnTo>
                    <a:lnTo>
                      <a:pt x="1079" y="2015"/>
                    </a:lnTo>
                    <a:lnTo>
                      <a:pt x="1058" y="2024"/>
                    </a:lnTo>
                    <a:lnTo>
                      <a:pt x="1053" y="2044"/>
                    </a:lnTo>
                    <a:lnTo>
                      <a:pt x="1048" y="2030"/>
                    </a:lnTo>
                    <a:lnTo>
                      <a:pt x="1047" y="2015"/>
                    </a:lnTo>
                    <a:lnTo>
                      <a:pt x="1033" y="2023"/>
                    </a:lnTo>
                    <a:lnTo>
                      <a:pt x="1024" y="2023"/>
                    </a:lnTo>
                    <a:lnTo>
                      <a:pt x="1015" y="2017"/>
                    </a:lnTo>
                    <a:lnTo>
                      <a:pt x="1004" y="1997"/>
                    </a:lnTo>
                    <a:lnTo>
                      <a:pt x="1000" y="1985"/>
                    </a:lnTo>
                    <a:lnTo>
                      <a:pt x="978" y="1960"/>
                    </a:lnTo>
                    <a:lnTo>
                      <a:pt x="968" y="1950"/>
                    </a:lnTo>
                    <a:lnTo>
                      <a:pt x="963" y="1935"/>
                    </a:lnTo>
                    <a:lnTo>
                      <a:pt x="962" y="1921"/>
                    </a:lnTo>
                    <a:lnTo>
                      <a:pt x="973" y="1920"/>
                    </a:lnTo>
                    <a:lnTo>
                      <a:pt x="981" y="1910"/>
                    </a:lnTo>
                    <a:lnTo>
                      <a:pt x="984" y="1896"/>
                    </a:lnTo>
                    <a:lnTo>
                      <a:pt x="999" y="1891"/>
                    </a:lnTo>
                    <a:lnTo>
                      <a:pt x="1054" y="1880"/>
                    </a:lnTo>
                    <a:lnTo>
                      <a:pt x="1046" y="1863"/>
                    </a:lnTo>
                    <a:lnTo>
                      <a:pt x="1044" y="1845"/>
                    </a:lnTo>
                    <a:lnTo>
                      <a:pt x="1041" y="1826"/>
                    </a:lnTo>
                    <a:lnTo>
                      <a:pt x="1031" y="1832"/>
                    </a:lnTo>
                    <a:lnTo>
                      <a:pt x="1021" y="1814"/>
                    </a:lnTo>
                    <a:lnTo>
                      <a:pt x="1015" y="1809"/>
                    </a:lnTo>
                    <a:lnTo>
                      <a:pt x="1015" y="1792"/>
                    </a:lnTo>
                    <a:lnTo>
                      <a:pt x="1004" y="1783"/>
                    </a:lnTo>
                    <a:lnTo>
                      <a:pt x="978" y="1776"/>
                    </a:lnTo>
                    <a:lnTo>
                      <a:pt x="955" y="1776"/>
                    </a:lnTo>
                    <a:lnTo>
                      <a:pt x="930" y="1773"/>
                    </a:lnTo>
                    <a:lnTo>
                      <a:pt x="919" y="1777"/>
                    </a:lnTo>
                    <a:lnTo>
                      <a:pt x="909" y="1775"/>
                    </a:lnTo>
                    <a:lnTo>
                      <a:pt x="868" y="1754"/>
                    </a:lnTo>
                    <a:lnTo>
                      <a:pt x="870" y="1764"/>
                    </a:lnTo>
                    <a:lnTo>
                      <a:pt x="917" y="1805"/>
                    </a:lnTo>
                    <a:lnTo>
                      <a:pt x="917" y="1838"/>
                    </a:lnTo>
                    <a:lnTo>
                      <a:pt x="919" y="1853"/>
                    </a:lnTo>
                    <a:lnTo>
                      <a:pt x="914" y="1873"/>
                    </a:lnTo>
                    <a:lnTo>
                      <a:pt x="915" y="1890"/>
                    </a:lnTo>
                    <a:lnTo>
                      <a:pt x="901" y="1939"/>
                    </a:lnTo>
                    <a:lnTo>
                      <a:pt x="901" y="1953"/>
                    </a:lnTo>
                    <a:lnTo>
                      <a:pt x="902" y="1970"/>
                    </a:lnTo>
                    <a:lnTo>
                      <a:pt x="907" y="1975"/>
                    </a:lnTo>
                    <a:lnTo>
                      <a:pt x="919" y="1975"/>
                    </a:lnTo>
                    <a:lnTo>
                      <a:pt x="929" y="1982"/>
                    </a:lnTo>
                    <a:lnTo>
                      <a:pt x="938" y="2002"/>
                    </a:lnTo>
                    <a:lnTo>
                      <a:pt x="938" y="2013"/>
                    </a:lnTo>
                    <a:lnTo>
                      <a:pt x="933" y="2026"/>
                    </a:lnTo>
                    <a:lnTo>
                      <a:pt x="936" y="2037"/>
                    </a:lnTo>
                    <a:lnTo>
                      <a:pt x="933" y="2056"/>
                    </a:lnTo>
                    <a:lnTo>
                      <a:pt x="922" y="2072"/>
                    </a:lnTo>
                    <a:lnTo>
                      <a:pt x="915" y="2096"/>
                    </a:lnTo>
                    <a:lnTo>
                      <a:pt x="922" y="2114"/>
                    </a:lnTo>
                    <a:lnTo>
                      <a:pt x="918" y="2149"/>
                    </a:lnTo>
                    <a:lnTo>
                      <a:pt x="908" y="2134"/>
                    </a:lnTo>
                    <a:lnTo>
                      <a:pt x="906" y="2123"/>
                    </a:lnTo>
                    <a:lnTo>
                      <a:pt x="898" y="2114"/>
                    </a:lnTo>
                    <a:lnTo>
                      <a:pt x="890" y="2115"/>
                    </a:lnTo>
                    <a:lnTo>
                      <a:pt x="877" y="2126"/>
                    </a:lnTo>
                    <a:lnTo>
                      <a:pt x="885" y="2111"/>
                    </a:lnTo>
                    <a:lnTo>
                      <a:pt x="886" y="2099"/>
                    </a:lnTo>
                    <a:lnTo>
                      <a:pt x="869" y="2085"/>
                    </a:lnTo>
                    <a:lnTo>
                      <a:pt x="860" y="2080"/>
                    </a:lnTo>
                    <a:lnTo>
                      <a:pt x="837" y="2080"/>
                    </a:lnTo>
                    <a:lnTo>
                      <a:pt x="816" y="2062"/>
                    </a:lnTo>
                    <a:lnTo>
                      <a:pt x="807" y="2072"/>
                    </a:lnTo>
                    <a:lnTo>
                      <a:pt x="804" y="2083"/>
                    </a:lnTo>
                    <a:lnTo>
                      <a:pt x="788" y="2099"/>
                    </a:lnTo>
                    <a:lnTo>
                      <a:pt x="779" y="2114"/>
                    </a:lnTo>
                    <a:lnTo>
                      <a:pt x="768" y="2126"/>
                    </a:lnTo>
                    <a:lnTo>
                      <a:pt x="743" y="2136"/>
                    </a:lnTo>
                    <a:lnTo>
                      <a:pt x="735" y="2136"/>
                    </a:lnTo>
                    <a:lnTo>
                      <a:pt x="723" y="2144"/>
                    </a:lnTo>
                    <a:lnTo>
                      <a:pt x="716" y="2159"/>
                    </a:lnTo>
                    <a:lnTo>
                      <a:pt x="704" y="2170"/>
                    </a:lnTo>
                    <a:lnTo>
                      <a:pt x="693" y="2180"/>
                    </a:lnTo>
                    <a:lnTo>
                      <a:pt x="681" y="2184"/>
                    </a:lnTo>
                    <a:lnTo>
                      <a:pt x="681" y="2197"/>
                    </a:lnTo>
                    <a:lnTo>
                      <a:pt x="683" y="2223"/>
                    </a:lnTo>
                    <a:lnTo>
                      <a:pt x="696" y="2246"/>
                    </a:lnTo>
                    <a:lnTo>
                      <a:pt x="707" y="2261"/>
                    </a:lnTo>
                    <a:lnTo>
                      <a:pt x="714" y="2276"/>
                    </a:lnTo>
                    <a:lnTo>
                      <a:pt x="727" y="2308"/>
                    </a:lnTo>
                    <a:lnTo>
                      <a:pt x="730" y="2316"/>
                    </a:lnTo>
                    <a:lnTo>
                      <a:pt x="739" y="2330"/>
                    </a:lnTo>
                    <a:lnTo>
                      <a:pt x="739" y="2336"/>
                    </a:lnTo>
                    <a:lnTo>
                      <a:pt x="720" y="2324"/>
                    </a:lnTo>
                    <a:lnTo>
                      <a:pt x="714" y="2326"/>
                    </a:lnTo>
                    <a:lnTo>
                      <a:pt x="686" y="2315"/>
                    </a:lnTo>
                    <a:lnTo>
                      <a:pt x="687" y="2321"/>
                    </a:lnTo>
                    <a:lnTo>
                      <a:pt x="684" y="2325"/>
                    </a:lnTo>
                    <a:lnTo>
                      <a:pt x="671" y="2322"/>
                    </a:lnTo>
                    <a:lnTo>
                      <a:pt x="653" y="2314"/>
                    </a:lnTo>
                    <a:lnTo>
                      <a:pt x="634" y="2300"/>
                    </a:lnTo>
                    <a:lnTo>
                      <a:pt x="619" y="2298"/>
                    </a:lnTo>
                    <a:lnTo>
                      <a:pt x="610" y="2290"/>
                    </a:lnTo>
                    <a:lnTo>
                      <a:pt x="595" y="2304"/>
                    </a:lnTo>
                    <a:lnTo>
                      <a:pt x="587" y="2317"/>
                    </a:lnTo>
                    <a:lnTo>
                      <a:pt x="584" y="2297"/>
                    </a:lnTo>
                    <a:lnTo>
                      <a:pt x="599" y="2288"/>
                    </a:lnTo>
                    <a:lnTo>
                      <a:pt x="586" y="2283"/>
                    </a:lnTo>
                    <a:lnTo>
                      <a:pt x="570" y="2279"/>
                    </a:lnTo>
                    <a:lnTo>
                      <a:pt x="567" y="2266"/>
                    </a:lnTo>
                    <a:lnTo>
                      <a:pt x="549" y="2255"/>
                    </a:lnTo>
                    <a:lnTo>
                      <a:pt x="531" y="2246"/>
                    </a:lnTo>
                    <a:lnTo>
                      <a:pt x="520" y="2244"/>
                    </a:lnTo>
                    <a:lnTo>
                      <a:pt x="517" y="2265"/>
                    </a:lnTo>
                    <a:lnTo>
                      <a:pt x="509" y="2276"/>
                    </a:lnTo>
                    <a:lnTo>
                      <a:pt x="499" y="2279"/>
                    </a:lnTo>
                    <a:lnTo>
                      <a:pt x="501" y="2289"/>
                    </a:lnTo>
                    <a:lnTo>
                      <a:pt x="508" y="2304"/>
                    </a:lnTo>
                    <a:lnTo>
                      <a:pt x="516" y="2309"/>
                    </a:lnTo>
                    <a:lnTo>
                      <a:pt x="527" y="2332"/>
                    </a:lnTo>
                    <a:lnTo>
                      <a:pt x="543" y="2349"/>
                    </a:lnTo>
                    <a:lnTo>
                      <a:pt x="574" y="2336"/>
                    </a:lnTo>
                    <a:lnTo>
                      <a:pt x="580" y="2352"/>
                    </a:lnTo>
                    <a:lnTo>
                      <a:pt x="587" y="2399"/>
                    </a:lnTo>
                    <a:lnTo>
                      <a:pt x="592" y="2407"/>
                    </a:lnTo>
                    <a:lnTo>
                      <a:pt x="575" y="2400"/>
                    </a:lnTo>
                    <a:lnTo>
                      <a:pt x="560" y="2410"/>
                    </a:lnTo>
                    <a:lnTo>
                      <a:pt x="557" y="2417"/>
                    </a:lnTo>
                    <a:lnTo>
                      <a:pt x="557" y="2421"/>
                    </a:lnTo>
                    <a:lnTo>
                      <a:pt x="543" y="2413"/>
                    </a:lnTo>
                    <a:lnTo>
                      <a:pt x="533" y="2411"/>
                    </a:lnTo>
                    <a:lnTo>
                      <a:pt x="501" y="2395"/>
                    </a:lnTo>
                    <a:lnTo>
                      <a:pt x="484" y="2390"/>
                    </a:lnTo>
                    <a:lnTo>
                      <a:pt x="482" y="2383"/>
                    </a:lnTo>
                    <a:lnTo>
                      <a:pt x="474" y="2372"/>
                    </a:lnTo>
                    <a:lnTo>
                      <a:pt x="466" y="2364"/>
                    </a:lnTo>
                    <a:lnTo>
                      <a:pt x="460" y="2354"/>
                    </a:lnTo>
                    <a:lnTo>
                      <a:pt x="450" y="2348"/>
                    </a:lnTo>
                    <a:lnTo>
                      <a:pt x="444" y="2354"/>
                    </a:lnTo>
                    <a:lnTo>
                      <a:pt x="433" y="2356"/>
                    </a:lnTo>
                    <a:lnTo>
                      <a:pt x="415" y="2342"/>
                    </a:lnTo>
                    <a:lnTo>
                      <a:pt x="409" y="2330"/>
                    </a:lnTo>
                    <a:lnTo>
                      <a:pt x="396" y="2337"/>
                    </a:lnTo>
                    <a:lnTo>
                      <a:pt x="398" y="2329"/>
                    </a:lnTo>
                    <a:lnTo>
                      <a:pt x="408" y="2319"/>
                    </a:lnTo>
                    <a:lnTo>
                      <a:pt x="406" y="2299"/>
                    </a:lnTo>
                    <a:lnTo>
                      <a:pt x="408" y="2282"/>
                    </a:lnTo>
                    <a:lnTo>
                      <a:pt x="397" y="2272"/>
                    </a:lnTo>
                    <a:lnTo>
                      <a:pt x="398" y="2257"/>
                    </a:lnTo>
                    <a:lnTo>
                      <a:pt x="380" y="2222"/>
                    </a:lnTo>
                    <a:lnTo>
                      <a:pt x="385" y="2213"/>
                    </a:lnTo>
                    <a:lnTo>
                      <a:pt x="398" y="2209"/>
                    </a:lnTo>
                    <a:lnTo>
                      <a:pt x="402" y="2187"/>
                    </a:lnTo>
                    <a:lnTo>
                      <a:pt x="404" y="2161"/>
                    </a:lnTo>
                    <a:lnTo>
                      <a:pt x="402" y="2150"/>
                    </a:lnTo>
                    <a:lnTo>
                      <a:pt x="395" y="2142"/>
                    </a:lnTo>
                    <a:lnTo>
                      <a:pt x="388" y="2122"/>
                    </a:lnTo>
                    <a:lnTo>
                      <a:pt x="384" y="2116"/>
                    </a:lnTo>
                    <a:lnTo>
                      <a:pt x="368" y="2114"/>
                    </a:lnTo>
                    <a:lnTo>
                      <a:pt x="363" y="2101"/>
                    </a:lnTo>
                    <a:lnTo>
                      <a:pt x="353" y="2100"/>
                    </a:lnTo>
                    <a:lnTo>
                      <a:pt x="336" y="2094"/>
                    </a:lnTo>
                    <a:lnTo>
                      <a:pt x="336" y="2087"/>
                    </a:lnTo>
                    <a:lnTo>
                      <a:pt x="338" y="2078"/>
                    </a:lnTo>
                    <a:lnTo>
                      <a:pt x="336" y="2073"/>
                    </a:lnTo>
                    <a:lnTo>
                      <a:pt x="318" y="2071"/>
                    </a:lnTo>
                    <a:lnTo>
                      <a:pt x="285" y="2041"/>
                    </a:lnTo>
                    <a:lnTo>
                      <a:pt x="291" y="2035"/>
                    </a:lnTo>
                    <a:lnTo>
                      <a:pt x="275" y="2020"/>
                    </a:lnTo>
                    <a:lnTo>
                      <a:pt x="272" y="2004"/>
                    </a:lnTo>
                    <a:lnTo>
                      <a:pt x="264" y="1992"/>
                    </a:lnTo>
                    <a:lnTo>
                      <a:pt x="248" y="1987"/>
                    </a:lnTo>
                    <a:lnTo>
                      <a:pt x="256" y="1980"/>
                    </a:lnTo>
                    <a:lnTo>
                      <a:pt x="275" y="1976"/>
                    </a:lnTo>
                    <a:lnTo>
                      <a:pt x="295" y="1987"/>
                    </a:lnTo>
                    <a:lnTo>
                      <a:pt x="296" y="1999"/>
                    </a:lnTo>
                    <a:lnTo>
                      <a:pt x="306" y="2013"/>
                    </a:lnTo>
                    <a:lnTo>
                      <a:pt x="334" y="2033"/>
                    </a:lnTo>
                    <a:lnTo>
                      <a:pt x="338" y="2030"/>
                    </a:lnTo>
                    <a:lnTo>
                      <a:pt x="342" y="2020"/>
                    </a:lnTo>
                    <a:lnTo>
                      <a:pt x="350" y="2035"/>
                    </a:lnTo>
                    <a:lnTo>
                      <a:pt x="359" y="2042"/>
                    </a:lnTo>
                    <a:lnTo>
                      <a:pt x="365" y="2036"/>
                    </a:lnTo>
                    <a:lnTo>
                      <a:pt x="370" y="2039"/>
                    </a:lnTo>
                    <a:lnTo>
                      <a:pt x="375" y="2033"/>
                    </a:lnTo>
                    <a:lnTo>
                      <a:pt x="381" y="2034"/>
                    </a:lnTo>
                    <a:lnTo>
                      <a:pt x="384" y="2047"/>
                    </a:lnTo>
                    <a:lnTo>
                      <a:pt x="387" y="2060"/>
                    </a:lnTo>
                    <a:lnTo>
                      <a:pt x="402" y="2053"/>
                    </a:lnTo>
                    <a:lnTo>
                      <a:pt x="420" y="2058"/>
                    </a:lnTo>
                    <a:lnTo>
                      <a:pt x="427" y="2068"/>
                    </a:lnTo>
                    <a:lnTo>
                      <a:pt x="439" y="2068"/>
                    </a:lnTo>
                    <a:lnTo>
                      <a:pt x="447" y="2078"/>
                    </a:lnTo>
                    <a:lnTo>
                      <a:pt x="479" y="2087"/>
                    </a:lnTo>
                    <a:lnTo>
                      <a:pt x="494" y="2094"/>
                    </a:lnTo>
                    <a:lnTo>
                      <a:pt x="522" y="2096"/>
                    </a:lnTo>
                    <a:lnTo>
                      <a:pt x="548" y="2106"/>
                    </a:lnTo>
                    <a:lnTo>
                      <a:pt x="557" y="2116"/>
                    </a:lnTo>
                    <a:lnTo>
                      <a:pt x="576" y="2120"/>
                    </a:lnTo>
                    <a:lnTo>
                      <a:pt x="624" y="2123"/>
                    </a:lnTo>
                    <a:lnTo>
                      <a:pt x="637" y="2117"/>
                    </a:lnTo>
                    <a:lnTo>
                      <a:pt x="649" y="2115"/>
                    </a:lnTo>
                    <a:lnTo>
                      <a:pt x="693" y="2095"/>
                    </a:lnTo>
                    <a:lnTo>
                      <a:pt x="703" y="2085"/>
                    </a:lnTo>
                    <a:lnTo>
                      <a:pt x="712" y="2079"/>
                    </a:lnTo>
                    <a:lnTo>
                      <a:pt x="731" y="2057"/>
                    </a:lnTo>
                    <a:lnTo>
                      <a:pt x="752" y="2023"/>
                    </a:lnTo>
                    <a:lnTo>
                      <a:pt x="761" y="1998"/>
                    </a:lnTo>
                    <a:lnTo>
                      <a:pt x="764" y="1975"/>
                    </a:lnTo>
                    <a:lnTo>
                      <a:pt x="755" y="1970"/>
                    </a:lnTo>
                    <a:lnTo>
                      <a:pt x="752" y="1966"/>
                    </a:lnTo>
                    <a:lnTo>
                      <a:pt x="751" y="1944"/>
                    </a:lnTo>
                    <a:lnTo>
                      <a:pt x="746" y="1929"/>
                    </a:lnTo>
                    <a:lnTo>
                      <a:pt x="746" y="1907"/>
                    </a:lnTo>
                    <a:lnTo>
                      <a:pt x="735" y="1892"/>
                    </a:lnTo>
                    <a:lnTo>
                      <a:pt x="724" y="1886"/>
                    </a:lnTo>
                    <a:lnTo>
                      <a:pt x="718" y="1890"/>
                    </a:lnTo>
                    <a:lnTo>
                      <a:pt x="709" y="1883"/>
                    </a:lnTo>
                    <a:lnTo>
                      <a:pt x="710" y="1873"/>
                    </a:lnTo>
                    <a:lnTo>
                      <a:pt x="704" y="1869"/>
                    </a:lnTo>
                    <a:lnTo>
                      <a:pt x="693" y="1854"/>
                    </a:lnTo>
                    <a:lnTo>
                      <a:pt x="689" y="1845"/>
                    </a:lnTo>
                    <a:lnTo>
                      <a:pt x="683" y="1841"/>
                    </a:lnTo>
                    <a:lnTo>
                      <a:pt x="676" y="1835"/>
                    </a:lnTo>
                    <a:lnTo>
                      <a:pt x="681" y="1848"/>
                    </a:lnTo>
                    <a:lnTo>
                      <a:pt x="672" y="1851"/>
                    </a:lnTo>
                    <a:lnTo>
                      <a:pt x="650" y="1835"/>
                    </a:lnTo>
                    <a:lnTo>
                      <a:pt x="642" y="1825"/>
                    </a:lnTo>
                    <a:lnTo>
                      <a:pt x="639" y="1834"/>
                    </a:lnTo>
                    <a:lnTo>
                      <a:pt x="635" y="1827"/>
                    </a:lnTo>
                    <a:lnTo>
                      <a:pt x="632" y="1815"/>
                    </a:lnTo>
                    <a:lnTo>
                      <a:pt x="619" y="1800"/>
                    </a:lnTo>
                    <a:lnTo>
                      <a:pt x="627" y="1818"/>
                    </a:lnTo>
                    <a:lnTo>
                      <a:pt x="606" y="1811"/>
                    </a:lnTo>
                    <a:lnTo>
                      <a:pt x="599" y="1800"/>
                    </a:lnTo>
                    <a:lnTo>
                      <a:pt x="596" y="1793"/>
                    </a:lnTo>
                    <a:lnTo>
                      <a:pt x="589" y="1783"/>
                    </a:lnTo>
                    <a:lnTo>
                      <a:pt x="558" y="1751"/>
                    </a:lnTo>
                    <a:lnTo>
                      <a:pt x="542" y="1739"/>
                    </a:lnTo>
                    <a:lnTo>
                      <a:pt x="535" y="1730"/>
                    </a:lnTo>
                    <a:lnTo>
                      <a:pt x="509" y="1712"/>
                    </a:lnTo>
                    <a:lnTo>
                      <a:pt x="500" y="1701"/>
                    </a:lnTo>
                    <a:lnTo>
                      <a:pt x="466" y="1682"/>
                    </a:lnTo>
                    <a:lnTo>
                      <a:pt x="461" y="1678"/>
                    </a:lnTo>
                    <a:lnTo>
                      <a:pt x="427" y="1669"/>
                    </a:lnTo>
                    <a:lnTo>
                      <a:pt x="429" y="1675"/>
                    </a:lnTo>
                    <a:lnTo>
                      <a:pt x="427" y="1679"/>
                    </a:lnTo>
                    <a:lnTo>
                      <a:pt x="420" y="1679"/>
                    </a:lnTo>
                    <a:lnTo>
                      <a:pt x="403" y="1670"/>
                    </a:lnTo>
                    <a:lnTo>
                      <a:pt x="369" y="1662"/>
                    </a:lnTo>
                    <a:lnTo>
                      <a:pt x="354" y="1655"/>
                    </a:lnTo>
                    <a:lnTo>
                      <a:pt x="350" y="1662"/>
                    </a:lnTo>
                    <a:lnTo>
                      <a:pt x="333" y="1664"/>
                    </a:lnTo>
                    <a:lnTo>
                      <a:pt x="326" y="1670"/>
                    </a:lnTo>
                    <a:lnTo>
                      <a:pt x="322" y="1660"/>
                    </a:lnTo>
                    <a:lnTo>
                      <a:pt x="317" y="1657"/>
                    </a:lnTo>
                    <a:lnTo>
                      <a:pt x="320" y="1644"/>
                    </a:lnTo>
                    <a:lnTo>
                      <a:pt x="317" y="1641"/>
                    </a:lnTo>
                    <a:lnTo>
                      <a:pt x="299" y="1657"/>
                    </a:lnTo>
                    <a:lnTo>
                      <a:pt x="302" y="1637"/>
                    </a:lnTo>
                    <a:lnTo>
                      <a:pt x="293" y="1644"/>
                    </a:lnTo>
                    <a:lnTo>
                      <a:pt x="294" y="1633"/>
                    </a:lnTo>
                    <a:lnTo>
                      <a:pt x="291" y="1632"/>
                    </a:lnTo>
                    <a:lnTo>
                      <a:pt x="283" y="1632"/>
                    </a:lnTo>
                    <a:lnTo>
                      <a:pt x="268" y="1638"/>
                    </a:lnTo>
                    <a:lnTo>
                      <a:pt x="271" y="1631"/>
                    </a:lnTo>
                    <a:lnTo>
                      <a:pt x="269" y="1625"/>
                    </a:lnTo>
                    <a:lnTo>
                      <a:pt x="267" y="1617"/>
                    </a:lnTo>
                    <a:lnTo>
                      <a:pt x="251" y="1619"/>
                    </a:lnTo>
                    <a:lnTo>
                      <a:pt x="257" y="1589"/>
                    </a:lnTo>
                    <a:lnTo>
                      <a:pt x="261" y="1603"/>
                    </a:lnTo>
                    <a:lnTo>
                      <a:pt x="267" y="1606"/>
                    </a:lnTo>
                    <a:lnTo>
                      <a:pt x="273" y="1606"/>
                    </a:lnTo>
                    <a:lnTo>
                      <a:pt x="279" y="1614"/>
                    </a:lnTo>
                    <a:lnTo>
                      <a:pt x="290" y="1612"/>
                    </a:lnTo>
                    <a:lnTo>
                      <a:pt x="299" y="1616"/>
                    </a:lnTo>
                    <a:lnTo>
                      <a:pt x="307" y="1600"/>
                    </a:lnTo>
                    <a:lnTo>
                      <a:pt x="309" y="1589"/>
                    </a:lnTo>
                    <a:lnTo>
                      <a:pt x="290" y="1583"/>
                    </a:lnTo>
                    <a:lnTo>
                      <a:pt x="283" y="1585"/>
                    </a:lnTo>
                    <a:lnTo>
                      <a:pt x="275" y="1579"/>
                    </a:lnTo>
                    <a:lnTo>
                      <a:pt x="274" y="1573"/>
                    </a:lnTo>
                    <a:lnTo>
                      <a:pt x="259" y="1565"/>
                    </a:lnTo>
                    <a:lnTo>
                      <a:pt x="242" y="1558"/>
                    </a:lnTo>
                    <a:lnTo>
                      <a:pt x="248" y="1567"/>
                    </a:lnTo>
                    <a:lnTo>
                      <a:pt x="247" y="1582"/>
                    </a:lnTo>
                    <a:lnTo>
                      <a:pt x="239" y="1583"/>
                    </a:lnTo>
                    <a:lnTo>
                      <a:pt x="235" y="1579"/>
                    </a:lnTo>
                    <a:lnTo>
                      <a:pt x="232" y="1587"/>
                    </a:lnTo>
                    <a:lnTo>
                      <a:pt x="235" y="1598"/>
                    </a:lnTo>
                    <a:lnTo>
                      <a:pt x="231" y="1604"/>
                    </a:lnTo>
                    <a:lnTo>
                      <a:pt x="221" y="1604"/>
                    </a:lnTo>
                    <a:lnTo>
                      <a:pt x="210" y="1593"/>
                    </a:lnTo>
                    <a:lnTo>
                      <a:pt x="191" y="1583"/>
                    </a:lnTo>
                    <a:lnTo>
                      <a:pt x="189" y="1584"/>
                    </a:lnTo>
                    <a:lnTo>
                      <a:pt x="192" y="1589"/>
                    </a:lnTo>
                    <a:lnTo>
                      <a:pt x="191" y="1600"/>
                    </a:lnTo>
                    <a:lnTo>
                      <a:pt x="187" y="1612"/>
                    </a:lnTo>
                    <a:lnTo>
                      <a:pt x="185" y="1617"/>
                    </a:lnTo>
                    <a:lnTo>
                      <a:pt x="172" y="1621"/>
                    </a:lnTo>
                    <a:lnTo>
                      <a:pt x="150" y="1606"/>
                    </a:lnTo>
                    <a:lnTo>
                      <a:pt x="144" y="1637"/>
                    </a:lnTo>
                    <a:lnTo>
                      <a:pt x="138" y="1644"/>
                    </a:lnTo>
                    <a:lnTo>
                      <a:pt x="106" y="1664"/>
                    </a:lnTo>
                    <a:lnTo>
                      <a:pt x="103" y="1669"/>
                    </a:lnTo>
                    <a:lnTo>
                      <a:pt x="102" y="1680"/>
                    </a:lnTo>
                    <a:lnTo>
                      <a:pt x="101" y="1684"/>
                    </a:lnTo>
                    <a:lnTo>
                      <a:pt x="92" y="1692"/>
                    </a:lnTo>
                    <a:lnTo>
                      <a:pt x="90" y="1694"/>
                    </a:lnTo>
                    <a:lnTo>
                      <a:pt x="59" y="1721"/>
                    </a:lnTo>
                    <a:lnTo>
                      <a:pt x="69" y="1725"/>
                    </a:lnTo>
                    <a:lnTo>
                      <a:pt x="69" y="1730"/>
                    </a:lnTo>
                    <a:lnTo>
                      <a:pt x="58" y="1759"/>
                    </a:lnTo>
                    <a:lnTo>
                      <a:pt x="57" y="1768"/>
                    </a:lnTo>
                    <a:lnTo>
                      <a:pt x="59" y="1794"/>
                    </a:lnTo>
                    <a:lnTo>
                      <a:pt x="64" y="1814"/>
                    </a:lnTo>
                    <a:lnTo>
                      <a:pt x="69" y="1821"/>
                    </a:lnTo>
                    <a:lnTo>
                      <a:pt x="79" y="1827"/>
                    </a:lnTo>
                    <a:lnTo>
                      <a:pt x="92" y="1830"/>
                    </a:lnTo>
                    <a:lnTo>
                      <a:pt x="107" y="1837"/>
                    </a:lnTo>
                    <a:lnTo>
                      <a:pt x="127" y="1875"/>
                    </a:lnTo>
                    <a:lnTo>
                      <a:pt x="137" y="1890"/>
                    </a:lnTo>
                    <a:lnTo>
                      <a:pt x="140" y="1912"/>
                    </a:lnTo>
                    <a:lnTo>
                      <a:pt x="122" y="1949"/>
                    </a:lnTo>
                    <a:lnTo>
                      <a:pt x="103" y="1992"/>
                    </a:lnTo>
                    <a:lnTo>
                      <a:pt x="97" y="2005"/>
                    </a:lnTo>
                    <a:lnTo>
                      <a:pt x="99" y="2026"/>
                    </a:lnTo>
                    <a:lnTo>
                      <a:pt x="108" y="2046"/>
                    </a:lnTo>
                    <a:lnTo>
                      <a:pt x="116" y="2063"/>
                    </a:lnTo>
                    <a:lnTo>
                      <a:pt x="118" y="2082"/>
                    </a:lnTo>
                    <a:lnTo>
                      <a:pt x="133" y="2109"/>
                    </a:lnTo>
                    <a:lnTo>
                      <a:pt x="144" y="2143"/>
                    </a:lnTo>
                    <a:lnTo>
                      <a:pt x="146" y="2160"/>
                    </a:lnTo>
                    <a:lnTo>
                      <a:pt x="148" y="2175"/>
                    </a:lnTo>
                    <a:lnTo>
                      <a:pt x="134" y="2187"/>
                    </a:lnTo>
                    <a:lnTo>
                      <a:pt x="132" y="2209"/>
                    </a:lnTo>
                    <a:lnTo>
                      <a:pt x="127" y="2225"/>
                    </a:lnTo>
                    <a:lnTo>
                      <a:pt x="130" y="2235"/>
                    </a:lnTo>
                    <a:lnTo>
                      <a:pt x="132" y="2254"/>
                    </a:lnTo>
                    <a:lnTo>
                      <a:pt x="126" y="2265"/>
                    </a:lnTo>
                    <a:lnTo>
                      <a:pt x="127" y="2286"/>
                    </a:lnTo>
                    <a:lnTo>
                      <a:pt x="143" y="2289"/>
                    </a:lnTo>
                    <a:lnTo>
                      <a:pt x="151" y="2306"/>
                    </a:lnTo>
                    <a:lnTo>
                      <a:pt x="149" y="2327"/>
                    </a:lnTo>
                    <a:lnTo>
                      <a:pt x="156" y="2343"/>
                    </a:lnTo>
                    <a:lnTo>
                      <a:pt x="172" y="2358"/>
                    </a:lnTo>
                    <a:lnTo>
                      <a:pt x="173" y="2378"/>
                    </a:lnTo>
                    <a:lnTo>
                      <a:pt x="167" y="2396"/>
                    </a:lnTo>
                    <a:lnTo>
                      <a:pt x="157" y="2411"/>
                    </a:lnTo>
                    <a:lnTo>
                      <a:pt x="153" y="2427"/>
                    </a:lnTo>
                    <a:lnTo>
                      <a:pt x="159" y="2445"/>
                    </a:lnTo>
                    <a:lnTo>
                      <a:pt x="167" y="2458"/>
                    </a:lnTo>
                    <a:lnTo>
                      <a:pt x="197" y="2481"/>
                    </a:lnTo>
                    <a:lnTo>
                      <a:pt x="202" y="2498"/>
                    </a:lnTo>
                    <a:lnTo>
                      <a:pt x="212" y="2515"/>
                    </a:lnTo>
                    <a:lnTo>
                      <a:pt x="216" y="2509"/>
                    </a:lnTo>
                    <a:lnTo>
                      <a:pt x="215" y="2548"/>
                    </a:lnTo>
                    <a:lnTo>
                      <a:pt x="199" y="2586"/>
                    </a:lnTo>
                    <a:lnTo>
                      <a:pt x="186" y="2606"/>
                    </a:lnTo>
                    <a:lnTo>
                      <a:pt x="134" y="2675"/>
                    </a:lnTo>
                    <a:lnTo>
                      <a:pt x="96" y="2718"/>
                    </a:lnTo>
                    <a:lnTo>
                      <a:pt x="46" y="2767"/>
                    </a:lnTo>
                    <a:lnTo>
                      <a:pt x="10" y="2794"/>
                    </a:lnTo>
                    <a:lnTo>
                      <a:pt x="33" y="2798"/>
                    </a:lnTo>
                    <a:lnTo>
                      <a:pt x="44" y="2785"/>
                    </a:lnTo>
                    <a:lnTo>
                      <a:pt x="63" y="2776"/>
                    </a:lnTo>
                    <a:lnTo>
                      <a:pt x="64" y="2783"/>
                    </a:lnTo>
                    <a:lnTo>
                      <a:pt x="63" y="2788"/>
                    </a:lnTo>
                    <a:lnTo>
                      <a:pt x="63" y="2805"/>
                    </a:lnTo>
                    <a:lnTo>
                      <a:pt x="58" y="2798"/>
                    </a:lnTo>
                    <a:lnTo>
                      <a:pt x="54" y="2797"/>
                    </a:lnTo>
                    <a:lnTo>
                      <a:pt x="54" y="2811"/>
                    </a:lnTo>
                    <a:lnTo>
                      <a:pt x="59" y="2820"/>
                    </a:lnTo>
                    <a:lnTo>
                      <a:pt x="64" y="2821"/>
                    </a:lnTo>
                    <a:lnTo>
                      <a:pt x="70" y="2824"/>
                    </a:lnTo>
                    <a:lnTo>
                      <a:pt x="87" y="2838"/>
                    </a:lnTo>
                    <a:lnTo>
                      <a:pt x="99" y="2838"/>
                    </a:lnTo>
                    <a:lnTo>
                      <a:pt x="117" y="2833"/>
                    </a:lnTo>
                    <a:lnTo>
                      <a:pt x="128" y="2837"/>
                    </a:lnTo>
                    <a:lnTo>
                      <a:pt x="137" y="2844"/>
                    </a:lnTo>
                    <a:lnTo>
                      <a:pt x="137" y="2854"/>
                    </a:lnTo>
                    <a:lnTo>
                      <a:pt x="143" y="2858"/>
                    </a:lnTo>
                    <a:lnTo>
                      <a:pt x="150" y="2859"/>
                    </a:lnTo>
                    <a:lnTo>
                      <a:pt x="151" y="2863"/>
                    </a:lnTo>
                    <a:lnTo>
                      <a:pt x="145" y="2868"/>
                    </a:lnTo>
                    <a:lnTo>
                      <a:pt x="137" y="2868"/>
                    </a:lnTo>
                    <a:lnTo>
                      <a:pt x="110" y="2860"/>
                    </a:lnTo>
                    <a:lnTo>
                      <a:pt x="91" y="2859"/>
                    </a:lnTo>
                    <a:lnTo>
                      <a:pt x="85" y="2865"/>
                    </a:lnTo>
                    <a:lnTo>
                      <a:pt x="83" y="2873"/>
                    </a:lnTo>
                    <a:lnTo>
                      <a:pt x="68" y="2881"/>
                    </a:lnTo>
                    <a:lnTo>
                      <a:pt x="60" y="2876"/>
                    </a:lnTo>
                    <a:lnTo>
                      <a:pt x="54" y="2879"/>
                    </a:lnTo>
                    <a:lnTo>
                      <a:pt x="51" y="2889"/>
                    </a:lnTo>
                    <a:lnTo>
                      <a:pt x="44" y="2892"/>
                    </a:lnTo>
                    <a:lnTo>
                      <a:pt x="38" y="2886"/>
                    </a:lnTo>
                    <a:lnTo>
                      <a:pt x="31" y="2883"/>
                    </a:lnTo>
                    <a:lnTo>
                      <a:pt x="27" y="2891"/>
                    </a:lnTo>
                    <a:lnTo>
                      <a:pt x="30" y="2907"/>
                    </a:lnTo>
                    <a:lnTo>
                      <a:pt x="37" y="2908"/>
                    </a:lnTo>
                    <a:lnTo>
                      <a:pt x="42" y="2914"/>
                    </a:lnTo>
                    <a:lnTo>
                      <a:pt x="44" y="2922"/>
                    </a:lnTo>
                    <a:lnTo>
                      <a:pt x="41" y="2930"/>
                    </a:lnTo>
                    <a:lnTo>
                      <a:pt x="30" y="2941"/>
                    </a:lnTo>
                    <a:lnTo>
                      <a:pt x="21" y="2956"/>
                    </a:lnTo>
                    <a:lnTo>
                      <a:pt x="15" y="2970"/>
                    </a:lnTo>
                    <a:lnTo>
                      <a:pt x="19" y="2983"/>
                    </a:lnTo>
                    <a:lnTo>
                      <a:pt x="16" y="3002"/>
                    </a:lnTo>
                    <a:lnTo>
                      <a:pt x="17" y="3008"/>
                    </a:lnTo>
                    <a:lnTo>
                      <a:pt x="20" y="3013"/>
                    </a:lnTo>
                    <a:lnTo>
                      <a:pt x="20" y="3019"/>
                    </a:lnTo>
                    <a:lnTo>
                      <a:pt x="17" y="3026"/>
                    </a:lnTo>
                    <a:lnTo>
                      <a:pt x="9" y="3035"/>
                    </a:lnTo>
                    <a:lnTo>
                      <a:pt x="4" y="3038"/>
                    </a:lnTo>
                    <a:lnTo>
                      <a:pt x="1" y="3046"/>
                    </a:lnTo>
                    <a:lnTo>
                      <a:pt x="5" y="3053"/>
                    </a:lnTo>
                    <a:lnTo>
                      <a:pt x="14" y="3054"/>
                    </a:lnTo>
                    <a:lnTo>
                      <a:pt x="27" y="3053"/>
                    </a:lnTo>
                    <a:lnTo>
                      <a:pt x="38" y="3070"/>
                    </a:lnTo>
                    <a:lnTo>
                      <a:pt x="37" y="3086"/>
                    </a:lnTo>
                    <a:lnTo>
                      <a:pt x="27" y="3086"/>
                    </a:lnTo>
                    <a:lnTo>
                      <a:pt x="19" y="3075"/>
                    </a:lnTo>
                    <a:lnTo>
                      <a:pt x="10" y="3068"/>
                    </a:lnTo>
                    <a:lnTo>
                      <a:pt x="10" y="3083"/>
                    </a:lnTo>
                    <a:lnTo>
                      <a:pt x="6" y="3090"/>
                    </a:lnTo>
                    <a:lnTo>
                      <a:pt x="0" y="3105"/>
                    </a:lnTo>
                    <a:lnTo>
                      <a:pt x="1" y="3112"/>
                    </a:lnTo>
                    <a:lnTo>
                      <a:pt x="6" y="3118"/>
                    </a:lnTo>
                    <a:lnTo>
                      <a:pt x="10" y="3126"/>
                    </a:lnTo>
                    <a:lnTo>
                      <a:pt x="17" y="3129"/>
                    </a:lnTo>
                    <a:lnTo>
                      <a:pt x="21" y="3137"/>
                    </a:lnTo>
                    <a:lnTo>
                      <a:pt x="22" y="3145"/>
                    </a:lnTo>
                    <a:lnTo>
                      <a:pt x="17" y="3169"/>
                    </a:lnTo>
                    <a:lnTo>
                      <a:pt x="14" y="3176"/>
                    </a:lnTo>
                    <a:lnTo>
                      <a:pt x="22" y="3179"/>
                    </a:lnTo>
                    <a:lnTo>
                      <a:pt x="29" y="3183"/>
                    </a:lnTo>
                    <a:lnTo>
                      <a:pt x="29" y="3191"/>
                    </a:lnTo>
                    <a:lnTo>
                      <a:pt x="42" y="3213"/>
                    </a:lnTo>
                    <a:lnTo>
                      <a:pt x="44" y="3222"/>
                    </a:lnTo>
                    <a:lnTo>
                      <a:pt x="48" y="3229"/>
                    </a:lnTo>
                    <a:lnTo>
                      <a:pt x="48" y="3245"/>
                    </a:lnTo>
                    <a:lnTo>
                      <a:pt x="47" y="3252"/>
                    </a:lnTo>
                    <a:lnTo>
                      <a:pt x="49" y="3260"/>
                    </a:lnTo>
                    <a:lnTo>
                      <a:pt x="65" y="3257"/>
                    </a:lnTo>
                    <a:lnTo>
                      <a:pt x="73" y="3261"/>
                    </a:lnTo>
                    <a:lnTo>
                      <a:pt x="76" y="3268"/>
                    </a:lnTo>
                    <a:lnTo>
                      <a:pt x="92" y="3266"/>
                    </a:lnTo>
                    <a:lnTo>
                      <a:pt x="101" y="3267"/>
                    </a:lnTo>
                    <a:lnTo>
                      <a:pt x="113" y="3276"/>
                    </a:lnTo>
                    <a:lnTo>
                      <a:pt x="111" y="3296"/>
                    </a:lnTo>
                    <a:lnTo>
                      <a:pt x="126" y="3288"/>
                    </a:lnTo>
                    <a:lnTo>
                      <a:pt x="133" y="3287"/>
                    </a:lnTo>
                    <a:lnTo>
                      <a:pt x="139" y="3282"/>
                    </a:lnTo>
                    <a:lnTo>
                      <a:pt x="155" y="3280"/>
                    </a:lnTo>
                    <a:lnTo>
                      <a:pt x="162" y="3282"/>
                    </a:lnTo>
                    <a:lnTo>
                      <a:pt x="170" y="3287"/>
                    </a:lnTo>
                    <a:lnTo>
                      <a:pt x="176" y="3292"/>
                    </a:lnTo>
                    <a:lnTo>
                      <a:pt x="185" y="3305"/>
                    </a:lnTo>
                    <a:lnTo>
                      <a:pt x="193" y="3306"/>
                    </a:lnTo>
                    <a:lnTo>
                      <a:pt x="194" y="3317"/>
                    </a:lnTo>
                    <a:lnTo>
                      <a:pt x="192" y="3325"/>
                    </a:lnTo>
                    <a:lnTo>
                      <a:pt x="192" y="3333"/>
                    </a:lnTo>
                    <a:lnTo>
                      <a:pt x="197" y="3341"/>
                    </a:lnTo>
                    <a:lnTo>
                      <a:pt x="199" y="3348"/>
                    </a:lnTo>
                    <a:lnTo>
                      <a:pt x="198" y="3355"/>
                    </a:lnTo>
                    <a:lnTo>
                      <a:pt x="196" y="3363"/>
                    </a:lnTo>
                    <a:lnTo>
                      <a:pt x="189" y="3368"/>
                    </a:lnTo>
                    <a:lnTo>
                      <a:pt x="187" y="3376"/>
                    </a:lnTo>
                    <a:lnTo>
                      <a:pt x="189" y="3384"/>
                    </a:lnTo>
                    <a:lnTo>
                      <a:pt x="202" y="3395"/>
                    </a:lnTo>
                    <a:lnTo>
                      <a:pt x="205" y="3411"/>
                    </a:lnTo>
                    <a:lnTo>
                      <a:pt x="216" y="3433"/>
                    </a:lnTo>
                    <a:lnTo>
                      <a:pt x="221" y="3439"/>
                    </a:lnTo>
                    <a:lnTo>
                      <a:pt x="236" y="3448"/>
                    </a:lnTo>
                    <a:lnTo>
                      <a:pt x="241" y="3454"/>
                    </a:lnTo>
                    <a:lnTo>
                      <a:pt x="242" y="3462"/>
                    </a:lnTo>
                    <a:lnTo>
                      <a:pt x="241" y="3470"/>
                    </a:lnTo>
                    <a:lnTo>
                      <a:pt x="245" y="3477"/>
                    </a:lnTo>
                    <a:lnTo>
                      <a:pt x="268" y="3475"/>
                    </a:lnTo>
                    <a:lnTo>
                      <a:pt x="274" y="3479"/>
                    </a:lnTo>
                    <a:lnTo>
                      <a:pt x="282" y="3482"/>
                    </a:lnTo>
                    <a:lnTo>
                      <a:pt x="279" y="3489"/>
                    </a:lnTo>
                    <a:lnTo>
                      <a:pt x="284" y="3495"/>
                    </a:lnTo>
                    <a:lnTo>
                      <a:pt x="294" y="3497"/>
                    </a:lnTo>
                    <a:lnTo>
                      <a:pt x="295" y="3510"/>
                    </a:lnTo>
                    <a:lnTo>
                      <a:pt x="288" y="3515"/>
                    </a:lnTo>
                    <a:lnTo>
                      <a:pt x="284" y="3522"/>
                    </a:lnTo>
                    <a:lnTo>
                      <a:pt x="272" y="3532"/>
                    </a:lnTo>
                    <a:lnTo>
                      <a:pt x="264" y="3537"/>
                    </a:lnTo>
                    <a:lnTo>
                      <a:pt x="247" y="3535"/>
                    </a:lnTo>
                    <a:lnTo>
                      <a:pt x="235" y="3524"/>
                    </a:lnTo>
                    <a:lnTo>
                      <a:pt x="228" y="3524"/>
                    </a:lnTo>
                    <a:lnTo>
                      <a:pt x="220" y="3527"/>
                    </a:lnTo>
                    <a:lnTo>
                      <a:pt x="219" y="3535"/>
                    </a:lnTo>
                    <a:lnTo>
                      <a:pt x="212" y="3538"/>
                    </a:lnTo>
                    <a:lnTo>
                      <a:pt x="213" y="3546"/>
                    </a:lnTo>
                    <a:lnTo>
                      <a:pt x="224" y="3557"/>
                    </a:lnTo>
                    <a:lnTo>
                      <a:pt x="226" y="3564"/>
                    </a:lnTo>
                    <a:lnTo>
                      <a:pt x="224" y="3573"/>
                    </a:lnTo>
                    <a:lnTo>
                      <a:pt x="229" y="3578"/>
                    </a:lnTo>
                    <a:lnTo>
                      <a:pt x="228" y="3586"/>
                    </a:lnTo>
                    <a:lnTo>
                      <a:pt x="235" y="3590"/>
                    </a:lnTo>
                    <a:lnTo>
                      <a:pt x="237" y="3597"/>
                    </a:lnTo>
                    <a:lnTo>
                      <a:pt x="236" y="3606"/>
                    </a:lnTo>
                    <a:lnTo>
                      <a:pt x="241" y="3627"/>
                    </a:lnTo>
                    <a:lnTo>
                      <a:pt x="247" y="3633"/>
                    </a:lnTo>
                    <a:lnTo>
                      <a:pt x="255" y="3635"/>
                    </a:lnTo>
                    <a:lnTo>
                      <a:pt x="262" y="3632"/>
                    </a:lnTo>
                    <a:lnTo>
                      <a:pt x="267" y="3626"/>
                    </a:lnTo>
                    <a:lnTo>
                      <a:pt x="269" y="3617"/>
                    </a:lnTo>
                    <a:lnTo>
                      <a:pt x="277" y="3612"/>
                    </a:lnTo>
                    <a:lnTo>
                      <a:pt x="293" y="3616"/>
                    </a:lnTo>
                    <a:lnTo>
                      <a:pt x="301" y="3616"/>
                    </a:lnTo>
                    <a:lnTo>
                      <a:pt x="317" y="3611"/>
                    </a:lnTo>
                    <a:lnTo>
                      <a:pt x="333" y="3613"/>
                    </a:lnTo>
                    <a:lnTo>
                      <a:pt x="349" y="3610"/>
                    </a:lnTo>
                    <a:lnTo>
                      <a:pt x="361" y="3619"/>
                    </a:lnTo>
                    <a:lnTo>
                      <a:pt x="366" y="3627"/>
                    </a:lnTo>
                    <a:lnTo>
                      <a:pt x="366" y="3635"/>
                    </a:lnTo>
                    <a:lnTo>
                      <a:pt x="379" y="3647"/>
                    </a:lnTo>
                    <a:lnTo>
                      <a:pt x="384" y="3653"/>
                    </a:lnTo>
                    <a:lnTo>
                      <a:pt x="384" y="3662"/>
                    </a:lnTo>
                    <a:lnTo>
                      <a:pt x="375" y="3666"/>
                    </a:lnTo>
                    <a:lnTo>
                      <a:pt x="368" y="3667"/>
                    </a:lnTo>
                    <a:lnTo>
                      <a:pt x="371" y="3675"/>
                    </a:lnTo>
                    <a:lnTo>
                      <a:pt x="371" y="3682"/>
                    </a:lnTo>
                    <a:lnTo>
                      <a:pt x="375" y="3698"/>
                    </a:lnTo>
                    <a:lnTo>
                      <a:pt x="382" y="3703"/>
                    </a:lnTo>
                    <a:lnTo>
                      <a:pt x="390" y="3705"/>
                    </a:lnTo>
                    <a:lnTo>
                      <a:pt x="406" y="3710"/>
                    </a:lnTo>
                    <a:lnTo>
                      <a:pt x="413" y="3707"/>
                    </a:lnTo>
                    <a:lnTo>
                      <a:pt x="422" y="3707"/>
                    </a:lnTo>
                    <a:lnTo>
                      <a:pt x="424" y="3715"/>
                    </a:lnTo>
                    <a:lnTo>
                      <a:pt x="435" y="3726"/>
                    </a:lnTo>
                    <a:lnTo>
                      <a:pt x="442" y="3753"/>
                    </a:lnTo>
                    <a:lnTo>
                      <a:pt x="440" y="3762"/>
                    </a:lnTo>
                    <a:lnTo>
                      <a:pt x="442" y="3769"/>
                    </a:lnTo>
                    <a:lnTo>
                      <a:pt x="449" y="3774"/>
                    </a:lnTo>
                    <a:lnTo>
                      <a:pt x="456" y="3779"/>
                    </a:lnTo>
                    <a:lnTo>
                      <a:pt x="463" y="3775"/>
                    </a:lnTo>
                    <a:lnTo>
                      <a:pt x="471" y="3774"/>
                    </a:lnTo>
                    <a:lnTo>
                      <a:pt x="479" y="3775"/>
                    </a:lnTo>
                    <a:lnTo>
                      <a:pt x="490" y="3787"/>
                    </a:lnTo>
                    <a:lnTo>
                      <a:pt x="499" y="3784"/>
                    </a:lnTo>
                    <a:lnTo>
                      <a:pt x="506" y="3788"/>
                    </a:lnTo>
                    <a:lnTo>
                      <a:pt x="531" y="3780"/>
                    </a:lnTo>
                    <a:lnTo>
                      <a:pt x="546" y="3773"/>
                    </a:lnTo>
                    <a:lnTo>
                      <a:pt x="553" y="3775"/>
                    </a:lnTo>
                    <a:lnTo>
                      <a:pt x="558" y="3782"/>
                    </a:lnTo>
                    <a:lnTo>
                      <a:pt x="569" y="3804"/>
                    </a:lnTo>
                    <a:lnTo>
                      <a:pt x="580" y="3816"/>
                    </a:lnTo>
                    <a:lnTo>
                      <a:pt x="587" y="3816"/>
                    </a:lnTo>
                    <a:lnTo>
                      <a:pt x="591" y="3809"/>
                    </a:lnTo>
                    <a:lnTo>
                      <a:pt x="600" y="3809"/>
                    </a:lnTo>
                    <a:lnTo>
                      <a:pt x="605" y="3815"/>
                    </a:lnTo>
                    <a:lnTo>
                      <a:pt x="612" y="3816"/>
                    </a:lnTo>
                    <a:lnTo>
                      <a:pt x="619" y="3820"/>
                    </a:lnTo>
                    <a:lnTo>
                      <a:pt x="626" y="3826"/>
                    </a:lnTo>
                    <a:lnTo>
                      <a:pt x="642" y="3825"/>
                    </a:lnTo>
                    <a:lnTo>
                      <a:pt x="655" y="3834"/>
                    </a:lnTo>
                    <a:lnTo>
                      <a:pt x="662" y="3833"/>
                    </a:lnTo>
                    <a:lnTo>
                      <a:pt x="675" y="3844"/>
                    </a:lnTo>
                    <a:lnTo>
                      <a:pt x="683" y="3845"/>
                    </a:lnTo>
                    <a:lnTo>
                      <a:pt x="692" y="3845"/>
                    </a:lnTo>
                    <a:lnTo>
                      <a:pt x="698" y="3850"/>
                    </a:lnTo>
                    <a:lnTo>
                      <a:pt x="691" y="3854"/>
                    </a:lnTo>
                    <a:lnTo>
                      <a:pt x="699" y="3877"/>
                    </a:lnTo>
                    <a:lnTo>
                      <a:pt x="691" y="3892"/>
                    </a:lnTo>
                    <a:lnTo>
                      <a:pt x="675" y="3896"/>
                    </a:lnTo>
                    <a:lnTo>
                      <a:pt x="680" y="3902"/>
                    </a:lnTo>
                    <a:lnTo>
                      <a:pt x="688" y="3904"/>
                    </a:lnTo>
                    <a:lnTo>
                      <a:pt x="693" y="3911"/>
                    </a:lnTo>
                    <a:lnTo>
                      <a:pt x="676" y="3916"/>
                    </a:lnTo>
                    <a:lnTo>
                      <a:pt x="673" y="3922"/>
                    </a:lnTo>
                    <a:lnTo>
                      <a:pt x="672" y="3930"/>
                    </a:lnTo>
                    <a:lnTo>
                      <a:pt x="677" y="3936"/>
                    </a:lnTo>
                    <a:lnTo>
                      <a:pt x="680" y="3944"/>
                    </a:lnTo>
                    <a:lnTo>
                      <a:pt x="678" y="3952"/>
                    </a:lnTo>
                    <a:lnTo>
                      <a:pt x="686" y="3956"/>
                    </a:lnTo>
                    <a:lnTo>
                      <a:pt x="682" y="3972"/>
                    </a:lnTo>
                    <a:lnTo>
                      <a:pt x="675" y="3995"/>
                    </a:lnTo>
                    <a:lnTo>
                      <a:pt x="667" y="3999"/>
                    </a:lnTo>
                    <a:lnTo>
                      <a:pt x="653" y="3995"/>
                    </a:lnTo>
                    <a:lnTo>
                      <a:pt x="644" y="3997"/>
                    </a:lnTo>
                    <a:lnTo>
                      <a:pt x="629" y="3989"/>
                    </a:lnTo>
                    <a:lnTo>
                      <a:pt x="623" y="3994"/>
                    </a:lnTo>
                    <a:lnTo>
                      <a:pt x="614" y="4008"/>
                    </a:lnTo>
                    <a:lnTo>
                      <a:pt x="600" y="4014"/>
                    </a:lnTo>
                    <a:lnTo>
                      <a:pt x="592" y="4029"/>
                    </a:lnTo>
                    <a:lnTo>
                      <a:pt x="594" y="4037"/>
                    </a:lnTo>
                    <a:lnTo>
                      <a:pt x="594" y="4052"/>
                    </a:lnTo>
                    <a:lnTo>
                      <a:pt x="607" y="4047"/>
                    </a:lnTo>
                    <a:lnTo>
                      <a:pt x="617" y="4048"/>
                    </a:lnTo>
                    <a:lnTo>
                      <a:pt x="623" y="4043"/>
                    </a:lnTo>
                    <a:lnTo>
                      <a:pt x="638" y="4041"/>
                    </a:lnTo>
                    <a:lnTo>
                      <a:pt x="644" y="4043"/>
                    </a:lnTo>
                    <a:lnTo>
                      <a:pt x="645" y="4049"/>
                    </a:lnTo>
                    <a:lnTo>
                      <a:pt x="653" y="4051"/>
                    </a:lnTo>
                    <a:lnTo>
                      <a:pt x="655" y="4053"/>
                    </a:lnTo>
                    <a:lnTo>
                      <a:pt x="654" y="4058"/>
                    </a:lnTo>
                    <a:lnTo>
                      <a:pt x="644" y="4058"/>
                    </a:lnTo>
                    <a:lnTo>
                      <a:pt x="632" y="4063"/>
                    </a:lnTo>
                    <a:lnTo>
                      <a:pt x="616" y="4073"/>
                    </a:lnTo>
                    <a:lnTo>
                      <a:pt x="605" y="4076"/>
                    </a:lnTo>
                    <a:lnTo>
                      <a:pt x="605" y="4081"/>
                    </a:lnTo>
                    <a:lnTo>
                      <a:pt x="610" y="4086"/>
                    </a:lnTo>
                    <a:lnTo>
                      <a:pt x="605" y="4089"/>
                    </a:lnTo>
                    <a:lnTo>
                      <a:pt x="594" y="4086"/>
                    </a:lnTo>
                    <a:lnTo>
                      <a:pt x="569" y="4090"/>
                    </a:lnTo>
                    <a:lnTo>
                      <a:pt x="567" y="4100"/>
                    </a:lnTo>
                    <a:lnTo>
                      <a:pt x="575" y="4107"/>
                    </a:lnTo>
                    <a:lnTo>
                      <a:pt x="587" y="4112"/>
                    </a:lnTo>
                    <a:lnTo>
                      <a:pt x="597" y="4126"/>
                    </a:lnTo>
                    <a:lnTo>
                      <a:pt x="607" y="4135"/>
                    </a:lnTo>
                    <a:lnTo>
                      <a:pt x="605" y="4137"/>
                    </a:lnTo>
                    <a:lnTo>
                      <a:pt x="591" y="4133"/>
                    </a:lnTo>
                    <a:lnTo>
                      <a:pt x="585" y="4143"/>
                    </a:lnTo>
                    <a:lnTo>
                      <a:pt x="579" y="4143"/>
                    </a:lnTo>
                    <a:lnTo>
                      <a:pt x="567" y="4160"/>
                    </a:lnTo>
                    <a:lnTo>
                      <a:pt x="557" y="4172"/>
                    </a:lnTo>
                    <a:lnTo>
                      <a:pt x="548" y="4191"/>
                    </a:lnTo>
                    <a:lnTo>
                      <a:pt x="535" y="4192"/>
                    </a:lnTo>
                    <a:lnTo>
                      <a:pt x="519" y="4189"/>
                    </a:lnTo>
                    <a:lnTo>
                      <a:pt x="516" y="4194"/>
                    </a:lnTo>
                    <a:lnTo>
                      <a:pt x="516" y="4200"/>
                    </a:lnTo>
                    <a:lnTo>
                      <a:pt x="506" y="4205"/>
                    </a:lnTo>
                    <a:lnTo>
                      <a:pt x="519" y="4210"/>
                    </a:lnTo>
                    <a:lnTo>
                      <a:pt x="531" y="4220"/>
                    </a:lnTo>
                    <a:lnTo>
                      <a:pt x="536" y="4235"/>
                    </a:lnTo>
                    <a:lnTo>
                      <a:pt x="546" y="4246"/>
                    </a:lnTo>
                    <a:lnTo>
                      <a:pt x="556" y="4247"/>
                    </a:lnTo>
                    <a:lnTo>
                      <a:pt x="560" y="4242"/>
                    </a:lnTo>
                    <a:lnTo>
                      <a:pt x="565" y="4250"/>
                    </a:lnTo>
                    <a:lnTo>
                      <a:pt x="580" y="4262"/>
                    </a:lnTo>
                    <a:lnTo>
                      <a:pt x="623" y="4280"/>
                    </a:lnTo>
                    <a:lnTo>
                      <a:pt x="649" y="4301"/>
                    </a:lnTo>
                    <a:lnTo>
                      <a:pt x="656" y="4313"/>
                    </a:lnTo>
                    <a:lnTo>
                      <a:pt x="662" y="4321"/>
                    </a:lnTo>
                    <a:lnTo>
                      <a:pt x="671" y="4323"/>
                    </a:lnTo>
                    <a:lnTo>
                      <a:pt x="683" y="4336"/>
                    </a:lnTo>
                    <a:lnTo>
                      <a:pt x="698" y="4331"/>
                    </a:lnTo>
                    <a:lnTo>
                      <a:pt x="707" y="4329"/>
                    </a:lnTo>
                    <a:lnTo>
                      <a:pt x="714" y="4332"/>
                    </a:lnTo>
                    <a:lnTo>
                      <a:pt x="723" y="4331"/>
                    </a:lnTo>
                    <a:lnTo>
                      <a:pt x="737" y="4336"/>
                    </a:lnTo>
                    <a:lnTo>
                      <a:pt x="743" y="4342"/>
                    </a:lnTo>
                    <a:lnTo>
                      <a:pt x="759" y="4344"/>
                    </a:lnTo>
                    <a:lnTo>
                      <a:pt x="782" y="4354"/>
                    </a:lnTo>
                    <a:lnTo>
                      <a:pt x="791" y="4355"/>
                    </a:lnTo>
                    <a:lnTo>
                      <a:pt x="815" y="4353"/>
                    </a:lnTo>
                    <a:lnTo>
                      <a:pt x="831" y="4358"/>
                    </a:lnTo>
                    <a:lnTo>
                      <a:pt x="847" y="4358"/>
                    </a:lnTo>
                    <a:lnTo>
                      <a:pt x="854" y="4363"/>
                    </a:lnTo>
                    <a:lnTo>
                      <a:pt x="858" y="4368"/>
                    </a:lnTo>
                    <a:lnTo>
                      <a:pt x="896" y="4390"/>
                    </a:lnTo>
                    <a:lnTo>
                      <a:pt x="898" y="4398"/>
                    </a:lnTo>
                    <a:lnTo>
                      <a:pt x="906" y="4402"/>
                    </a:lnTo>
                    <a:lnTo>
                      <a:pt x="914" y="4399"/>
                    </a:lnTo>
                    <a:lnTo>
                      <a:pt x="920" y="4395"/>
                    </a:lnTo>
                    <a:lnTo>
                      <a:pt x="935" y="4388"/>
                    </a:lnTo>
                    <a:lnTo>
                      <a:pt x="944" y="4388"/>
                    </a:lnTo>
                    <a:lnTo>
                      <a:pt x="950" y="4393"/>
                    </a:lnTo>
                    <a:lnTo>
                      <a:pt x="957" y="4392"/>
                    </a:lnTo>
                    <a:lnTo>
                      <a:pt x="973" y="4395"/>
                    </a:lnTo>
                    <a:lnTo>
                      <a:pt x="978" y="4401"/>
                    </a:lnTo>
                    <a:lnTo>
                      <a:pt x="985" y="4404"/>
                    </a:lnTo>
                    <a:lnTo>
                      <a:pt x="993" y="4404"/>
                    </a:lnTo>
                    <a:lnTo>
                      <a:pt x="1000" y="4408"/>
                    </a:lnTo>
                    <a:lnTo>
                      <a:pt x="1004" y="4415"/>
                    </a:lnTo>
                    <a:lnTo>
                      <a:pt x="1000" y="4430"/>
                    </a:lnTo>
                    <a:lnTo>
                      <a:pt x="1012" y="4440"/>
                    </a:lnTo>
                    <a:lnTo>
                      <a:pt x="1028" y="4445"/>
                    </a:lnTo>
                    <a:lnTo>
                      <a:pt x="1035" y="4450"/>
                    </a:lnTo>
                    <a:lnTo>
                      <a:pt x="1040" y="4453"/>
                    </a:lnTo>
                    <a:lnTo>
                      <a:pt x="1048" y="4458"/>
                    </a:lnTo>
                    <a:lnTo>
                      <a:pt x="1055" y="4458"/>
                    </a:lnTo>
                    <a:lnTo>
                      <a:pt x="1067" y="4469"/>
                    </a:lnTo>
                    <a:lnTo>
                      <a:pt x="1071" y="4477"/>
                    </a:lnTo>
                    <a:lnTo>
                      <a:pt x="1079" y="4477"/>
                    </a:lnTo>
                    <a:lnTo>
                      <a:pt x="1084" y="4493"/>
                    </a:lnTo>
                    <a:lnTo>
                      <a:pt x="1087" y="4500"/>
                    </a:lnTo>
                    <a:lnTo>
                      <a:pt x="1095" y="4500"/>
                    </a:lnTo>
                    <a:lnTo>
                      <a:pt x="1111" y="4504"/>
                    </a:lnTo>
                    <a:lnTo>
                      <a:pt x="1119" y="4501"/>
                    </a:lnTo>
                    <a:lnTo>
                      <a:pt x="1124" y="4496"/>
                    </a:lnTo>
                    <a:lnTo>
                      <a:pt x="1130" y="4481"/>
                    </a:lnTo>
                    <a:lnTo>
                      <a:pt x="1138" y="4477"/>
                    </a:lnTo>
                    <a:lnTo>
                      <a:pt x="1145" y="4473"/>
                    </a:lnTo>
                    <a:lnTo>
                      <a:pt x="1148" y="4466"/>
                    </a:lnTo>
                    <a:lnTo>
                      <a:pt x="1154" y="4456"/>
                    </a:lnTo>
                    <a:lnTo>
                      <a:pt x="1144" y="4451"/>
                    </a:lnTo>
                    <a:lnTo>
                      <a:pt x="1132" y="4423"/>
                    </a:lnTo>
                    <a:lnTo>
                      <a:pt x="1113" y="4391"/>
                    </a:lnTo>
                    <a:lnTo>
                      <a:pt x="1105" y="4380"/>
                    </a:lnTo>
                    <a:lnTo>
                      <a:pt x="1101" y="4366"/>
                    </a:lnTo>
                    <a:lnTo>
                      <a:pt x="1101" y="4344"/>
                    </a:lnTo>
                    <a:lnTo>
                      <a:pt x="1108" y="4317"/>
                    </a:lnTo>
                    <a:lnTo>
                      <a:pt x="1106" y="4305"/>
                    </a:lnTo>
                    <a:lnTo>
                      <a:pt x="1097" y="4326"/>
                    </a:lnTo>
                    <a:lnTo>
                      <a:pt x="1094" y="4320"/>
                    </a:lnTo>
                    <a:lnTo>
                      <a:pt x="1091" y="4302"/>
                    </a:lnTo>
                    <a:lnTo>
                      <a:pt x="1081" y="4285"/>
                    </a:lnTo>
                    <a:lnTo>
                      <a:pt x="1069" y="4268"/>
                    </a:lnTo>
                    <a:lnTo>
                      <a:pt x="1059" y="4268"/>
                    </a:lnTo>
                    <a:lnTo>
                      <a:pt x="1054" y="4253"/>
                    </a:lnTo>
                    <a:lnTo>
                      <a:pt x="1063" y="4240"/>
                    </a:lnTo>
                    <a:lnTo>
                      <a:pt x="1064" y="4229"/>
                    </a:lnTo>
                    <a:lnTo>
                      <a:pt x="1071" y="4218"/>
                    </a:lnTo>
                    <a:lnTo>
                      <a:pt x="1075" y="4218"/>
                    </a:lnTo>
                    <a:lnTo>
                      <a:pt x="1076" y="4215"/>
                    </a:lnTo>
                    <a:lnTo>
                      <a:pt x="1079" y="4207"/>
                    </a:lnTo>
                    <a:lnTo>
                      <a:pt x="1089" y="4198"/>
                    </a:lnTo>
                    <a:lnTo>
                      <a:pt x="1095" y="4162"/>
                    </a:lnTo>
                    <a:lnTo>
                      <a:pt x="1102" y="4165"/>
                    </a:lnTo>
                    <a:lnTo>
                      <a:pt x="1106" y="4144"/>
                    </a:lnTo>
                    <a:lnTo>
                      <a:pt x="1107" y="4133"/>
                    </a:lnTo>
                    <a:lnTo>
                      <a:pt x="1098" y="4117"/>
                    </a:lnTo>
                    <a:lnTo>
                      <a:pt x="1110" y="4121"/>
                    </a:lnTo>
                    <a:lnTo>
                      <a:pt x="1121" y="4121"/>
                    </a:lnTo>
                    <a:lnTo>
                      <a:pt x="1119" y="4128"/>
                    </a:lnTo>
                    <a:lnTo>
                      <a:pt x="1126" y="4139"/>
                    </a:lnTo>
                    <a:lnTo>
                      <a:pt x="1130" y="4154"/>
                    </a:lnTo>
                    <a:lnTo>
                      <a:pt x="1138" y="4154"/>
                    </a:lnTo>
                    <a:lnTo>
                      <a:pt x="1143" y="4151"/>
                    </a:lnTo>
                    <a:lnTo>
                      <a:pt x="1148" y="4151"/>
                    </a:lnTo>
                    <a:lnTo>
                      <a:pt x="1160" y="4123"/>
                    </a:lnTo>
                    <a:lnTo>
                      <a:pt x="1166" y="4119"/>
                    </a:lnTo>
                    <a:lnTo>
                      <a:pt x="1159" y="4117"/>
                    </a:lnTo>
                    <a:lnTo>
                      <a:pt x="1155" y="4111"/>
                    </a:lnTo>
                    <a:lnTo>
                      <a:pt x="1149" y="4107"/>
                    </a:lnTo>
                    <a:lnTo>
                      <a:pt x="1140" y="4107"/>
                    </a:lnTo>
                    <a:lnTo>
                      <a:pt x="1133" y="4105"/>
                    </a:lnTo>
                    <a:lnTo>
                      <a:pt x="1130" y="4099"/>
                    </a:lnTo>
                    <a:lnTo>
                      <a:pt x="1137" y="4091"/>
                    </a:lnTo>
                    <a:lnTo>
                      <a:pt x="1138" y="4084"/>
                    </a:lnTo>
                    <a:lnTo>
                      <a:pt x="1145" y="4081"/>
                    </a:lnTo>
                    <a:lnTo>
                      <a:pt x="1154" y="4087"/>
                    </a:lnTo>
                    <a:lnTo>
                      <a:pt x="1166" y="4084"/>
                    </a:lnTo>
                    <a:lnTo>
                      <a:pt x="1157" y="4027"/>
                    </a:lnTo>
                    <a:lnTo>
                      <a:pt x="1150" y="4025"/>
                    </a:lnTo>
                    <a:lnTo>
                      <a:pt x="1145" y="4019"/>
                    </a:lnTo>
                    <a:lnTo>
                      <a:pt x="1143" y="4010"/>
                    </a:lnTo>
                    <a:lnTo>
                      <a:pt x="1139" y="4004"/>
                    </a:lnTo>
                    <a:lnTo>
                      <a:pt x="1133" y="3998"/>
                    </a:lnTo>
                    <a:lnTo>
                      <a:pt x="1126" y="3998"/>
                    </a:lnTo>
                    <a:lnTo>
                      <a:pt x="1108" y="4000"/>
                    </a:lnTo>
                    <a:lnTo>
                      <a:pt x="1095" y="3997"/>
                    </a:lnTo>
                    <a:lnTo>
                      <a:pt x="1094" y="4005"/>
                    </a:lnTo>
                    <a:lnTo>
                      <a:pt x="1081" y="3993"/>
                    </a:lnTo>
                    <a:lnTo>
                      <a:pt x="1081" y="3986"/>
                    </a:lnTo>
                    <a:lnTo>
                      <a:pt x="1076" y="3978"/>
                    </a:lnTo>
                    <a:lnTo>
                      <a:pt x="1081" y="3971"/>
                    </a:lnTo>
                    <a:lnTo>
                      <a:pt x="1076" y="3965"/>
                    </a:lnTo>
                    <a:lnTo>
                      <a:pt x="1076" y="3957"/>
                    </a:lnTo>
                    <a:lnTo>
                      <a:pt x="1047" y="3947"/>
                    </a:lnTo>
                    <a:lnTo>
                      <a:pt x="1058" y="3903"/>
                    </a:lnTo>
                    <a:lnTo>
                      <a:pt x="1071" y="3896"/>
                    </a:lnTo>
                    <a:lnTo>
                      <a:pt x="1076" y="3888"/>
                    </a:lnTo>
                    <a:lnTo>
                      <a:pt x="1074" y="3881"/>
                    </a:lnTo>
                    <a:lnTo>
                      <a:pt x="1063" y="3870"/>
                    </a:lnTo>
                    <a:lnTo>
                      <a:pt x="1073" y="3825"/>
                    </a:lnTo>
                    <a:lnTo>
                      <a:pt x="1086" y="3816"/>
                    </a:lnTo>
                    <a:lnTo>
                      <a:pt x="1091" y="3810"/>
                    </a:lnTo>
                    <a:lnTo>
                      <a:pt x="1090" y="3801"/>
                    </a:lnTo>
                    <a:lnTo>
                      <a:pt x="1092" y="3794"/>
                    </a:lnTo>
                    <a:lnTo>
                      <a:pt x="1092" y="3787"/>
                    </a:lnTo>
                    <a:lnTo>
                      <a:pt x="1096" y="3778"/>
                    </a:lnTo>
                    <a:lnTo>
                      <a:pt x="1101" y="3772"/>
                    </a:lnTo>
                    <a:lnTo>
                      <a:pt x="1107" y="3777"/>
                    </a:lnTo>
                    <a:lnTo>
                      <a:pt x="1111" y="3784"/>
                    </a:lnTo>
                    <a:lnTo>
                      <a:pt x="1123" y="3794"/>
                    </a:lnTo>
                    <a:lnTo>
                      <a:pt x="1140" y="3831"/>
                    </a:lnTo>
                    <a:lnTo>
                      <a:pt x="1149" y="3833"/>
                    </a:lnTo>
                    <a:lnTo>
                      <a:pt x="1175" y="3816"/>
                    </a:lnTo>
                    <a:lnTo>
                      <a:pt x="1172" y="3807"/>
                    </a:lnTo>
                    <a:lnTo>
                      <a:pt x="1169" y="3800"/>
                    </a:lnTo>
                    <a:lnTo>
                      <a:pt x="1165" y="3775"/>
                    </a:lnTo>
                    <a:lnTo>
                      <a:pt x="1157" y="3762"/>
                    </a:lnTo>
                    <a:lnTo>
                      <a:pt x="1166" y="3763"/>
                    </a:lnTo>
                    <a:lnTo>
                      <a:pt x="1173" y="3760"/>
                    </a:lnTo>
                    <a:lnTo>
                      <a:pt x="1193" y="3746"/>
                    </a:lnTo>
                    <a:lnTo>
                      <a:pt x="1200" y="3742"/>
                    </a:lnTo>
                    <a:lnTo>
                      <a:pt x="1205" y="3736"/>
                    </a:lnTo>
                    <a:lnTo>
                      <a:pt x="1205" y="3728"/>
                    </a:lnTo>
                    <a:lnTo>
                      <a:pt x="1205" y="3719"/>
                    </a:lnTo>
                    <a:lnTo>
                      <a:pt x="1213" y="3718"/>
                    </a:lnTo>
                    <a:lnTo>
                      <a:pt x="1221" y="3719"/>
                    </a:lnTo>
                    <a:lnTo>
                      <a:pt x="1229" y="3715"/>
                    </a:lnTo>
                    <a:lnTo>
                      <a:pt x="1234" y="3709"/>
                    </a:lnTo>
                    <a:lnTo>
                      <a:pt x="1241" y="3705"/>
                    </a:lnTo>
                    <a:lnTo>
                      <a:pt x="1248" y="3703"/>
                    </a:lnTo>
                    <a:lnTo>
                      <a:pt x="1253" y="3697"/>
                    </a:lnTo>
                    <a:lnTo>
                      <a:pt x="1261" y="3692"/>
                    </a:lnTo>
                    <a:lnTo>
                      <a:pt x="1266" y="3686"/>
                    </a:lnTo>
                    <a:lnTo>
                      <a:pt x="1267" y="3678"/>
                    </a:lnTo>
                    <a:lnTo>
                      <a:pt x="1274" y="3672"/>
                    </a:lnTo>
                    <a:lnTo>
                      <a:pt x="1289" y="3669"/>
                    </a:lnTo>
                    <a:lnTo>
                      <a:pt x="1305" y="3669"/>
                    </a:lnTo>
                    <a:lnTo>
                      <a:pt x="1306" y="3677"/>
                    </a:lnTo>
                    <a:lnTo>
                      <a:pt x="1310" y="3685"/>
                    </a:lnTo>
                    <a:lnTo>
                      <a:pt x="1326" y="3681"/>
                    </a:lnTo>
                    <a:lnTo>
                      <a:pt x="1331" y="3687"/>
                    </a:lnTo>
                    <a:lnTo>
                      <a:pt x="1336" y="3680"/>
                    </a:lnTo>
                    <a:lnTo>
                      <a:pt x="1338" y="3671"/>
                    </a:lnTo>
                    <a:lnTo>
                      <a:pt x="1343" y="3665"/>
                    </a:lnTo>
                    <a:lnTo>
                      <a:pt x="1350" y="3665"/>
                    </a:lnTo>
                    <a:lnTo>
                      <a:pt x="1358" y="3662"/>
                    </a:lnTo>
                    <a:lnTo>
                      <a:pt x="1366" y="3662"/>
                    </a:lnTo>
                    <a:lnTo>
                      <a:pt x="1371" y="3678"/>
                    </a:lnTo>
                    <a:lnTo>
                      <a:pt x="1376" y="3685"/>
                    </a:lnTo>
                    <a:lnTo>
                      <a:pt x="1385" y="3681"/>
                    </a:lnTo>
                    <a:lnTo>
                      <a:pt x="1392" y="3681"/>
                    </a:lnTo>
                    <a:lnTo>
                      <a:pt x="1399" y="3683"/>
                    </a:lnTo>
                    <a:lnTo>
                      <a:pt x="1415" y="3680"/>
                    </a:lnTo>
                    <a:lnTo>
                      <a:pt x="1423" y="3681"/>
                    </a:lnTo>
                    <a:lnTo>
                      <a:pt x="1430" y="3685"/>
                    </a:lnTo>
                    <a:lnTo>
                      <a:pt x="1436" y="3691"/>
                    </a:lnTo>
                    <a:lnTo>
                      <a:pt x="1442" y="3705"/>
                    </a:lnTo>
                    <a:lnTo>
                      <a:pt x="1463" y="3718"/>
                    </a:lnTo>
                    <a:lnTo>
                      <a:pt x="1468" y="3724"/>
                    </a:lnTo>
                    <a:lnTo>
                      <a:pt x="1471" y="3732"/>
                    </a:lnTo>
                    <a:lnTo>
                      <a:pt x="1482" y="3745"/>
                    </a:lnTo>
                    <a:lnTo>
                      <a:pt x="1481" y="3752"/>
                    </a:lnTo>
                    <a:lnTo>
                      <a:pt x="1482" y="3761"/>
                    </a:lnTo>
                    <a:lnTo>
                      <a:pt x="1487" y="3767"/>
                    </a:lnTo>
                    <a:lnTo>
                      <a:pt x="1494" y="3764"/>
                    </a:lnTo>
                    <a:lnTo>
                      <a:pt x="1494" y="3757"/>
                    </a:lnTo>
                    <a:lnTo>
                      <a:pt x="1493" y="3748"/>
                    </a:lnTo>
                    <a:lnTo>
                      <a:pt x="1494" y="3741"/>
                    </a:lnTo>
                    <a:lnTo>
                      <a:pt x="1489" y="3734"/>
                    </a:lnTo>
                    <a:lnTo>
                      <a:pt x="1494" y="3728"/>
                    </a:lnTo>
                    <a:lnTo>
                      <a:pt x="1503" y="3726"/>
                    </a:lnTo>
                    <a:lnTo>
                      <a:pt x="1505" y="3734"/>
                    </a:lnTo>
                    <a:lnTo>
                      <a:pt x="1511" y="3739"/>
                    </a:lnTo>
                    <a:lnTo>
                      <a:pt x="1514" y="3747"/>
                    </a:lnTo>
                    <a:lnTo>
                      <a:pt x="1520" y="3752"/>
                    </a:lnTo>
                    <a:lnTo>
                      <a:pt x="1536" y="3757"/>
                    </a:lnTo>
                    <a:lnTo>
                      <a:pt x="1549" y="3766"/>
                    </a:lnTo>
                    <a:lnTo>
                      <a:pt x="1558" y="3763"/>
                    </a:lnTo>
                    <a:lnTo>
                      <a:pt x="1578" y="3750"/>
                    </a:lnTo>
                    <a:lnTo>
                      <a:pt x="1578" y="3741"/>
                    </a:lnTo>
                    <a:lnTo>
                      <a:pt x="1584" y="3737"/>
                    </a:lnTo>
                    <a:lnTo>
                      <a:pt x="1590" y="3732"/>
                    </a:lnTo>
                    <a:lnTo>
                      <a:pt x="1598" y="3731"/>
                    </a:lnTo>
                    <a:lnTo>
                      <a:pt x="1606" y="3734"/>
                    </a:lnTo>
                    <a:lnTo>
                      <a:pt x="1606" y="3725"/>
                    </a:lnTo>
                    <a:lnTo>
                      <a:pt x="1614" y="3725"/>
                    </a:lnTo>
                    <a:lnTo>
                      <a:pt x="1622" y="3728"/>
                    </a:lnTo>
                    <a:lnTo>
                      <a:pt x="1629" y="3723"/>
                    </a:lnTo>
                    <a:lnTo>
                      <a:pt x="1637" y="3728"/>
                    </a:lnTo>
                    <a:lnTo>
                      <a:pt x="1648" y="3739"/>
                    </a:lnTo>
                    <a:lnTo>
                      <a:pt x="1662" y="3730"/>
                    </a:lnTo>
                    <a:lnTo>
                      <a:pt x="1666" y="3723"/>
                    </a:lnTo>
                    <a:lnTo>
                      <a:pt x="1682" y="3723"/>
                    </a:lnTo>
                    <a:lnTo>
                      <a:pt x="1689" y="3719"/>
                    </a:lnTo>
                    <a:lnTo>
                      <a:pt x="1704" y="3725"/>
                    </a:lnTo>
                    <a:lnTo>
                      <a:pt x="1709" y="3731"/>
                    </a:lnTo>
                    <a:lnTo>
                      <a:pt x="1710" y="3747"/>
                    </a:lnTo>
                    <a:lnTo>
                      <a:pt x="1716" y="3753"/>
                    </a:lnTo>
                    <a:lnTo>
                      <a:pt x="1721" y="3760"/>
                    </a:lnTo>
                    <a:lnTo>
                      <a:pt x="1737" y="3757"/>
                    </a:lnTo>
                    <a:lnTo>
                      <a:pt x="1752" y="3761"/>
                    </a:lnTo>
                    <a:lnTo>
                      <a:pt x="1754" y="3772"/>
                    </a:lnTo>
                    <a:lnTo>
                      <a:pt x="1772" y="3771"/>
                    </a:lnTo>
                    <a:lnTo>
                      <a:pt x="1778" y="3766"/>
                    </a:lnTo>
                    <a:lnTo>
                      <a:pt x="1785" y="3751"/>
                    </a:lnTo>
                    <a:lnTo>
                      <a:pt x="1790" y="3745"/>
                    </a:lnTo>
                    <a:lnTo>
                      <a:pt x="1796" y="3747"/>
                    </a:lnTo>
                    <a:lnTo>
                      <a:pt x="1807" y="3760"/>
                    </a:lnTo>
                    <a:lnTo>
                      <a:pt x="1824" y="3761"/>
                    </a:lnTo>
                    <a:lnTo>
                      <a:pt x="1839" y="3757"/>
                    </a:lnTo>
                    <a:lnTo>
                      <a:pt x="1847" y="3752"/>
                    </a:lnTo>
                    <a:lnTo>
                      <a:pt x="1863" y="3747"/>
                    </a:lnTo>
                    <a:lnTo>
                      <a:pt x="1874" y="3709"/>
                    </a:lnTo>
                    <a:lnTo>
                      <a:pt x="1877" y="3702"/>
                    </a:lnTo>
                    <a:lnTo>
                      <a:pt x="1872" y="3696"/>
                    </a:lnTo>
                    <a:lnTo>
                      <a:pt x="1870" y="3692"/>
                    </a:lnTo>
                    <a:lnTo>
                      <a:pt x="1856" y="3691"/>
                    </a:lnTo>
                    <a:lnTo>
                      <a:pt x="1840" y="3689"/>
                    </a:lnTo>
                    <a:lnTo>
                      <a:pt x="1834" y="3682"/>
                    </a:lnTo>
                    <a:lnTo>
                      <a:pt x="1831" y="3677"/>
                    </a:lnTo>
                    <a:lnTo>
                      <a:pt x="1813" y="3674"/>
                    </a:lnTo>
                    <a:lnTo>
                      <a:pt x="1806" y="3671"/>
                    </a:lnTo>
                    <a:lnTo>
                      <a:pt x="1807" y="3662"/>
                    </a:lnTo>
                    <a:lnTo>
                      <a:pt x="1802" y="3655"/>
                    </a:lnTo>
                    <a:lnTo>
                      <a:pt x="1786" y="3653"/>
                    </a:lnTo>
                    <a:lnTo>
                      <a:pt x="1788" y="3644"/>
                    </a:lnTo>
                    <a:lnTo>
                      <a:pt x="1795" y="3642"/>
                    </a:lnTo>
                    <a:lnTo>
                      <a:pt x="1807" y="3632"/>
                    </a:lnTo>
                    <a:lnTo>
                      <a:pt x="1823" y="3626"/>
                    </a:lnTo>
                    <a:lnTo>
                      <a:pt x="1837" y="3617"/>
                    </a:lnTo>
                    <a:lnTo>
                      <a:pt x="1840" y="3611"/>
                    </a:lnTo>
                    <a:lnTo>
                      <a:pt x="1842" y="3602"/>
                    </a:lnTo>
                    <a:lnTo>
                      <a:pt x="1823" y="3575"/>
                    </a:lnTo>
                    <a:lnTo>
                      <a:pt x="1831" y="3572"/>
                    </a:lnTo>
                    <a:lnTo>
                      <a:pt x="1838" y="3565"/>
                    </a:lnTo>
                    <a:lnTo>
                      <a:pt x="1839" y="3558"/>
                    </a:lnTo>
                    <a:lnTo>
                      <a:pt x="1845" y="3553"/>
                    </a:lnTo>
                    <a:lnTo>
                      <a:pt x="1854" y="3552"/>
                    </a:lnTo>
                    <a:lnTo>
                      <a:pt x="1863" y="3553"/>
                    </a:lnTo>
                    <a:lnTo>
                      <a:pt x="1870" y="3552"/>
                    </a:lnTo>
                    <a:lnTo>
                      <a:pt x="1877" y="3554"/>
                    </a:lnTo>
                    <a:lnTo>
                      <a:pt x="1893" y="3554"/>
                    </a:lnTo>
                    <a:lnTo>
                      <a:pt x="1902" y="3551"/>
                    </a:lnTo>
                    <a:lnTo>
                      <a:pt x="1904" y="3543"/>
                    </a:lnTo>
                    <a:lnTo>
                      <a:pt x="1901" y="3537"/>
                    </a:lnTo>
                    <a:lnTo>
                      <a:pt x="1886" y="3529"/>
                    </a:lnTo>
                    <a:lnTo>
                      <a:pt x="1854" y="3524"/>
                    </a:lnTo>
                    <a:lnTo>
                      <a:pt x="1850" y="3518"/>
                    </a:lnTo>
                    <a:lnTo>
                      <a:pt x="1852" y="3509"/>
                    </a:lnTo>
                    <a:lnTo>
                      <a:pt x="1859" y="3509"/>
                    </a:lnTo>
                    <a:lnTo>
                      <a:pt x="1866" y="3506"/>
                    </a:lnTo>
                    <a:lnTo>
                      <a:pt x="1871" y="3499"/>
                    </a:lnTo>
                    <a:lnTo>
                      <a:pt x="1865" y="3494"/>
                    </a:lnTo>
                    <a:lnTo>
                      <a:pt x="1858" y="3498"/>
                    </a:lnTo>
                    <a:lnTo>
                      <a:pt x="1842" y="3498"/>
                    </a:lnTo>
                    <a:lnTo>
                      <a:pt x="1842" y="3489"/>
                    </a:lnTo>
                    <a:lnTo>
                      <a:pt x="1844" y="3482"/>
                    </a:lnTo>
                    <a:lnTo>
                      <a:pt x="1849" y="3476"/>
                    </a:lnTo>
                    <a:lnTo>
                      <a:pt x="1838" y="3463"/>
                    </a:lnTo>
                    <a:lnTo>
                      <a:pt x="1854" y="3463"/>
                    </a:lnTo>
                    <a:lnTo>
                      <a:pt x="1859" y="3457"/>
                    </a:lnTo>
                    <a:lnTo>
                      <a:pt x="1867" y="3457"/>
                    </a:lnTo>
                    <a:lnTo>
                      <a:pt x="1872" y="3463"/>
                    </a:lnTo>
                    <a:lnTo>
                      <a:pt x="1880" y="3462"/>
                    </a:lnTo>
                    <a:lnTo>
                      <a:pt x="1888" y="3463"/>
                    </a:lnTo>
                    <a:lnTo>
                      <a:pt x="1896" y="3461"/>
                    </a:lnTo>
                    <a:lnTo>
                      <a:pt x="1920" y="3461"/>
                    </a:lnTo>
                    <a:lnTo>
                      <a:pt x="1925" y="3468"/>
                    </a:lnTo>
                    <a:lnTo>
                      <a:pt x="1935" y="3456"/>
                    </a:lnTo>
                    <a:lnTo>
                      <a:pt x="1942" y="3452"/>
                    </a:lnTo>
                    <a:lnTo>
                      <a:pt x="1958" y="3454"/>
                    </a:lnTo>
                    <a:lnTo>
                      <a:pt x="1966" y="3449"/>
                    </a:lnTo>
                    <a:lnTo>
                      <a:pt x="1973" y="3446"/>
                    </a:lnTo>
                    <a:lnTo>
                      <a:pt x="1987" y="3436"/>
                    </a:lnTo>
                    <a:lnTo>
                      <a:pt x="1994" y="3439"/>
                    </a:lnTo>
                    <a:lnTo>
                      <a:pt x="2000" y="3444"/>
                    </a:lnTo>
                    <a:lnTo>
                      <a:pt x="2008" y="3444"/>
                    </a:lnTo>
                    <a:lnTo>
                      <a:pt x="2010" y="3436"/>
                    </a:lnTo>
                    <a:lnTo>
                      <a:pt x="2027" y="3432"/>
                    </a:lnTo>
                    <a:lnTo>
                      <a:pt x="2033" y="3428"/>
                    </a:lnTo>
                    <a:lnTo>
                      <a:pt x="2042" y="3427"/>
                    </a:lnTo>
                    <a:lnTo>
                      <a:pt x="2049" y="3424"/>
                    </a:lnTo>
                    <a:lnTo>
                      <a:pt x="2057" y="3424"/>
                    </a:lnTo>
                    <a:lnTo>
                      <a:pt x="2064" y="3427"/>
                    </a:lnTo>
                    <a:lnTo>
                      <a:pt x="2069" y="3419"/>
                    </a:lnTo>
                    <a:lnTo>
                      <a:pt x="2070" y="3412"/>
                    </a:lnTo>
                    <a:lnTo>
                      <a:pt x="2074" y="3403"/>
                    </a:lnTo>
                    <a:lnTo>
                      <a:pt x="2081" y="3400"/>
                    </a:lnTo>
                    <a:lnTo>
                      <a:pt x="2089" y="3398"/>
                    </a:lnTo>
                    <a:lnTo>
                      <a:pt x="2096" y="3402"/>
                    </a:lnTo>
                    <a:lnTo>
                      <a:pt x="2114" y="3396"/>
                    </a:lnTo>
                    <a:lnTo>
                      <a:pt x="2114" y="3397"/>
                    </a:lnTo>
                    <a:lnTo>
                      <a:pt x="2151" y="3387"/>
                    </a:lnTo>
                    <a:lnTo>
                      <a:pt x="2183" y="3384"/>
                    </a:lnTo>
                    <a:lnTo>
                      <a:pt x="2211" y="3375"/>
                    </a:lnTo>
                    <a:lnTo>
                      <a:pt x="2218" y="3369"/>
                    </a:lnTo>
                    <a:lnTo>
                      <a:pt x="2226" y="3370"/>
                    </a:lnTo>
                    <a:lnTo>
                      <a:pt x="2234" y="3368"/>
                    </a:lnTo>
                    <a:lnTo>
                      <a:pt x="2238" y="3362"/>
                    </a:lnTo>
                    <a:lnTo>
                      <a:pt x="2238" y="3353"/>
                    </a:lnTo>
                    <a:lnTo>
                      <a:pt x="2238" y="3346"/>
                    </a:lnTo>
                    <a:lnTo>
                      <a:pt x="2247" y="3347"/>
                    </a:lnTo>
                    <a:lnTo>
                      <a:pt x="2254" y="3344"/>
                    </a:lnTo>
                    <a:lnTo>
                      <a:pt x="2259" y="3338"/>
                    </a:lnTo>
                    <a:lnTo>
                      <a:pt x="2265" y="3333"/>
                    </a:lnTo>
                    <a:lnTo>
                      <a:pt x="2274" y="3333"/>
                    </a:lnTo>
                    <a:lnTo>
                      <a:pt x="2279" y="3326"/>
                    </a:lnTo>
                    <a:lnTo>
                      <a:pt x="2286" y="3326"/>
                    </a:lnTo>
                    <a:lnTo>
                      <a:pt x="2293" y="3332"/>
                    </a:lnTo>
                    <a:lnTo>
                      <a:pt x="2300" y="3330"/>
                    </a:lnTo>
                    <a:lnTo>
                      <a:pt x="2307" y="3333"/>
                    </a:lnTo>
                    <a:lnTo>
                      <a:pt x="2316" y="3331"/>
                    </a:lnTo>
                    <a:lnTo>
                      <a:pt x="2323" y="3335"/>
                    </a:lnTo>
                    <a:lnTo>
                      <a:pt x="2328" y="3341"/>
                    </a:lnTo>
                    <a:lnTo>
                      <a:pt x="2342" y="3349"/>
                    </a:lnTo>
                    <a:lnTo>
                      <a:pt x="2349" y="3346"/>
                    </a:lnTo>
                    <a:lnTo>
                      <a:pt x="2355" y="3341"/>
                    </a:lnTo>
                    <a:lnTo>
                      <a:pt x="2371" y="3338"/>
                    </a:lnTo>
                    <a:lnTo>
                      <a:pt x="2379" y="3341"/>
                    </a:lnTo>
                    <a:lnTo>
                      <a:pt x="2385" y="3347"/>
                    </a:lnTo>
                    <a:lnTo>
                      <a:pt x="2388" y="3354"/>
                    </a:lnTo>
                    <a:lnTo>
                      <a:pt x="2390" y="3370"/>
                    </a:lnTo>
                    <a:lnTo>
                      <a:pt x="2388" y="3379"/>
                    </a:lnTo>
                    <a:lnTo>
                      <a:pt x="2391" y="3386"/>
                    </a:lnTo>
                    <a:lnTo>
                      <a:pt x="2403" y="3397"/>
                    </a:lnTo>
                    <a:lnTo>
                      <a:pt x="2399" y="3403"/>
                    </a:lnTo>
                    <a:lnTo>
                      <a:pt x="2401" y="3420"/>
                    </a:lnTo>
                    <a:lnTo>
                      <a:pt x="2396" y="3427"/>
                    </a:lnTo>
                    <a:lnTo>
                      <a:pt x="2391" y="3433"/>
                    </a:lnTo>
                    <a:lnTo>
                      <a:pt x="2394" y="3440"/>
                    </a:lnTo>
                    <a:lnTo>
                      <a:pt x="2397" y="3448"/>
                    </a:lnTo>
                    <a:lnTo>
                      <a:pt x="2413" y="3444"/>
                    </a:lnTo>
                    <a:lnTo>
                      <a:pt x="2420" y="3449"/>
                    </a:lnTo>
                    <a:lnTo>
                      <a:pt x="2428" y="3448"/>
                    </a:lnTo>
                    <a:lnTo>
                      <a:pt x="2431" y="3439"/>
                    </a:lnTo>
                    <a:lnTo>
                      <a:pt x="2439" y="3439"/>
                    </a:lnTo>
                    <a:lnTo>
                      <a:pt x="2446" y="3441"/>
                    </a:lnTo>
                    <a:lnTo>
                      <a:pt x="2449" y="3433"/>
                    </a:lnTo>
                    <a:lnTo>
                      <a:pt x="2449" y="3425"/>
                    </a:lnTo>
                    <a:lnTo>
                      <a:pt x="2456" y="3427"/>
                    </a:lnTo>
                    <a:lnTo>
                      <a:pt x="2460" y="3434"/>
                    </a:lnTo>
                    <a:lnTo>
                      <a:pt x="2462" y="3443"/>
                    </a:lnTo>
                    <a:lnTo>
                      <a:pt x="2467" y="3448"/>
                    </a:lnTo>
                    <a:lnTo>
                      <a:pt x="2465" y="3455"/>
                    </a:lnTo>
                    <a:lnTo>
                      <a:pt x="2463" y="3463"/>
                    </a:lnTo>
                    <a:lnTo>
                      <a:pt x="2479" y="3465"/>
                    </a:lnTo>
                    <a:lnTo>
                      <a:pt x="2477" y="3457"/>
                    </a:lnTo>
                    <a:lnTo>
                      <a:pt x="2472" y="3451"/>
                    </a:lnTo>
                    <a:lnTo>
                      <a:pt x="2479" y="3448"/>
                    </a:lnTo>
                    <a:lnTo>
                      <a:pt x="2495" y="3451"/>
                    </a:lnTo>
                    <a:lnTo>
                      <a:pt x="2503" y="3456"/>
                    </a:lnTo>
                    <a:lnTo>
                      <a:pt x="2508" y="3462"/>
                    </a:lnTo>
                    <a:lnTo>
                      <a:pt x="2516" y="3466"/>
                    </a:lnTo>
                    <a:lnTo>
                      <a:pt x="2523" y="3466"/>
                    </a:lnTo>
                    <a:lnTo>
                      <a:pt x="2527" y="3459"/>
                    </a:lnTo>
                    <a:lnTo>
                      <a:pt x="2535" y="3455"/>
                    </a:lnTo>
                    <a:lnTo>
                      <a:pt x="2537" y="3463"/>
                    </a:lnTo>
                    <a:lnTo>
                      <a:pt x="2537" y="3471"/>
                    </a:lnTo>
                    <a:lnTo>
                      <a:pt x="2528" y="3473"/>
                    </a:lnTo>
                    <a:lnTo>
                      <a:pt x="2522" y="3478"/>
                    </a:lnTo>
                    <a:lnTo>
                      <a:pt x="2517" y="3486"/>
                    </a:lnTo>
                    <a:lnTo>
                      <a:pt x="2515" y="3493"/>
                    </a:lnTo>
                    <a:lnTo>
                      <a:pt x="2516" y="3502"/>
                    </a:lnTo>
                    <a:lnTo>
                      <a:pt x="2521" y="3508"/>
                    </a:lnTo>
                    <a:lnTo>
                      <a:pt x="2528" y="3508"/>
                    </a:lnTo>
                    <a:lnTo>
                      <a:pt x="2533" y="3502"/>
                    </a:lnTo>
                    <a:lnTo>
                      <a:pt x="2548" y="3495"/>
                    </a:lnTo>
                    <a:lnTo>
                      <a:pt x="2555" y="3498"/>
                    </a:lnTo>
                    <a:lnTo>
                      <a:pt x="2564" y="3498"/>
                    </a:lnTo>
                    <a:lnTo>
                      <a:pt x="2570" y="3503"/>
                    </a:lnTo>
                    <a:lnTo>
                      <a:pt x="2578" y="3503"/>
                    </a:lnTo>
                    <a:lnTo>
                      <a:pt x="2575" y="3495"/>
                    </a:lnTo>
                    <a:lnTo>
                      <a:pt x="2580" y="3489"/>
                    </a:lnTo>
                    <a:lnTo>
                      <a:pt x="2589" y="3488"/>
                    </a:lnTo>
                    <a:lnTo>
                      <a:pt x="2598" y="3477"/>
                    </a:lnTo>
                    <a:lnTo>
                      <a:pt x="2614" y="3475"/>
                    </a:lnTo>
                    <a:lnTo>
                      <a:pt x="2627" y="3463"/>
                    </a:lnTo>
                    <a:lnTo>
                      <a:pt x="2633" y="3449"/>
                    </a:lnTo>
                    <a:lnTo>
                      <a:pt x="2639" y="3444"/>
                    </a:lnTo>
                    <a:lnTo>
                      <a:pt x="2648" y="3445"/>
                    </a:lnTo>
                    <a:lnTo>
                      <a:pt x="2664" y="3441"/>
                    </a:lnTo>
                    <a:lnTo>
                      <a:pt x="2671" y="3439"/>
                    </a:lnTo>
                    <a:lnTo>
                      <a:pt x="2675" y="3432"/>
                    </a:lnTo>
                    <a:lnTo>
                      <a:pt x="2691" y="3430"/>
                    </a:lnTo>
                    <a:lnTo>
                      <a:pt x="2704" y="3422"/>
                    </a:lnTo>
                    <a:lnTo>
                      <a:pt x="2708" y="3429"/>
                    </a:lnTo>
                    <a:lnTo>
                      <a:pt x="2709" y="3436"/>
                    </a:lnTo>
                    <a:lnTo>
                      <a:pt x="2704" y="3444"/>
                    </a:lnTo>
                    <a:lnTo>
                      <a:pt x="2697" y="3446"/>
                    </a:lnTo>
                    <a:lnTo>
                      <a:pt x="2689" y="3446"/>
                    </a:lnTo>
                    <a:lnTo>
                      <a:pt x="2688" y="345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87" name="Freeform 183">
                <a:extLst>
                  <a:ext uri="{FF2B5EF4-FFF2-40B4-BE49-F238E27FC236}">
                    <a16:creationId xmlns:a16="http://schemas.microsoft.com/office/drawing/2014/main" id="{3228F5F8-2944-FBCD-8D27-7C6A2185B89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730" y="1750"/>
                <a:ext cx="36" cy="27"/>
              </a:xfrm>
              <a:custGeom>
                <a:avLst/>
                <a:gdLst>
                  <a:gd name="T0" fmla="*/ 0 w 180"/>
                  <a:gd name="T1" fmla="*/ 5 h 134"/>
                  <a:gd name="T2" fmla="*/ 0 w 180"/>
                  <a:gd name="T3" fmla="*/ 5 h 134"/>
                  <a:gd name="T4" fmla="*/ 0 w 180"/>
                  <a:gd name="T5" fmla="*/ 4 h 134"/>
                  <a:gd name="T6" fmla="*/ 1 w 180"/>
                  <a:gd name="T7" fmla="*/ 4 h 134"/>
                  <a:gd name="T8" fmla="*/ 1 w 180"/>
                  <a:gd name="T9" fmla="*/ 4 h 134"/>
                  <a:gd name="T10" fmla="*/ 1 w 180"/>
                  <a:gd name="T11" fmla="*/ 3 h 134"/>
                  <a:gd name="T12" fmla="*/ 1 w 180"/>
                  <a:gd name="T13" fmla="*/ 3 h 134"/>
                  <a:gd name="T14" fmla="*/ 2 w 180"/>
                  <a:gd name="T15" fmla="*/ 3 h 134"/>
                  <a:gd name="T16" fmla="*/ 2 w 180"/>
                  <a:gd name="T17" fmla="*/ 3 h 134"/>
                  <a:gd name="T18" fmla="*/ 3 w 180"/>
                  <a:gd name="T19" fmla="*/ 2 h 134"/>
                  <a:gd name="T20" fmla="*/ 3 w 180"/>
                  <a:gd name="T21" fmla="*/ 1 h 134"/>
                  <a:gd name="T22" fmla="*/ 3 w 180"/>
                  <a:gd name="T23" fmla="*/ 1 h 134"/>
                  <a:gd name="T24" fmla="*/ 3 w 180"/>
                  <a:gd name="T25" fmla="*/ 0 h 134"/>
                  <a:gd name="T26" fmla="*/ 3 w 180"/>
                  <a:gd name="T27" fmla="*/ 1 h 134"/>
                  <a:gd name="T28" fmla="*/ 3 w 180"/>
                  <a:gd name="T29" fmla="*/ 2 h 134"/>
                  <a:gd name="T30" fmla="*/ 3 w 180"/>
                  <a:gd name="T31" fmla="*/ 2 h 134"/>
                  <a:gd name="T32" fmla="*/ 2 w 180"/>
                  <a:gd name="T33" fmla="*/ 3 h 134"/>
                  <a:gd name="T34" fmla="*/ 2 w 180"/>
                  <a:gd name="T35" fmla="*/ 3 h 134"/>
                  <a:gd name="T36" fmla="*/ 3 w 180"/>
                  <a:gd name="T37" fmla="*/ 3 h 134"/>
                  <a:gd name="T38" fmla="*/ 3 w 180"/>
                  <a:gd name="T39" fmla="*/ 3 h 134"/>
                  <a:gd name="T40" fmla="*/ 3 w 180"/>
                  <a:gd name="T41" fmla="*/ 3 h 134"/>
                  <a:gd name="T42" fmla="*/ 4 w 180"/>
                  <a:gd name="T43" fmla="*/ 3 h 134"/>
                  <a:gd name="T44" fmla="*/ 4 w 180"/>
                  <a:gd name="T45" fmla="*/ 2 h 134"/>
                  <a:gd name="T46" fmla="*/ 4 w 180"/>
                  <a:gd name="T47" fmla="*/ 2 h 134"/>
                  <a:gd name="T48" fmla="*/ 4 w 180"/>
                  <a:gd name="T49" fmla="*/ 2 h 134"/>
                  <a:gd name="T50" fmla="*/ 4 w 180"/>
                  <a:gd name="T51" fmla="*/ 2 h 134"/>
                  <a:gd name="T52" fmla="*/ 4 w 180"/>
                  <a:gd name="T53" fmla="*/ 2 h 134"/>
                  <a:gd name="T54" fmla="*/ 5 w 180"/>
                  <a:gd name="T55" fmla="*/ 2 h 134"/>
                  <a:gd name="T56" fmla="*/ 5 w 180"/>
                  <a:gd name="T57" fmla="*/ 2 h 134"/>
                  <a:gd name="T58" fmla="*/ 5 w 180"/>
                  <a:gd name="T59" fmla="*/ 2 h 134"/>
                  <a:gd name="T60" fmla="*/ 6 w 180"/>
                  <a:gd name="T61" fmla="*/ 2 h 134"/>
                  <a:gd name="T62" fmla="*/ 7 w 180"/>
                  <a:gd name="T63" fmla="*/ 2 h 134"/>
                  <a:gd name="T64" fmla="*/ 7 w 180"/>
                  <a:gd name="T65" fmla="*/ 2 h 134"/>
                  <a:gd name="T66" fmla="*/ 7 w 180"/>
                  <a:gd name="T67" fmla="*/ 3 h 134"/>
                  <a:gd name="T68" fmla="*/ 7 w 180"/>
                  <a:gd name="T69" fmla="*/ 4 h 134"/>
                  <a:gd name="T70" fmla="*/ 7 w 180"/>
                  <a:gd name="T71" fmla="*/ 5 h 134"/>
                  <a:gd name="T72" fmla="*/ 7 w 180"/>
                  <a:gd name="T73" fmla="*/ 5 h 134"/>
                  <a:gd name="T74" fmla="*/ 6 w 180"/>
                  <a:gd name="T75" fmla="*/ 5 h 134"/>
                  <a:gd name="T76" fmla="*/ 5 w 180"/>
                  <a:gd name="T77" fmla="*/ 5 h 134"/>
                  <a:gd name="T78" fmla="*/ 3 w 180"/>
                  <a:gd name="T79" fmla="*/ 5 h 134"/>
                  <a:gd name="T80" fmla="*/ 1 w 180"/>
                  <a:gd name="T81" fmla="*/ 5 h 134"/>
                  <a:gd name="T82" fmla="*/ 0 w 180"/>
                  <a:gd name="T83" fmla="*/ 5 h 134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80"/>
                  <a:gd name="T127" fmla="*/ 0 h 134"/>
                  <a:gd name="T128" fmla="*/ 180 w 180"/>
                  <a:gd name="T129" fmla="*/ 134 h 134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80" h="134">
                    <a:moveTo>
                      <a:pt x="0" y="118"/>
                    </a:moveTo>
                    <a:lnTo>
                      <a:pt x="2" y="114"/>
                    </a:lnTo>
                    <a:lnTo>
                      <a:pt x="12" y="107"/>
                    </a:lnTo>
                    <a:lnTo>
                      <a:pt x="14" y="102"/>
                    </a:lnTo>
                    <a:lnTo>
                      <a:pt x="19" y="87"/>
                    </a:lnTo>
                    <a:lnTo>
                      <a:pt x="21" y="76"/>
                    </a:lnTo>
                    <a:lnTo>
                      <a:pt x="25" y="70"/>
                    </a:lnTo>
                    <a:lnTo>
                      <a:pt x="46" y="69"/>
                    </a:lnTo>
                    <a:lnTo>
                      <a:pt x="55" y="63"/>
                    </a:lnTo>
                    <a:lnTo>
                      <a:pt x="67" y="48"/>
                    </a:lnTo>
                    <a:lnTo>
                      <a:pt x="77" y="32"/>
                    </a:lnTo>
                    <a:lnTo>
                      <a:pt x="82" y="15"/>
                    </a:lnTo>
                    <a:lnTo>
                      <a:pt x="83" y="0"/>
                    </a:lnTo>
                    <a:lnTo>
                      <a:pt x="79" y="27"/>
                    </a:lnTo>
                    <a:lnTo>
                      <a:pt x="71" y="46"/>
                    </a:lnTo>
                    <a:lnTo>
                      <a:pt x="65" y="55"/>
                    </a:lnTo>
                    <a:lnTo>
                      <a:pt x="57" y="64"/>
                    </a:lnTo>
                    <a:lnTo>
                      <a:pt x="61" y="71"/>
                    </a:lnTo>
                    <a:lnTo>
                      <a:pt x="67" y="70"/>
                    </a:lnTo>
                    <a:lnTo>
                      <a:pt x="76" y="75"/>
                    </a:lnTo>
                    <a:lnTo>
                      <a:pt x="87" y="75"/>
                    </a:lnTo>
                    <a:lnTo>
                      <a:pt x="89" y="66"/>
                    </a:lnTo>
                    <a:lnTo>
                      <a:pt x="89" y="49"/>
                    </a:lnTo>
                    <a:lnTo>
                      <a:pt x="93" y="44"/>
                    </a:lnTo>
                    <a:lnTo>
                      <a:pt x="93" y="41"/>
                    </a:lnTo>
                    <a:lnTo>
                      <a:pt x="103" y="38"/>
                    </a:lnTo>
                    <a:lnTo>
                      <a:pt x="109" y="43"/>
                    </a:lnTo>
                    <a:lnTo>
                      <a:pt x="116" y="46"/>
                    </a:lnTo>
                    <a:lnTo>
                      <a:pt x="122" y="50"/>
                    </a:lnTo>
                    <a:lnTo>
                      <a:pt x="130" y="54"/>
                    </a:lnTo>
                    <a:lnTo>
                      <a:pt x="147" y="57"/>
                    </a:lnTo>
                    <a:lnTo>
                      <a:pt x="163" y="55"/>
                    </a:lnTo>
                    <a:lnTo>
                      <a:pt x="169" y="59"/>
                    </a:lnTo>
                    <a:lnTo>
                      <a:pt x="180" y="82"/>
                    </a:lnTo>
                    <a:lnTo>
                      <a:pt x="174" y="97"/>
                    </a:lnTo>
                    <a:lnTo>
                      <a:pt x="174" y="114"/>
                    </a:lnTo>
                    <a:lnTo>
                      <a:pt x="177" y="124"/>
                    </a:lnTo>
                    <a:lnTo>
                      <a:pt x="153" y="127"/>
                    </a:lnTo>
                    <a:lnTo>
                      <a:pt x="126" y="133"/>
                    </a:lnTo>
                    <a:lnTo>
                      <a:pt x="78" y="134"/>
                    </a:lnTo>
                    <a:lnTo>
                      <a:pt x="14" y="123"/>
                    </a:lnTo>
                    <a:lnTo>
                      <a:pt x="0" y="11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sp>
          <p:nvSpPr>
            <p:cNvPr id="37" name="Freeform 184">
              <a:extLst>
                <a:ext uri="{FF2B5EF4-FFF2-40B4-BE49-F238E27FC236}">
                  <a16:creationId xmlns:a16="http://schemas.microsoft.com/office/drawing/2014/main" id="{A2533D8F-9DBA-7EEB-893C-A12C6F569CD2}"/>
                </a:ext>
              </a:extLst>
            </p:cNvPr>
            <p:cNvSpPr>
              <a:spLocks/>
            </p:cNvSpPr>
            <p:nvPr/>
          </p:nvSpPr>
          <p:spPr bwMode="gray">
            <a:xfrm>
              <a:off x="4384273" y="2121317"/>
              <a:ext cx="8790" cy="5436"/>
            </a:xfrm>
            <a:custGeom>
              <a:avLst/>
              <a:gdLst>
                <a:gd name="T0" fmla="*/ 2121 w 21"/>
                <a:gd name="T1" fmla="*/ 949 h 13"/>
                <a:gd name="T2" fmla="*/ 2651 w 21"/>
                <a:gd name="T3" fmla="*/ 1423 h 13"/>
                <a:gd name="T4" fmla="*/ 2121 w 21"/>
                <a:gd name="T5" fmla="*/ 1423 h 13"/>
                <a:gd name="T6" fmla="*/ 1061 w 21"/>
                <a:gd name="T7" fmla="*/ 1423 h 13"/>
                <a:gd name="T8" fmla="*/ 530 w 21"/>
                <a:gd name="T9" fmla="*/ 949 h 13"/>
                <a:gd name="T10" fmla="*/ 0 w 21"/>
                <a:gd name="T11" fmla="*/ 0 h 13"/>
                <a:gd name="T12" fmla="*/ 1591 w 21"/>
                <a:gd name="T13" fmla="*/ 0 h 13"/>
                <a:gd name="T14" fmla="*/ 2121 w 21"/>
                <a:gd name="T15" fmla="*/ 949 h 1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1"/>
                <a:gd name="T25" fmla="*/ 0 h 13"/>
                <a:gd name="T26" fmla="*/ 21 w 21"/>
                <a:gd name="T27" fmla="*/ 13 h 1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" h="13">
                  <a:moveTo>
                    <a:pt x="18" y="7"/>
                  </a:moveTo>
                  <a:lnTo>
                    <a:pt x="21" y="11"/>
                  </a:lnTo>
                  <a:lnTo>
                    <a:pt x="16" y="13"/>
                  </a:lnTo>
                  <a:lnTo>
                    <a:pt x="10" y="12"/>
                  </a:lnTo>
                  <a:lnTo>
                    <a:pt x="6" y="7"/>
                  </a:lnTo>
                  <a:lnTo>
                    <a:pt x="0" y="0"/>
                  </a:lnTo>
                  <a:lnTo>
                    <a:pt x="13" y="1"/>
                  </a:lnTo>
                  <a:lnTo>
                    <a:pt x="18" y="7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8" name="Freeform 185">
              <a:extLst>
                <a:ext uri="{FF2B5EF4-FFF2-40B4-BE49-F238E27FC236}">
                  <a16:creationId xmlns:a16="http://schemas.microsoft.com/office/drawing/2014/main" id="{D4F606DD-3305-DCD3-6201-CD88A4B1A166}"/>
                </a:ext>
              </a:extLst>
            </p:cNvPr>
            <p:cNvSpPr>
              <a:spLocks/>
            </p:cNvSpPr>
            <p:nvPr/>
          </p:nvSpPr>
          <p:spPr bwMode="gray">
            <a:xfrm>
              <a:off x="4541235" y="1990857"/>
              <a:ext cx="5023" cy="10871"/>
            </a:xfrm>
            <a:custGeom>
              <a:avLst/>
              <a:gdLst>
                <a:gd name="T0" fmla="*/ 955 w 14"/>
                <a:gd name="T1" fmla="*/ 2467 h 30"/>
                <a:gd name="T2" fmla="*/ 1432 w 14"/>
                <a:gd name="T3" fmla="*/ 2056 h 30"/>
                <a:gd name="T4" fmla="*/ 1432 w 14"/>
                <a:gd name="T5" fmla="*/ 822 h 30"/>
                <a:gd name="T6" fmla="*/ 1432 w 14"/>
                <a:gd name="T7" fmla="*/ 411 h 30"/>
                <a:gd name="T8" fmla="*/ 477 w 14"/>
                <a:gd name="T9" fmla="*/ 0 h 30"/>
                <a:gd name="T10" fmla="*/ 0 w 14"/>
                <a:gd name="T11" fmla="*/ 822 h 30"/>
                <a:gd name="T12" fmla="*/ 0 w 14"/>
                <a:gd name="T13" fmla="*/ 1645 h 30"/>
                <a:gd name="T14" fmla="*/ 955 w 14"/>
                <a:gd name="T15" fmla="*/ 2467 h 3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"/>
                <a:gd name="T25" fmla="*/ 0 h 30"/>
                <a:gd name="T26" fmla="*/ 14 w 14"/>
                <a:gd name="T27" fmla="*/ 30 h 3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" h="30">
                  <a:moveTo>
                    <a:pt x="8" y="30"/>
                  </a:moveTo>
                  <a:lnTo>
                    <a:pt x="14" y="23"/>
                  </a:lnTo>
                  <a:lnTo>
                    <a:pt x="14" y="12"/>
                  </a:lnTo>
                  <a:lnTo>
                    <a:pt x="13" y="5"/>
                  </a:lnTo>
                  <a:lnTo>
                    <a:pt x="4" y="0"/>
                  </a:lnTo>
                  <a:lnTo>
                    <a:pt x="2" y="8"/>
                  </a:lnTo>
                  <a:lnTo>
                    <a:pt x="0" y="18"/>
                  </a:lnTo>
                  <a:lnTo>
                    <a:pt x="8" y="30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grpSp>
          <p:nvGrpSpPr>
            <p:cNvPr id="39" name="Group 186">
              <a:extLst>
                <a:ext uri="{FF2B5EF4-FFF2-40B4-BE49-F238E27FC236}">
                  <a16:creationId xmlns:a16="http://schemas.microsoft.com/office/drawing/2014/main" id="{F4B79199-6950-7535-DAFD-390C8461AB1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485984" y="1999011"/>
              <a:ext cx="227282" cy="269073"/>
              <a:chOff x="2589" y="1903"/>
              <a:chExt cx="129" cy="153"/>
            </a:xfrm>
            <a:grpFill/>
          </p:grpSpPr>
          <p:sp>
            <p:nvSpPr>
              <p:cNvPr id="81" name="Freeform 187">
                <a:extLst>
                  <a:ext uri="{FF2B5EF4-FFF2-40B4-BE49-F238E27FC236}">
                    <a16:creationId xmlns:a16="http://schemas.microsoft.com/office/drawing/2014/main" id="{5065D7D7-B8DC-E827-8DDD-126B0166D55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653" y="2034"/>
                <a:ext cx="34" cy="22"/>
              </a:xfrm>
              <a:custGeom>
                <a:avLst/>
                <a:gdLst>
                  <a:gd name="T0" fmla="*/ 7 w 172"/>
                  <a:gd name="T1" fmla="*/ 0 h 110"/>
                  <a:gd name="T2" fmla="*/ 7 w 172"/>
                  <a:gd name="T3" fmla="*/ 0 h 110"/>
                  <a:gd name="T4" fmla="*/ 7 w 172"/>
                  <a:gd name="T5" fmla="*/ 0 h 110"/>
                  <a:gd name="T6" fmla="*/ 7 w 172"/>
                  <a:gd name="T7" fmla="*/ 0 h 110"/>
                  <a:gd name="T8" fmla="*/ 6 w 172"/>
                  <a:gd name="T9" fmla="*/ 1 h 110"/>
                  <a:gd name="T10" fmla="*/ 6 w 172"/>
                  <a:gd name="T11" fmla="*/ 2 h 110"/>
                  <a:gd name="T12" fmla="*/ 6 w 172"/>
                  <a:gd name="T13" fmla="*/ 3 h 110"/>
                  <a:gd name="T14" fmla="*/ 6 w 172"/>
                  <a:gd name="T15" fmla="*/ 3 h 110"/>
                  <a:gd name="T16" fmla="*/ 6 w 172"/>
                  <a:gd name="T17" fmla="*/ 3 h 110"/>
                  <a:gd name="T18" fmla="*/ 6 w 172"/>
                  <a:gd name="T19" fmla="*/ 3 h 110"/>
                  <a:gd name="T20" fmla="*/ 6 w 172"/>
                  <a:gd name="T21" fmla="*/ 4 h 110"/>
                  <a:gd name="T22" fmla="*/ 6 w 172"/>
                  <a:gd name="T23" fmla="*/ 4 h 110"/>
                  <a:gd name="T24" fmla="*/ 5 w 172"/>
                  <a:gd name="T25" fmla="*/ 4 h 110"/>
                  <a:gd name="T26" fmla="*/ 5 w 172"/>
                  <a:gd name="T27" fmla="*/ 4 h 110"/>
                  <a:gd name="T28" fmla="*/ 4 w 172"/>
                  <a:gd name="T29" fmla="*/ 4 h 110"/>
                  <a:gd name="T30" fmla="*/ 4 w 172"/>
                  <a:gd name="T31" fmla="*/ 4 h 110"/>
                  <a:gd name="T32" fmla="*/ 3 w 172"/>
                  <a:gd name="T33" fmla="*/ 3 h 110"/>
                  <a:gd name="T34" fmla="*/ 3 w 172"/>
                  <a:gd name="T35" fmla="*/ 3 h 110"/>
                  <a:gd name="T36" fmla="*/ 3 w 172"/>
                  <a:gd name="T37" fmla="*/ 3 h 110"/>
                  <a:gd name="T38" fmla="*/ 2 w 172"/>
                  <a:gd name="T39" fmla="*/ 3 h 110"/>
                  <a:gd name="T40" fmla="*/ 2 w 172"/>
                  <a:gd name="T41" fmla="*/ 3 h 110"/>
                  <a:gd name="T42" fmla="*/ 1 w 172"/>
                  <a:gd name="T43" fmla="*/ 2 h 110"/>
                  <a:gd name="T44" fmla="*/ 1 w 172"/>
                  <a:gd name="T45" fmla="*/ 2 h 110"/>
                  <a:gd name="T46" fmla="*/ 0 w 172"/>
                  <a:gd name="T47" fmla="*/ 2 h 110"/>
                  <a:gd name="T48" fmla="*/ 0 w 172"/>
                  <a:gd name="T49" fmla="*/ 2 h 110"/>
                  <a:gd name="T50" fmla="*/ 0 w 172"/>
                  <a:gd name="T51" fmla="*/ 1 h 110"/>
                  <a:gd name="T52" fmla="*/ 0 w 172"/>
                  <a:gd name="T53" fmla="*/ 1 h 110"/>
                  <a:gd name="T54" fmla="*/ 0 w 172"/>
                  <a:gd name="T55" fmla="*/ 1 h 110"/>
                  <a:gd name="T56" fmla="*/ 0 w 172"/>
                  <a:gd name="T57" fmla="*/ 0 h 110"/>
                  <a:gd name="T58" fmla="*/ 0 w 172"/>
                  <a:gd name="T59" fmla="*/ 0 h 110"/>
                  <a:gd name="T60" fmla="*/ 1 w 172"/>
                  <a:gd name="T61" fmla="*/ 1 h 110"/>
                  <a:gd name="T62" fmla="*/ 1 w 172"/>
                  <a:gd name="T63" fmla="*/ 1 h 110"/>
                  <a:gd name="T64" fmla="*/ 2 w 172"/>
                  <a:gd name="T65" fmla="*/ 0 h 110"/>
                  <a:gd name="T66" fmla="*/ 2 w 172"/>
                  <a:gd name="T67" fmla="*/ 1 h 110"/>
                  <a:gd name="T68" fmla="*/ 3 w 172"/>
                  <a:gd name="T69" fmla="*/ 1 h 110"/>
                  <a:gd name="T70" fmla="*/ 3 w 172"/>
                  <a:gd name="T71" fmla="*/ 1 h 110"/>
                  <a:gd name="T72" fmla="*/ 3 w 172"/>
                  <a:gd name="T73" fmla="*/ 1 h 110"/>
                  <a:gd name="T74" fmla="*/ 4 w 172"/>
                  <a:gd name="T75" fmla="*/ 1 h 110"/>
                  <a:gd name="T76" fmla="*/ 5 w 172"/>
                  <a:gd name="T77" fmla="*/ 1 h 110"/>
                  <a:gd name="T78" fmla="*/ 5 w 172"/>
                  <a:gd name="T79" fmla="*/ 0 h 110"/>
                  <a:gd name="T80" fmla="*/ 6 w 172"/>
                  <a:gd name="T81" fmla="*/ 0 h 110"/>
                  <a:gd name="T82" fmla="*/ 6 w 172"/>
                  <a:gd name="T83" fmla="*/ 0 h 110"/>
                  <a:gd name="T84" fmla="*/ 6 w 172"/>
                  <a:gd name="T85" fmla="*/ 0 h 110"/>
                  <a:gd name="T86" fmla="*/ 7 w 172"/>
                  <a:gd name="T87" fmla="*/ 0 h 110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72"/>
                  <a:gd name="T133" fmla="*/ 0 h 110"/>
                  <a:gd name="T134" fmla="*/ 172 w 172"/>
                  <a:gd name="T135" fmla="*/ 110 h 110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72" h="110">
                    <a:moveTo>
                      <a:pt x="172" y="0"/>
                    </a:moveTo>
                    <a:lnTo>
                      <a:pt x="168" y="1"/>
                    </a:lnTo>
                    <a:lnTo>
                      <a:pt x="168" y="2"/>
                    </a:lnTo>
                    <a:lnTo>
                      <a:pt x="167" y="12"/>
                    </a:lnTo>
                    <a:lnTo>
                      <a:pt x="153" y="34"/>
                    </a:lnTo>
                    <a:lnTo>
                      <a:pt x="143" y="60"/>
                    </a:lnTo>
                    <a:lnTo>
                      <a:pt x="142" y="66"/>
                    </a:lnTo>
                    <a:lnTo>
                      <a:pt x="146" y="70"/>
                    </a:lnTo>
                    <a:lnTo>
                      <a:pt x="147" y="75"/>
                    </a:lnTo>
                    <a:lnTo>
                      <a:pt x="152" y="87"/>
                    </a:lnTo>
                    <a:lnTo>
                      <a:pt x="146" y="103"/>
                    </a:lnTo>
                    <a:lnTo>
                      <a:pt x="145" y="110"/>
                    </a:lnTo>
                    <a:lnTo>
                      <a:pt x="130" y="110"/>
                    </a:lnTo>
                    <a:lnTo>
                      <a:pt x="118" y="108"/>
                    </a:lnTo>
                    <a:lnTo>
                      <a:pt x="108" y="98"/>
                    </a:lnTo>
                    <a:lnTo>
                      <a:pt x="99" y="88"/>
                    </a:lnTo>
                    <a:lnTo>
                      <a:pt x="84" y="83"/>
                    </a:lnTo>
                    <a:lnTo>
                      <a:pt x="76" y="82"/>
                    </a:lnTo>
                    <a:lnTo>
                      <a:pt x="67" y="79"/>
                    </a:lnTo>
                    <a:lnTo>
                      <a:pt x="61" y="71"/>
                    </a:lnTo>
                    <a:lnTo>
                      <a:pt x="49" y="66"/>
                    </a:lnTo>
                    <a:lnTo>
                      <a:pt x="37" y="56"/>
                    </a:lnTo>
                    <a:lnTo>
                      <a:pt x="25" y="51"/>
                    </a:lnTo>
                    <a:lnTo>
                      <a:pt x="8" y="48"/>
                    </a:lnTo>
                    <a:lnTo>
                      <a:pt x="2" y="40"/>
                    </a:lnTo>
                    <a:lnTo>
                      <a:pt x="0" y="26"/>
                    </a:lnTo>
                    <a:lnTo>
                      <a:pt x="1" y="18"/>
                    </a:lnTo>
                    <a:lnTo>
                      <a:pt x="3" y="15"/>
                    </a:lnTo>
                    <a:lnTo>
                      <a:pt x="6" y="10"/>
                    </a:lnTo>
                    <a:lnTo>
                      <a:pt x="9" y="8"/>
                    </a:lnTo>
                    <a:lnTo>
                      <a:pt x="19" y="15"/>
                    </a:lnTo>
                    <a:lnTo>
                      <a:pt x="25" y="15"/>
                    </a:lnTo>
                    <a:lnTo>
                      <a:pt x="41" y="5"/>
                    </a:lnTo>
                    <a:lnTo>
                      <a:pt x="62" y="15"/>
                    </a:lnTo>
                    <a:lnTo>
                      <a:pt x="66" y="22"/>
                    </a:lnTo>
                    <a:lnTo>
                      <a:pt x="73" y="22"/>
                    </a:lnTo>
                    <a:lnTo>
                      <a:pt x="80" y="20"/>
                    </a:lnTo>
                    <a:lnTo>
                      <a:pt x="110" y="16"/>
                    </a:lnTo>
                    <a:lnTo>
                      <a:pt x="119" y="13"/>
                    </a:lnTo>
                    <a:lnTo>
                      <a:pt x="127" y="8"/>
                    </a:lnTo>
                    <a:lnTo>
                      <a:pt x="146" y="8"/>
                    </a:lnTo>
                    <a:lnTo>
                      <a:pt x="152" y="4"/>
                    </a:lnTo>
                    <a:lnTo>
                      <a:pt x="163" y="2"/>
                    </a:lnTo>
                    <a:lnTo>
                      <a:pt x="172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82" name="Freeform 188">
                <a:extLst>
                  <a:ext uri="{FF2B5EF4-FFF2-40B4-BE49-F238E27FC236}">
                    <a16:creationId xmlns:a16="http://schemas.microsoft.com/office/drawing/2014/main" id="{0AE15888-F29E-E4A8-0EE1-99992D5BDDF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606" y="1991"/>
                <a:ext cx="16" cy="35"/>
              </a:xfrm>
              <a:custGeom>
                <a:avLst/>
                <a:gdLst>
                  <a:gd name="T0" fmla="*/ 2 w 82"/>
                  <a:gd name="T1" fmla="*/ 0 h 173"/>
                  <a:gd name="T2" fmla="*/ 2 w 82"/>
                  <a:gd name="T3" fmla="*/ 0 h 173"/>
                  <a:gd name="T4" fmla="*/ 2 w 82"/>
                  <a:gd name="T5" fmla="*/ 0 h 173"/>
                  <a:gd name="T6" fmla="*/ 3 w 82"/>
                  <a:gd name="T7" fmla="*/ 0 h 173"/>
                  <a:gd name="T8" fmla="*/ 3 w 82"/>
                  <a:gd name="T9" fmla="*/ 1 h 173"/>
                  <a:gd name="T10" fmla="*/ 3 w 82"/>
                  <a:gd name="T11" fmla="*/ 2 h 173"/>
                  <a:gd name="T12" fmla="*/ 3 w 82"/>
                  <a:gd name="T13" fmla="*/ 3 h 173"/>
                  <a:gd name="T14" fmla="*/ 3 w 82"/>
                  <a:gd name="T15" fmla="*/ 3 h 173"/>
                  <a:gd name="T16" fmla="*/ 3 w 82"/>
                  <a:gd name="T17" fmla="*/ 4 h 173"/>
                  <a:gd name="T18" fmla="*/ 3 w 82"/>
                  <a:gd name="T19" fmla="*/ 6 h 173"/>
                  <a:gd name="T20" fmla="*/ 3 w 82"/>
                  <a:gd name="T21" fmla="*/ 6 h 173"/>
                  <a:gd name="T22" fmla="*/ 3 w 82"/>
                  <a:gd name="T23" fmla="*/ 6 h 173"/>
                  <a:gd name="T24" fmla="*/ 3 w 82"/>
                  <a:gd name="T25" fmla="*/ 6 h 173"/>
                  <a:gd name="T26" fmla="*/ 2 w 82"/>
                  <a:gd name="T27" fmla="*/ 6 h 173"/>
                  <a:gd name="T28" fmla="*/ 2 w 82"/>
                  <a:gd name="T29" fmla="*/ 6 h 173"/>
                  <a:gd name="T30" fmla="*/ 2 w 82"/>
                  <a:gd name="T31" fmla="*/ 7 h 173"/>
                  <a:gd name="T32" fmla="*/ 2 w 82"/>
                  <a:gd name="T33" fmla="*/ 7 h 173"/>
                  <a:gd name="T34" fmla="*/ 1 w 82"/>
                  <a:gd name="T35" fmla="*/ 7 h 173"/>
                  <a:gd name="T36" fmla="*/ 1 w 82"/>
                  <a:gd name="T37" fmla="*/ 7 h 173"/>
                  <a:gd name="T38" fmla="*/ 1 w 82"/>
                  <a:gd name="T39" fmla="*/ 6 h 173"/>
                  <a:gd name="T40" fmla="*/ 1 w 82"/>
                  <a:gd name="T41" fmla="*/ 6 h 173"/>
                  <a:gd name="T42" fmla="*/ 1 w 82"/>
                  <a:gd name="T43" fmla="*/ 6 h 173"/>
                  <a:gd name="T44" fmla="*/ 0 w 82"/>
                  <a:gd name="T45" fmla="*/ 5 h 173"/>
                  <a:gd name="T46" fmla="*/ 1 w 82"/>
                  <a:gd name="T47" fmla="*/ 4 h 173"/>
                  <a:gd name="T48" fmla="*/ 1 w 82"/>
                  <a:gd name="T49" fmla="*/ 4 h 173"/>
                  <a:gd name="T50" fmla="*/ 1 w 82"/>
                  <a:gd name="T51" fmla="*/ 4 h 173"/>
                  <a:gd name="T52" fmla="*/ 1 w 82"/>
                  <a:gd name="T53" fmla="*/ 4 h 173"/>
                  <a:gd name="T54" fmla="*/ 1 w 82"/>
                  <a:gd name="T55" fmla="*/ 4 h 173"/>
                  <a:gd name="T56" fmla="*/ 1 w 82"/>
                  <a:gd name="T57" fmla="*/ 3 h 173"/>
                  <a:gd name="T58" fmla="*/ 1 w 82"/>
                  <a:gd name="T59" fmla="*/ 3 h 173"/>
                  <a:gd name="T60" fmla="*/ 0 w 82"/>
                  <a:gd name="T61" fmla="*/ 3 h 173"/>
                  <a:gd name="T62" fmla="*/ 0 w 82"/>
                  <a:gd name="T63" fmla="*/ 2 h 173"/>
                  <a:gd name="T64" fmla="*/ 0 w 82"/>
                  <a:gd name="T65" fmla="*/ 2 h 173"/>
                  <a:gd name="T66" fmla="*/ 0 w 82"/>
                  <a:gd name="T67" fmla="*/ 2 h 173"/>
                  <a:gd name="T68" fmla="*/ 0 w 82"/>
                  <a:gd name="T69" fmla="*/ 2 h 173"/>
                  <a:gd name="T70" fmla="*/ 0 w 82"/>
                  <a:gd name="T71" fmla="*/ 1 h 173"/>
                  <a:gd name="T72" fmla="*/ 0 w 82"/>
                  <a:gd name="T73" fmla="*/ 1 h 173"/>
                  <a:gd name="T74" fmla="*/ 0 w 82"/>
                  <a:gd name="T75" fmla="*/ 1 h 173"/>
                  <a:gd name="T76" fmla="*/ 1 w 82"/>
                  <a:gd name="T77" fmla="*/ 1 h 173"/>
                  <a:gd name="T78" fmla="*/ 2 w 82"/>
                  <a:gd name="T79" fmla="*/ 0 h 173"/>
                  <a:gd name="T80" fmla="*/ 2 w 82"/>
                  <a:gd name="T81" fmla="*/ 0 h 173"/>
                  <a:gd name="T82" fmla="*/ 2 w 82"/>
                  <a:gd name="T83" fmla="*/ 0 h 173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82"/>
                  <a:gd name="T127" fmla="*/ 0 h 173"/>
                  <a:gd name="T128" fmla="*/ 82 w 82"/>
                  <a:gd name="T129" fmla="*/ 173 h 173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82" h="173">
                    <a:moveTo>
                      <a:pt x="50" y="0"/>
                    </a:moveTo>
                    <a:lnTo>
                      <a:pt x="63" y="5"/>
                    </a:lnTo>
                    <a:lnTo>
                      <a:pt x="64" y="8"/>
                    </a:lnTo>
                    <a:lnTo>
                      <a:pt x="70" y="12"/>
                    </a:lnTo>
                    <a:lnTo>
                      <a:pt x="75" y="24"/>
                    </a:lnTo>
                    <a:lnTo>
                      <a:pt x="81" y="43"/>
                    </a:lnTo>
                    <a:lnTo>
                      <a:pt x="82" y="63"/>
                    </a:lnTo>
                    <a:lnTo>
                      <a:pt x="80" y="79"/>
                    </a:lnTo>
                    <a:lnTo>
                      <a:pt x="81" y="111"/>
                    </a:lnTo>
                    <a:lnTo>
                      <a:pt x="80" y="138"/>
                    </a:lnTo>
                    <a:lnTo>
                      <a:pt x="76" y="144"/>
                    </a:lnTo>
                    <a:lnTo>
                      <a:pt x="76" y="149"/>
                    </a:lnTo>
                    <a:lnTo>
                      <a:pt x="70" y="154"/>
                    </a:lnTo>
                    <a:lnTo>
                      <a:pt x="57" y="150"/>
                    </a:lnTo>
                    <a:lnTo>
                      <a:pt x="52" y="155"/>
                    </a:lnTo>
                    <a:lnTo>
                      <a:pt x="47" y="165"/>
                    </a:lnTo>
                    <a:lnTo>
                      <a:pt x="41" y="171"/>
                    </a:lnTo>
                    <a:lnTo>
                      <a:pt x="31" y="173"/>
                    </a:lnTo>
                    <a:lnTo>
                      <a:pt x="26" y="168"/>
                    </a:lnTo>
                    <a:lnTo>
                      <a:pt x="15" y="152"/>
                    </a:lnTo>
                    <a:lnTo>
                      <a:pt x="14" y="144"/>
                    </a:lnTo>
                    <a:lnTo>
                      <a:pt x="14" y="139"/>
                    </a:lnTo>
                    <a:lnTo>
                      <a:pt x="11" y="130"/>
                    </a:lnTo>
                    <a:lnTo>
                      <a:pt x="14" y="109"/>
                    </a:lnTo>
                    <a:lnTo>
                      <a:pt x="17" y="106"/>
                    </a:lnTo>
                    <a:lnTo>
                      <a:pt x="18" y="101"/>
                    </a:lnTo>
                    <a:lnTo>
                      <a:pt x="16" y="97"/>
                    </a:lnTo>
                    <a:lnTo>
                      <a:pt x="14" y="89"/>
                    </a:lnTo>
                    <a:lnTo>
                      <a:pt x="15" y="80"/>
                    </a:lnTo>
                    <a:lnTo>
                      <a:pt x="15" y="70"/>
                    </a:lnTo>
                    <a:lnTo>
                      <a:pt x="12" y="63"/>
                    </a:lnTo>
                    <a:lnTo>
                      <a:pt x="10" y="54"/>
                    </a:lnTo>
                    <a:lnTo>
                      <a:pt x="7" y="53"/>
                    </a:lnTo>
                    <a:lnTo>
                      <a:pt x="4" y="53"/>
                    </a:lnTo>
                    <a:lnTo>
                      <a:pt x="0" y="47"/>
                    </a:lnTo>
                    <a:lnTo>
                      <a:pt x="0" y="26"/>
                    </a:lnTo>
                    <a:lnTo>
                      <a:pt x="1" y="25"/>
                    </a:lnTo>
                    <a:lnTo>
                      <a:pt x="10" y="33"/>
                    </a:lnTo>
                    <a:lnTo>
                      <a:pt x="20" y="32"/>
                    </a:lnTo>
                    <a:lnTo>
                      <a:pt x="39" y="12"/>
                    </a:lnTo>
                    <a:lnTo>
                      <a:pt x="45" y="10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83" name="Freeform 189">
                <a:extLst>
                  <a:ext uri="{FF2B5EF4-FFF2-40B4-BE49-F238E27FC236}">
                    <a16:creationId xmlns:a16="http://schemas.microsoft.com/office/drawing/2014/main" id="{8D974782-BEA4-1F4E-9C87-1B70FB7E748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89" y="1903"/>
                <a:ext cx="129" cy="136"/>
              </a:xfrm>
              <a:custGeom>
                <a:avLst/>
                <a:gdLst>
                  <a:gd name="T0" fmla="*/ 8 w 645"/>
                  <a:gd name="T1" fmla="*/ 2 h 681"/>
                  <a:gd name="T2" fmla="*/ 7 w 645"/>
                  <a:gd name="T3" fmla="*/ 2 h 681"/>
                  <a:gd name="T4" fmla="*/ 6 w 645"/>
                  <a:gd name="T5" fmla="*/ 2 h 681"/>
                  <a:gd name="T6" fmla="*/ 5 w 645"/>
                  <a:gd name="T7" fmla="*/ 4 h 681"/>
                  <a:gd name="T8" fmla="*/ 4 w 645"/>
                  <a:gd name="T9" fmla="*/ 3 h 681"/>
                  <a:gd name="T10" fmla="*/ 3 w 645"/>
                  <a:gd name="T11" fmla="*/ 3 h 681"/>
                  <a:gd name="T12" fmla="*/ 1 w 645"/>
                  <a:gd name="T13" fmla="*/ 4 h 681"/>
                  <a:gd name="T14" fmla="*/ 0 w 645"/>
                  <a:gd name="T15" fmla="*/ 4 h 681"/>
                  <a:gd name="T16" fmla="*/ 0 w 645"/>
                  <a:gd name="T17" fmla="*/ 6 h 681"/>
                  <a:gd name="T18" fmla="*/ 0 w 645"/>
                  <a:gd name="T19" fmla="*/ 7 h 681"/>
                  <a:gd name="T20" fmla="*/ 1 w 645"/>
                  <a:gd name="T21" fmla="*/ 9 h 681"/>
                  <a:gd name="T22" fmla="*/ 2 w 645"/>
                  <a:gd name="T23" fmla="*/ 10 h 681"/>
                  <a:gd name="T24" fmla="*/ 3 w 645"/>
                  <a:gd name="T25" fmla="*/ 10 h 681"/>
                  <a:gd name="T26" fmla="*/ 4 w 645"/>
                  <a:gd name="T27" fmla="*/ 9 h 681"/>
                  <a:gd name="T28" fmla="*/ 5 w 645"/>
                  <a:gd name="T29" fmla="*/ 9 h 681"/>
                  <a:gd name="T30" fmla="*/ 8 w 645"/>
                  <a:gd name="T31" fmla="*/ 10 h 681"/>
                  <a:gd name="T32" fmla="*/ 9 w 645"/>
                  <a:gd name="T33" fmla="*/ 13 h 681"/>
                  <a:gd name="T34" fmla="*/ 10 w 645"/>
                  <a:gd name="T35" fmla="*/ 14 h 681"/>
                  <a:gd name="T36" fmla="*/ 12 w 645"/>
                  <a:gd name="T37" fmla="*/ 16 h 681"/>
                  <a:gd name="T38" fmla="*/ 15 w 645"/>
                  <a:gd name="T39" fmla="*/ 18 h 681"/>
                  <a:gd name="T40" fmla="*/ 17 w 645"/>
                  <a:gd name="T41" fmla="*/ 19 h 681"/>
                  <a:gd name="T42" fmla="*/ 18 w 645"/>
                  <a:gd name="T43" fmla="*/ 19 h 681"/>
                  <a:gd name="T44" fmla="*/ 18 w 645"/>
                  <a:gd name="T45" fmla="*/ 21 h 681"/>
                  <a:gd name="T46" fmla="*/ 19 w 645"/>
                  <a:gd name="T47" fmla="*/ 21 h 681"/>
                  <a:gd name="T48" fmla="*/ 20 w 645"/>
                  <a:gd name="T49" fmla="*/ 22 h 681"/>
                  <a:gd name="T50" fmla="*/ 20 w 645"/>
                  <a:gd name="T51" fmla="*/ 25 h 681"/>
                  <a:gd name="T52" fmla="*/ 20 w 645"/>
                  <a:gd name="T53" fmla="*/ 26 h 681"/>
                  <a:gd name="T54" fmla="*/ 20 w 645"/>
                  <a:gd name="T55" fmla="*/ 27 h 681"/>
                  <a:gd name="T56" fmla="*/ 21 w 645"/>
                  <a:gd name="T57" fmla="*/ 26 h 681"/>
                  <a:gd name="T58" fmla="*/ 22 w 645"/>
                  <a:gd name="T59" fmla="*/ 26 h 681"/>
                  <a:gd name="T60" fmla="*/ 22 w 645"/>
                  <a:gd name="T61" fmla="*/ 24 h 681"/>
                  <a:gd name="T62" fmla="*/ 23 w 645"/>
                  <a:gd name="T63" fmla="*/ 23 h 681"/>
                  <a:gd name="T64" fmla="*/ 22 w 645"/>
                  <a:gd name="T65" fmla="*/ 22 h 681"/>
                  <a:gd name="T66" fmla="*/ 22 w 645"/>
                  <a:gd name="T67" fmla="*/ 20 h 681"/>
                  <a:gd name="T68" fmla="*/ 24 w 645"/>
                  <a:gd name="T69" fmla="*/ 20 h 681"/>
                  <a:gd name="T70" fmla="*/ 25 w 645"/>
                  <a:gd name="T71" fmla="*/ 22 h 681"/>
                  <a:gd name="T72" fmla="*/ 25 w 645"/>
                  <a:gd name="T73" fmla="*/ 20 h 681"/>
                  <a:gd name="T74" fmla="*/ 23 w 645"/>
                  <a:gd name="T75" fmla="*/ 18 h 681"/>
                  <a:gd name="T76" fmla="*/ 20 w 645"/>
                  <a:gd name="T77" fmla="*/ 17 h 681"/>
                  <a:gd name="T78" fmla="*/ 20 w 645"/>
                  <a:gd name="T79" fmla="*/ 17 h 681"/>
                  <a:gd name="T80" fmla="*/ 20 w 645"/>
                  <a:gd name="T81" fmla="*/ 16 h 681"/>
                  <a:gd name="T82" fmla="*/ 19 w 645"/>
                  <a:gd name="T83" fmla="*/ 16 h 681"/>
                  <a:gd name="T84" fmla="*/ 17 w 645"/>
                  <a:gd name="T85" fmla="*/ 15 h 681"/>
                  <a:gd name="T86" fmla="*/ 16 w 645"/>
                  <a:gd name="T87" fmla="*/ 14 h 681"/>
                  <a:gd name="T88" fmla="*/ 15 w 645"/>
                  <a:gd name="T89" fmla="*/ 11 h 681"/>
                  <a:gd name="T90" fmla="*/ 14 w 645"/>
                  <a:gd name="T91" fmla="*/ 11 h 681"/>
                  <a:gd name="T92" fmla="*/ 13 w 645"/>
                  <a:gd name="T93" fmla="*/ 9 h 681"/>
                  <a:gd name="T94" fmla="*/ 12 w 645"/>
                  <a:gd name="T95" fmla="*/ 7 h 681"/>
                  <a:gd name="T96" fmla="*/ 12 w 645"/>
                  <a:gd name="T97" fmla="*/ 6 h 681"/>
                  <a:gd name="T98" fmla="*/ 13 w 645"/>
                  <a:gd name="T99" fmla="*/ 5 h 681"/>
                  <a:gd name="T100" fmla="*/ 15 w 645"/>
                  <a:gd name="T101" fmla="*/ 4 h 681"/>
                  <a:gd name="T102" fmla="*/ 15 w 645"/>
                  <a:gd name="T103" fmla="*/ 5 h 681"/>
                  <a:gd name="T104" fmla="*/ 16 w 645"/>
                  <a:gd name="T105" fmla="*/ 5 h 681"/>
                  <a:gd name="T106" fmla="*/ 15 w 645"/>
                  <a:gd name="T107" fmla="*/ 4 h 681"/>
                  <a:gd name="T108" fmla="*/ 15 w 645"/>
                  <a:gd name="T109" fmla="*/ 3 h 681"/>
                  <a:gd name="T110" fmla="*/ 15 w 645"/>
                  <a:gd name="T111" fmla="*/ 3 h 681"/>
                  <a:gd name="T112" fmla="*/ 15 w 645"/>
                  <a:gd name="T113" fmla="*/ 2 h 681"/>
                  <a:gd name="T114" fmla="*/ 13 w 645"/>
                  <a:gd name="T115" fmla="*/ 1 h 681"/>
                  <a:gd name="T116" fmla="*/ 12 w 645"/>
                  <a:gd name="T117" fmla="*/ 0 h 681"/>
                  <a:gd name="T118" fmla="*/ 11 w 645"/>
                  <a:gd name="T119" fmla="*/ 0 h 681"/>
                  <a:gd name="T120" fmla="*/ 9 w 645"/>
                  <a:gd name="T121" fmla="*/ 1 h 68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645"/>
                  <a:gd name="T184" fmla="*/ 0 h 681"/>
                  <a:gd name="T185" fmla="*/ 645 w 645"/>
                  <a:gd name="T186" fmla="*/ 681 h 681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645" h="681">
                    <a:moveTo>
                      <a:pt x="201" y="17"/>
                    </a:moveTo>
                    <a:lnTo>
                      <a:pt x="199" y="28"/>
                    </a:lnTo>
                    <a:lnTo>
                      <a:pt x="199" y="36"/>
                    </a:lnTo>
                    <a:lnTo>
                      <a:pt x="195" y="38"/>
                    </a:lnTo>
                    <a:lnTo>
                      <a:pt x="184" y="40"/>
                    </a:lnTo>
                    <a:lnTo>
                      <a:pt x="183" y="46"/>
                    </a:lnTo>
                    <a:lnTo>
                      <a:pt x="184" y="53"/>
                    </a:lnTo>
                    <a:lnTo>
                      <a:pt x="186" y="59"/>
                    </a:lnTo>
                    <a:lnTo>
                      <a:pt x="185" y="63"/>
                    </a:lnTo>
                    <a:lnTo>
                      <a:pt x="164" y="59"/>
                    </a:lnTo>
                    <a:lnTo>
                      <a:pt x="153" y="58"/>
                    </a:lnTo>
                    <a:lnTo>
                      <a:pt x="147" y="53"/>
                    </a:lnTo>
                    <a:lnTo>
                      <a:pt x="140" y="49"/>
                    </a:lnTo>
                    <a:lnTo>
                      <a:pt x="137" y="60"/>
                    </a:lnTo>
                    <a:lnTo>
                      <a:pt x="126" y="79"/>
                    </a:lnTo>
                    <a:lnTo>
                      <a:pt x="125" y="89"/>
                    </a:lnTo>
                    <a:lnTo>
                      <a:pt x="123" y="94"/>
                    </a:lnTo>
                    <a:lnTo>
                      <a:pt x="115" y="89"/>
                    </a:lnTo>
                    <a:lnTo>
                      <a:pt x="109" y="81"/>
                    </a:lnTo>
                    <a:lnTo>
                      <a:pt x="98" y="73"/>
                    </a:lnTo>
                    <a:lnTo>
                      <a:pt x="92" y="53"/>
                    </a:lnTo>
                    <a:lnTo>
                      <a:pt x="81" y="59"/>
                    </a:lnTo>
                    <a:lnTo>
                      <a:pt x="75" y="68"/>
                    </a:lnTo>
                    <a:lnTo>
                      <a:pt x="75" y="76"/>
                    </a:lnTo>
                    <a:lnTo>
                      <a:pt x="71" y="81"/>
                    </a:lnTo>
                    <a:lnTo>
                      <a:pt x="60" y="90"/>
                    </a:lnTo>
                    <a:lnTo>
                      <a:pt x="48" y="90"/>
                    </a:lnTo>
                    <a:lnTo>
                      <a:pt x="23" y="96"/>
                    </a:lnTo>
                    <a:lnTo>
                      <a:pt x="14" y="96"/>
                    </a:lnTo>
                    <a:lnTo>
                      <a:pt x="5" y="97"/>
                    </a:lnTo>
                    <a:lnTo>
                      <a:pt x="3" y="102"/>
                    </a:lnTo>
                    <a:lnTo>
                      <a:pt x="5" y="107"/>
                    </a:lnTo>
                    <a:lnTo>
                      <a:pt x="16" y="133"/>
                    </a:lnTo>
                    <a:lnTo>
                      <a:pt x="18" y="143"/>
                    </a:lnTo>
                    <a:lnTo>
                      <a:pt x="7" y="150"/>
                    </a:lnTo>
                    <a:lnTo>
                      <a:pt x="2" y="156"/>
                    </a:lnTo>
                    <a:lnTo>
                      <a:pt x="0" y="165"/>
                    </a:lnTo>
                    <a:lnTo>
                      <a:pt x="1" y="170"/>
                    </a:lnTo>
                    <a:lnTo>
                      <a:pt x="2" y="175"/>
                    </a:lnTo>
                    <a:lnTo>
                      <a:pt x="11" y="177"/>
                    </a:lnTo>
                    <a:lnTo>
                      <a:pt x="12" y="186"/>
                    </a:lnTo>
                    <a:lnTo>
                      <a:pt x="10" y="194"/>
                    </a:lnTo>
                    <a:lnTo>
                      <a:pt x="11" y="205"/>
                    </a:lnTo>
                    <a:lnTo>
                      <a:pt x="13" y="216"/>
                    </a:lnTo>
                    <a:lnTo>
                      <a:pt x="19" y="225"/>
                    </a:lnTo>
                    <a:lnTo>
                      <a:pt x="44" y="227"/>
                    </a:lnTo>
                    <a:lnTo>
                      <a:pt x="48" y="236"/>
                    </a:lnTo>
                    <a:lnTo>
                      <a:pt x="48" y="245"/>
                    </a:lnTo>
                    <a:lnTo>
                      <a:pt x="45" y="251"/>
                    </a:lnTo>
                    <a:lnTo>
                      <a:pt x="46" y="254"/>
                    </a:lnTo>
                    <a:lnTo>
                      <a:pt x="54" y="254"/>
                    </a:lnTo>
                    <a:lnTo>
                      <a:pt x="64" y="254"/>
                    </a:lnTo>
                    <a:lnTo>
                      <a:pt x="80" y="247"/>
                    </a:lnTo>
                    <a:lnTo>
                      <a:pt x="81" y="240"/>
                    </a:lnTo>
                    <a:lnTo>
                      <a:pt x="89" y="226"/>
                    </a:lnTo>
                    <a:lnTo>
                      <a:pt x="94" y="224"/>
                    </a:lnTo>
                    <a:lnTo>
                      <a:pt x="97" y="218"/>
                    </a:lnTo>
                    <a:lnTo>
                      <a:pt x="114" y="210"/>
                    </a:lnTo>
                    <a:lnTo>
                      <a:pt x="123" y="210"/>
                    </a:lnTo>
                    <a:lnTo>
                      <a:pt x="132" y="213"/>
                    </a:lnTo>
                    <a:lnTo>
                      <a:pt x="173" y="236"/>
                    </a:lnTo>
                    <a:lnTo>
                      <a:pt x="190" y="243"/>
                    </a:lnTo>
                    <a:lnTo>
                      <a:pt x="193" y="248"/>
                    </a:lnTo>
                    <a:lnTo>
                      <a:pt x="195" y="259"/>
                    </a:lnTo>
                    <a:lnTo>
                      <a:pt x="207" y="294"/>
                    </a:lnTo>
                    <a:lnTo>
                      <a:pt x="211" y="306"/>
                    </a:lnTo>
                    <a:lnTo>
                      <a:pt x="210" y="313"/>
                    </a:lnTo>
                    <a:lnTo>
                      <a:pt x="231" y="333"/>
                    </a:lnTo>
                    <a:lnTo>
                      <a:pt x="241" y="345"/>
                    </a:lnTo>
                    <a:lnTo>
                      <a:pt x="244" y="361"/>
                    </a:lnTo>
                    <a:lnTo>
                      <a:pt x="252" y="358"/>
                    </a:lnTo>
                    <a:lnTo>
                      <a:pt x="259" y="358"/>
                    </a:lnTo>
                    <a:lnTo>
                      <a:pt x="269" y="365"/>
                    </a:lnTo>
                    <a:lnTo>
                      <a:pt x="282" y="386"/>
                    </a:lnTo>
                    <a:lnTo>
                      <a:pt x="292" y="387"/>
                    </a:lnTo>
                    <a:lnTo>
                      <a:pt x="309" y="410"/>
                    </a:lnTo>
                    <a:lnTo>
                      <a:pt x="323" y="424"/>
                    </a:lnTo>
                    <a:lnTo>
                      <a:pt x="347" y="444"/>
                    </a:lnTo>
                    <a:lnTo>
                      <a:pt x="352" y="442"/>
                    </a:lnTo>
                    <a:lnTo>
                      <a:pt x="379" y="444"/>
                    </a:lnTo>
                    <a:lnTo>
                      <a:pt x="385" y="445"/>
                    </a:lnTo>
                    <a:lnTo>
                      <a:pt x="400" y="462"/>
                    </a:lnTo>
                    <a:lnTo>
                      <a:pt x="404" y="472"/>
                    </a:lnTo>
                    <a:lnTo>
                      <a:pt x="421" y="479"/>
                    </a:lnTo>
                    <a:lnTo>
                      <a:pt x="422" y="482"/>
                    </a:lnTo>
                    <a:lnTo>
                      <a:pt x="421" y="490"/>
                    </a:lnTo>
                    <a:lnTo>
                      <a:pt x="440" y="487"/>
                    </a:lnTo>
                    <a:lnTo>
                      <a:pt x="444" y="488"/>
                    </a:lnTo>
                    <a:lnTo>
                      <a:pt x="449" y="494"/>
                    </a:lnTo>
                    <a:lnTo>
                      <a:pt x="453" y="505"/>
                    </a:lnTo>
                    <a:lnTo>
                      <a:pt x="451" y="512"/>
                    </a:lnTo>
                    <a:lnTo>
                      <a:pt x="455" y="520"/>
                    </a:lnTo>
                    <a:lnTo>
                      <a:pt x="467" y="525"/>
                    </a:lnTo>
                    <a:lnTo>
                      <a:pt x="473" y="530"/>
                    </a:lnTo>
                    <a:lnTo>
                      <a:pt x="478" y="537"/>
                    </a:lnTo>
                    <a:lnTo>
                      <a:pt x="483" y="527"/>
                    </a:lnTo>
                    <a:lnTo>
                      <a:pt x="487" y="527"/>
                    </a:lnTo>
                    <a:lnTo>
                      <a:pt x="495" y="539"/>
                    </a:lnTo>
                    <a:lnTo>
                      <a:pt x="495" y="546"/>
                    </a:lnTo>
                    <a:lnTo>
                      <a:pt x="498" y="559"/>
                    </a:lnTo>
                    <a:lnTo>
                      <a:pt x="510" y="578"/>
                    </a:lnTo>
                    <a:lnTo>
                      <a:pt x="513" y="596"/>
                    </a:lnTo>
                    <a:lnTo>
                      <a:pt x="522" y="617"/>
                    </a:lnTo>
                    <a:lnTo>
                      <a:pt x="507" y="624"/>
                    </a:lnTo>
                    <a:lnTo>
                      <a:pt x="500" y="629"/>
                    </a:lnTo>
                    <a:lnTo>
                      <a:pt x="503" y="640"/>
                    </a:lnTo>
                    <a:lnTo>
                      <a:pt x="496" y="651"/>
                    </a:lnTo>
                    <a:lnTo>
                      <a:pt x="492" y="661"/>
                    </a:lnTo>
                    <a:lnTo>
                      <a:pt x="494" y="673"/>
                    </a:lnTo>
                    <a:lnTo>
                      <a:pt x="496" y="681"/>
                    </a:lnTo>
                    <a:lnTo>
                      <a:pt x="496" y="678"/>
                    </a:lnTo>
                    <a:lnTo>
                      <a:pt x="496" y="681"/>
                    </a:lnTo>
                    <a:lnTo>
                      <a:pt x="503" y="681"/>
                    </a:lnTo>
                    <a:lnTo>
                      <a:pt x="511" y="681"/>
                    </a:lnTo>
                    <a:lnTo>
                      <a:pt x="514" y="678"/>
                    </a:lnTo>
                    <a:lnTo>
                      <a:pt x="522" y="661"/>
                    </a:lnTo>
                    <a:lnTo>
                      <a:pt x="525" y="656"/>
                    </a:lnTo>
                    <a:lnTo>
                      <a:pt x="532" y="651"/>
                    </a:lnTo>
                    <a:lnTo>
                      <a:pt x="538" y="649"/>
                    </a:lnTo>
                    <a:lnTo>
                      <a:pt x="540" y="643"/>
                    </a:lnTo>
                    <a:lnTo>
                      <a:pt x="541" y="621"/>
                    </a:lnTo>
                    <a:lnTo>
                      <a:pt x="544" y="616"/>
                    </a:lnTo>
                    <a:lnTo>
                      <a:pt x="553" y="613"/>
                    </a:lnTo>
                    <a:lnTo>
                      <a:pt x="562" y="607"/>
                    </a:lnTo>
                    <a:lnTo>
                      <a:pt x="567" y="607"/>
                    </a:lnTo>
                    <a:lnTo>
                      <a:pt x="570" y="603"/>
                    </a:lnTo>
                    <a:lnTo>
                      <a:pt x="570" y="590"/>
                    </a:lnTo>
                    <a:lnTo>
                      <a:pt x="568" y="585"/>
                    </a:lnTo>
                    <a:lnTo>
                      <a:pt x="567" y="575"/>
                    </a:lnTo>
                    <a:lnTo>
                      <a:pt x="564" y="570"/>
                    </a:lnTo>
                    <a:lnTo>
                      <a:pt x="554" y="564"/>
                    </a:lnTo>
                    <a:lnTo>
                      <a:pt x="549" y="558"/>
                    </a:lnTo>
                    <a:lnTo>
                      <a:pt x="538" y="553"/>
                    </a:lnTo>
                    <a:lnTo>
                      <a:pt x="538" y="543"/>
                    </a:lnTo>
                    <a:lnTo>
                      <a:pt x="543" y="523"/>
                    </a:lnTo>
                    <a:lnTo>
                      <a:pt x="551" y="511"/>
                    </a:lnTo>
                    <a:lnTo>
                      <a:pt x="564" y="499"/>
                    </a:lnTo>
                    <a:lnTo>
                      <a:pt x="575" y="496"/>
                    </a:lnTo>
                    <a:lnTo>
                      <a:pt x="591" y="509"/>
                    </a:lnTo>
                    <a:lnTo>
                      <a:pt x="604" y="512"/>
                    </a:lnTo>
                    <a:lnTo>
                      <a:pt x="615" y="519"/>
                    </a:lnTo>
                    <a:lnTo>
                      <a:pt x="619" y="527"/>
                    </a:lnTo>
                    <a:lnTo>
                      <a:pt x="626" y="539"/>
                    </a:lnTo>
                    <a:lnTo>
                      <a:pt x="637" y="546"/>
                    </a:lnTo>
                    <a:lnTo>
                      <a:pt x="637" y="543"/>
                    </a:lnTo>
                    <a:lnTo>
                      <a:pt x="645" y="527"/>
                    </a:lnTo>
                    <a:lnTo>
                      <a:pt x="642" y="520"/>
                    </a:lnTo>
                    <a:lnTo>
                      <a:pt x="636" y="511"/>
                    </a:lnTo>
                    <a:lnTo>
                      <a:pt x="626" y="500"/>
                    </a:lnTo>
                    <a:lnTo>
                      <a:pt x="615" y="482"/>
                    </a:lnTo>
                    <a:lnTo>
                      <a:pt x="580" y="468"/>
                    </a:lnTo>
                    <a:lnTo>
                      <a:pt x="572" y="460"/>
                    </a:lnTo>
                    <a:lnTo>
                      <a:pt x="560" y="452"/>
                    </a:lnTo>
                    <a:lnTo>
                      <a:pt x="524" y="437"/>
                    </a:lnTo>
                    <a:lnTo>
                      <a:pt x="516" y="433"/>
                    </a:lnTo>
                    <a:lnTo>
                      <a:pt x="510" y="430"/>
                    </a:lnTo>
                    <a:lnTo>
                      <a:pt x="506" y="430"/>
                    </a:lnTo>
                    <a:lnTo>
                      <a:pt x="502" y="426"/>
                    </a:lnTo>
                    <a:lnTo>
                      <a:pt x="502" y="420"/>
                    </a:lnTo>
                    <a:lnTo>
                      <a:pt x="508" y="414"/>
                    </a:lnTo>
                    <a:lnTo>
                      <a:pt x="516" y="409"/>
                    </a:lnTo>
                    <a:lnTo>
                      <a:pt x="517" y="401"/>
                    </a:lnTo>
                    <a:lnTo>
                      <a:pt x="511" y="392"/>
                    </a:lnTo>
                    <a:lnTo>
                      <a:pt x="500" y="392"/>
                    </a:lnTo>
                    <a:lnTo>
                      <a:pt x="496" y="394"/>
                    </a:lnTo>
                    <a:lnTo>
                      <a:pt x="503" y="392"/>
                    </a:lnTo>
                    <a:lnTo>
                      <a:pt x="496" y="394"/>
                    </a:lnTo>
                    <a:lnTo>
                      <a:pt x="465" y="394"/>
                    </a:lnTo>
                    <a:lnTo>
                      <a:pt x="465" y="403"/>
                    </a:lnTo>
                    <a:lnTo>
                      <a:pt x="453" y="390"/>
                    </a:lnTo>
                    <a:lnTo>
                      <a:pt x="442" y="382"/>
                    </a:lnTo>
                    <a:lnTo>
                      <a:pt x="437" y="382"/>
                    </a:lnTo>
                    <a:lnTo>
                      <a:pt x="435" y="374"/>
                    </a:lnTo>
                    <a:lnTo>
                      <a:pt x="431" y="374"/>
                    </a:lnTo>
                    <a:lnTo>
                      <a:pt x="410" y="354"/>
                    </a:lnTo>
                    <a:lnTo>
                      <a:pt x="405" y="345"/>
                    </a:lnTo>
                    <a:lnTo>
                      <a:pt x="398" y="332"/>
                    </a:lnTo>
                    <a:lnTo>
                      <a:pt x="392" y="313"/>
                    </a:lnTo>
                    <a:lnTo>
                      <a:pt x="388" y="309"/>
                    </a:lnTo>
                    <a:lnTo>
                      <a:pt x="382" y="285"/>
                    </a:lnTo>
                    <a:lnTo>
                      <a:pt x="374" y="270"/>
                    </a:lnTo>
                    <a:lnTo>
                      <a:pt x="369" y="267"/>
                    </a:lnTo>
                    <a:lnTo>
                      <a:pt x="363" y="267"/>
                    </a:lnTo>
                    <a:lnTo>
                      <a:pt x="362" y="263"/>
                    </a:lnTo>
                    <a:lnTo>
                      <a:pt x="347" y="254"/>
                    </a:lnTo>
                    <a:lnTo>
                      <a:pt x="341" y="247"/>
                    </a:lnTo>
                    <a:lnTo>
                      <a:pt x="320" y="237"/>
                    </a:lnTo>
                    <a:lnTo>
                      <a:pt x="314" y="230"/>
                    </a:lnTo>
                    <a:lnTo>
                      <a:pt x="309" y="220"/>
                    </a:lnTo>
                    <a:lnTo>
                      <a:pt x="306" y="211"/>
                    </a:lnTo>
                    <a:lnTo>
                      <a:pt x="306" y="193"/>
                    </a:lnTo>
                    <a:lnTo>
                      <a:pt x="308" y="177"/>
                    </a:lnTo>
                    <a:lnTo>
                      <a:pt x="313" y="172"/>
                    </a:lnTo>
                    <a:lnTo>
                      <a:pt x="314" y="165"/>
                    </a:lnTo>
                    <a:lnTo>
                      <a:pt x="312" y="159"/>
                    </a:lnTo>
                    <a:lnTo>
                      <a:pt x="304" y="156"/>
                    </a:lnTo>
                    <a:lnTo>
                      <a:pt x="302" y="141"/>
                    </a:lnTo>
                    <a:lnTo>
                      <a:pt x="304" y="134"/>
                    </a:lnTo>
                    <a:lnTo>
                      <a:pt x="314" y="126"/>
                    </a:lnTo>
                    <a:lnTo>
                      <a:pt x="318" y="126"/>
                    </a:lnTo>
                    <a:lnTo>
                      <a:pt x="319" y="127"/>
                    </a:lnTo>
                    <a:lnTo>
                      <a:pt x="324" y="126"/>
                    </a:lnTo>
                    <a:lnTo>
                      <a:pt x="357" y="108"/>
                    </a:lnTo>
                    <a:lnTo>
                      <a:pt x="366" y="111"/>
                    </a:lnTo>
                    <a:lnTo>
                      <a:pt x="376" y="106"/>
                    </a:lnTo>
                    <a:lnTo>
                      <a:pt x="382" y="107"/>
                    </a:lnTo>
                    <a:lnTo>
                      <a:pt x="383" y="113"/>
                    </a:lnTo>
                    <a:lnTo>
                      <a:pt x="379" y="121"/>
                    </a:lnTo>
                    <a:lnTo>
                      <a:pt x="379" y="122"/>
                    </a:lnTo>
                    <a:lnTo>
                      <a:pt x="384" y="123"/>
                    </a:lnTo>
                    <a:lnTo>
                      <a:pt x="389" y="122"/>
                    </a:lnTo>
                    <a:lnTo>
                      <a:pt x="393" y="119"/>
                    </a:lnTo>
                    <a:lnTo>
                      <a:pt x="394" y="114"/>
                    </a:lnTo>
                    <a:lnTo>
                      <a:pt x="392" y="111"/>
                    </a:lnTo>
                    <a:lnTo>
                      <a:pt x="388" y="110"/>
                    </a:lnTo>
                    <a:lnTo>
                      <a:pt x="385" y="105"/>
                    </a:lnTo>
                    <a:lnTo>
                      <a:pt x="378" y="101"/>
                    </a:lnTo>
                    <a:lnTo>
                      <a:pt x="376" y="98"/>
                    </a:lnTo>
                    <a:lnTo>
                      <a:pt x="376" y="90"/>
                    </a:lnTo>
                    <a:lnTo>
                      <a:pt x="371" y="84"/>
                    </a:lnTo>
                    <a:lnTo>
                      <a:pt x="372" y="76"/>
                    </a:lnTo>
                    <a:lnTo>
                      <a:pt x="374" y="69"/>
                    </a:lnTo>
                    <a:lnTo>
                      <a:pt x="369" y="70"/>
                    </a:lnTo>
                    <a:lnTo>
                      <a:pt x="367" y="69"/>
                    </a:lnTo>
                    <a:lnTo>
                      <a:pt x="367" y="64"/>
                    </a:lnTo>
                    <a:lnTo>
                      <a:pt x="369" y="57"/>
                    </a:lnTo>
                    <a:lnTo>
                      <a:pt x="381" y="47"/>
                    </a:lnTo>
                    <a:lnTo>
                      <a:pt x="372" y="47"/>
                    </a:lnTo>
                    <a:lnTo>
                      <a:pt x="358" y="42"/>
                    </a:lnTo>
                    <a:lnTo>
                      <a:pt x="328" y="37"/>
                    </a:lnTo>
                    <a:lnTo>
                      <a:pt x="318" y="31"/>
                    </a:lnTo>
                    <a:lnTo>
                      <a:pt x="313" y="31"/>
                    </a:lnTo>
                    <a:lnTo>
                      <a:pt x="302" y="22"/>
                    </a:lnTo>
                    <a:lnTo>
                      <a:pt x="298" y="15"/>
                    </a:lnTo>
                    <a:lnTo>
                      <a:pt x="296" y="8"/>
                    </a:lnTo>
                    <a:lnTo>
                      <a:pt x="296" y="3"/>
                    </a:lnTo>
                    <a:lnTo>
                      <a:pt x="293" y="0"/>
                    </a:lnTo>
                    <a:lnTo>
                      <a:pt x="287" y="1"/>
                    </a:lnTo>
                    <a:lnTo>
                      <a:pt x="282" y="5"/>
                    </a:lnTo>
                    <a:lnTo>
                      <a:pt x="272" y="8"/>
                    </a:lnTo>
                    <a:lnTo>
                      <a:pt x="254" y="9"/>
                    </a:lnTo>
                    <a:lnTo>
                      <a:pt x="234" y="16"/>
                    </a:lnTo>
                    <a:lnTo>
                      <a:pt x="218" y="21"/>
                    </a:lnTo>
                    <a:lnTo>
                      <a:pt x="215" y="22"/>
                    </a:lnTo>
                    <a:lnTo>
                      <a:pt x="201" y="1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sp>
          <p:nvSpPr>
            <p:cNvPr id="40" name="Freeform 190">
              <a:extLst>
                <a:ext uri="{FF2B5EF4-FFF2-40B4-BE49-F238E27FC236}">
                  <a16:creationId xmlns:a16="http://schemas.microsoft.com/office/drawing/2014/main" id="{8CA9F1CF-14B0-9C28-8861-F27F28AB4E06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7149" y="1909319"/>
              <a:ext cx="12557" cy="19025"/>
            </a:xfrm>
            <a:custGeom>
              <a:avLst/>
              <a:gdLst>
                <a:gd name="T0" fmla="*/ 1641 w 38"/>
                <a:gd name="T1" fmla="*/ 4694 h 53"/>
                <a:gd name="T2" fmla="*/ 2462 w 38"/>
                <a:gd name="T3" fmla="*/ 4694 h 53"/>
                <a:gd name="T4" fmla="*/ 2872 w 38"/>
                <a:gd name="T5" fmla="*/ 3840 h 53"/>
                <a:gd name="T6" fmla="*/ 2872 w 38"/>
                <a:gd name="T7" fmla="*/ 2987 h 53"/>
                <a:gd name="T8" fmla="*/ 2462 w 38"/>
                <a:gd name="T9" fmla="*/ 2134 h 53"/>
                <a:gd name="T10" fmla="*/ 2051 w 38"/>
                <a:gd name="T11" fmla="*/ 1707 h 53"/>
                <a:gd name="T12" fmla="*/ 2051 w 38"/>
                <a:gd name="T13" fmla="*/ 853 h 53"/>
                <a:gd name="T14" fmla="*/ 2462 w 38"/>
                <a:gd name="T15" fmla="*/ 427 h 53"/>
                <a:gd name="T16" fmla="*/ 1641 w 38"/>
                <a:gd name="T17" fmla="*/ 0 h 53"/>
                <a:gd name="T18" fmla="*/ 1231 w 38"/>
                <a:gd name="T19" fmla="*/ 0 h 53"/>
                <a:gd name="T20" fmla="*/ 410 w 38"/>
                <a:gd name="T21" fmla="*/ 427 h 53"/>
                <a:gd name="T22" fmla="*/ 0 w 38"/>
                <a:gd name="T23" fmla="*/ 1707 h 53"/>
                <a:gd name="T24" fmla="*/ 410 w 38"/>
                <a:gd name="T25" fmla="*/ 2987 h 53"/>
                <a:gd name="T26" fmla="*/ 410 w 38"/>
                <a:gd name="T27" fmla="*/ 4267 h 53"/>
                <a:gd name="T28" fmla="*/ 1641 w 38"/>
                <a:gd name="T29" fmla="*/ 4694 h 5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8"/>
                <a:gd name="T46" fmla="*/ 0 h 53"/>
                <a:gd name="T47" fmla="*/ 38 w 38"/>
                <a:gd name="T48" fmla="*/ 53 h 5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8" h="53">
                  <a:moveTo>
                    <a:pt x="21" y="53"/>
                  </a:moveTo>
                  <a:lnTo>
                    <a:pt x="33" y="52"/>
                  </a:lnTo>
                  <a:lnTo>
                    <a:pt x="38" y="45"/>
                  </a:lnTo>
                  <a:lnTo>
                    <a:pt x="37" y="33"/>
                  </a:lnTo>
                  <a:lnTo>
                    <a:pt x="33" y="26"/>
                  </a:lnTo>
                  <a:lnTo>
                    <a:pt x="28" y="18"/>
                  </a:lnTo>
                  <a:lnTo>
                    <a:pt x="28" y="11"/>
                  </a:lnTo>
                  <a:lnTo>
                    <a:pt x="30" y="4"/>
                  </a:lnTo>
                  <a:lnTo>
                    <a:pt x="22" y="0"/>
                  </a:lnTo>
                  <a:lnTo>
                    <a:pt x="16" y="0"/>
                  </a:lnTo>
                  <a:lnTo>
                    <a:pt x="6" y="7"/>
                  </a:lnTo>
                  <a:lnTo>
                    <a:pt x="0" y="20"/>
                  </a:lnTo>
                  <a:lnTo>
                    <a:pt x="3" y="33"/>
                  </a:lnTo>
                  <a:lnTo>
                    <a:pt x="3" y="48"/>
                  </a:lnTo>
                  <a:lnTo>
                    <a:pt x="21" y="53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41" name="Freeform 191">
              <a:extLst>
                <a:ext uri="{FF2B5EF4-FFF2-40B4-BE49-F238E27FC236}">
                  <a16:creationId xmlns:a16="http://schemas.microsoft.com/office/drawing/2014/main" id="{6D125297-B241-7543-1EC6-5E3D2B35898E}"/>
                </a:ext>
              </a:extLst>
            </p:cNvPr>
            <p:cNvSpPr>
              <a:spLocks/>
            </p:cNvSpPr>
            <p:nvPr/>
          </p:nvSpPr>
          <p:spPr bwMode="gray">
            <a:xfrm>
              <a:off x="4472172" y="1984063"/>
              <a:ext cx="86643" cy="48922"/>
            </a:xfrm>
            <a:custGeom>
              <a:avLst/>
              <a:gdLst>
                <a:gd name="T0" fmla="*/ 4981 w 241"/>
                <a:gd name="T1" fmla="*/ 10541 h 142"/>
                <a:gd name="T2" fmla="*/ 4075 w 241"/>
                <a:gd name="T3" fmla="*/ 9324 h 142"/>
                <a:gd name="T4" fmla="*/ 3623 w 241"/>
                <a:gd name="T5" fmla="*/ 8108 h 142"/>
                <a:gd name="T6" fmla="*/ 906 w 241"/>
                <a:gd name="T7" fmla="*/ 9324 h 142"/>
                <a:gd name="T8" fmla="*/ 0 w 241"/>
                <a:gd name="T9" fmla="*/ 9324 h 142"/>
                <a:gd name="T10" fmla="*/ 453 w 241"/>
                <a:gd name="T11" fmla="*/ 6892 h 142"/>
                <a:gd name="T12" fmla="*/ 1358 w 241"/>
                <a:gd name="T13" fmla="*/ 6081 h 142"/>
                <a:gd name="T14" fmla="*/ 1811 w 241"/>
                <a:gd name="T15" fmla="*/ 5270 h 142"/>
                <a:gd name="T16" fmla="*/ 2717 w 241"/>
                <a:gd name="T17" fmla="*/ 4054 h 142"/>
                <a:gd name="T18" fmla="*/ 4528 w 241"/>
                <a:gd name="T19" fmla="*/ 1622 h 142"/>
                <a:gd name="T20" fmla="*/ 6340 w 241"/>
                <a:gd name="T21" fmla="*/ 1216 h 142"/>
                <a:gd name="T22" fmla="*/ 7698 w 241"/>
                <a:gd name="T23" fmla="*/ 405 h 142"/>
                <a:gd name="T24" fmla="*/ 11774 w 241"/>
                <a:gd name="T25" fmla="*/ 405 h 142"/>
                <a:gd name="T26" fmla="*/ 15849 w 241"/>
                <a:gd name="T27" fmla="*/ 405 h 142"/>
                <a:gd name="T28" fmla="*/ 18113 w 241"/>
                <a:gd name="T29" fmla="*/ 1622 h 142"/>
                <a:gd name="T30" fmla="*/ 17660 w 241"/>
                <a:gd name="T31" fmla="*/ 3243 h 142"/>
                <a:gd name="T32" fmla="*/ 19019 w 241"/>
                <a:gd name="T33" fmla="*/ 4459 h 142"/>
                <a:gd name="T34" fmla="*/ 20830 w 241"/>
                <a:gd name="T35" fmla="*/ 4865 h 142"/>
                <a:gd name="T36" fmla="*/ 22189 w 241"/>
                <a:gd name="T37" fmla="*/ 4865 h 142"/>
                <a:gd name="T38" fmla="*/ 22189 w 241"/>
                <a:gd name="T39" fmla="*/ 6487 h 142"/>
                <a:gd name="T40" fmla="*/ 20830 w 241"/>
                <a:gd name="T41" fmla="*/ 6892 h 142"/>
                <a:gd name="T42" fmla="*/ 20830 w 241"/>
                <a:gd name="T43" fmla="*/ 8108 h 142"/>
                <a:gd name="T44" fmla="*/ 20830 w 241"/>
                <a:gd name="T45" fmla="*/ 8514 h 142"/>
                <a:gd name="T46" fmla="*/ 17660 w 241"/>
                <a:gd name="T47" fmla="*/ 8514 h 142"/>
                <a:gd name="T48" fmla="*/ 16755 w 241"/>
                <a:gd name="T49" fmla="*/ 7703 h 142"/>
                <a:gd name="T50" fmla="*/ 15396 w 241"/>
                <a:gd name="T51" fmla="*/ 10135 h 142"/>
                <a:gd name="T52" fmla="*/ 14943 w 241"/>
                <a:gd name="T53" fmla="*/ 11351 h 142"/>
                <a:gd name="T54" fmla="*/ 13585 w 241"/>
                <a:gd name="T55" fmla="*/ 10135 h 142"/>
                <a:gd name="T56" fmla="*/ 12226 w 241"/>
                <a:gd name="T57" fmla="*/ 8108 h 142"/>
                <a:gd name="T58" fmla="*/ 10415 w 241"/>
                <a:gd name="T59" fmla="*/ 8919 h 142"/>
                <a:gd name="T60" fmla="*/ 10415 w 241"/>
                <a:gd name="T61" fmla="*/ 10135 h 142"/>
                <a:gd name="T62" fmla="*/ 8151 w 241"/>
                <a:gd name="T63" fmla="*/ 10946 h 142"/>
                <a:gd name="T64" fmla="*/ 4981 w 241"/>
                <a:gd name="T65" fmla="*/ 11351 h 14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41"/>
                <a:gd name="T100" fmla="*/ 0 h 142"/>
                <a:gd name="T101" fmla="*/ 241 w 241"/>
                <a:gd name="T102" fmla="*/ 142 h 14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41" h="142">
                  <a:moveTo>
                    <a:pt x="54" y="142"/>
                  </a:moveTo>
                  <a:lnTo>
                    <a:pt x="52" y="131"/>
                  </a:lnTo>
                  <a:lnTo>
                    <a:pt x="45" y="130"/>
                  </a:lnTo>
                  <a:lnTo>
                    <a:pt x="42" y="119"/>
                  </a:lnTo>
                  <a:lnTo>
                    <a:pt x="42" y="101"/>
                  </a:lnTo>
                  <a:lnTo>
                    <a:pt x="38" y="100"/>
                  </a:lnTo>
                  <a:lnTo>
                    <a:pt x="21" y="100"/>
                  </a:lnTo>
                  <a:lnTo>
                    <a:pt x="10" y="117"/>
                  </a:lnTo>
                  <a:lnTo>
                    <a:pt x="4" y="121"/>
                  </a:lnTo>
                  <a:lnTo>
                    <a:pt x="0" y="119"/>
                  </a:lnTo>
                  <a:lnTo>
                    <a:pt x="2" y="97"/>
                  </a:lnTo>
                  <a:lnTo>
                    <a:pt x="5" y="84"/>
                  </a:lnTo>
                  <a:lnTo>
                    <a:pt x="9" y="81"/>
                  </a:lnTo>
                  <a:lnTo>
                    <a:pt x="13" y="74"/>
                  </a:lnTo>
                  <a:lnTo>
                    <a:pt x="20" y="70"/>
                  </a:lnTo>
                  <a:lnTo>
                    <a:pt x="21" y="67"/>
                  </a:lnTo>
                  <a:lnTo>
                    <a:pt x="24" y="57"/>
                  </a:lnTo>
                  <a:lnTo>
                    <a:pt x="30" y="49"/>
                  </a:lnTo>
                  <a:lnTo>
                    <a:pt x="53" y="23"/>
                  </a:lnTo>
                  <a:lnTo>
                    <a:pt x="50" y="18"/>
                  </a:lnTo>
                  <a:lnTo>
                    <a:pt x="53" y="11"/>
                  </a:lnTo>
                  <a:lnTo>
                    <a:pt x="70" y="13"/>
                  </a:lnTo>
                  <a:lnTo>
                    <a:pt x="78" y="9"/>
                  </a:lnTo>
                  <a:lnTo>
                    <a:pt x="85" y="3"/>
                  </a:lnTo>
                  <a:lnTo>
                    <a:pt x="91" y="9"/>
                  </a:lnTo>
                  <a:lnTo>
                    <a:pt x="127" y="6"/>
                  </a:lnTo>
                  <a:lnTo>
                    <a:pt x="153" y="0"/>
                  </a:lnTo>
                  <a:lnTo>
                    <a:pt x="172" y="6"/>
                  </a:lnTo>
                  <a:lnTo>
                    <a:pt x="190" y="13"/>
                  </a:lnTo>
                  <a:lnTo>
                    <a:pt x="197" y="22"/>
                  </a:lnTo>
                  <a:lnTo>
                    <a:pt x="195" y="30"/>
                  </a:lnTo>
                  <a:lnTo>
                    <a:pt x="193" y="40"/>
                  </a:lnTo>
                  <a:lnTo>
                    <a:pt x="201" y="52"/>
                  </a:lnTo>
                  <a:lnTo>
                    <a:pt x="207" y="57"/>
                  </a:lnTo>
                  <a:lnTo>
                    <a:pt x="217" y="62"/>
                  </a:lnTo>
                  <a:lnTo>
                    <a:pt x="226" y="63"/>
                  </a:lnTo>
                  <a:lnTo>
                    <a:pt x="234" y="58"/>
                  </a:lnTo>
                  <a:lnTo>
                    <a:pt x="241" y="63"/>
                  </a:lnTo>
                  <a:lnTo>
                    <a:pt x="239" y="74"/>
                  </a:lnTo>
                  <a:lnTo>
                    <a:pt x="239" y="82"/>
                  </a:lnTo>
                  <a:lnTo>
                    <a:pt x="235" y="84"/>
                  </a:lnTo>
                  <a:lnTo>
                    <a:pt x="224" y="86"/>
                  </a:lnTo>
                  <a:lnTo>
                    <a:pt x="223" y="92"/>
                  </a:lnTo>
                  <a:lnTo>
                    <a:pt x="224" y="99"/>
                  </a:lnTo>
                  <a:lnTo>
                    <a:pt x="226" y="105"/>
                  </a:lnTo>
                  <a:lnTo>
                    <a:pt x="225" y="109"/>
                  </a:lnTo>
                  <a:lnTo>
                    <a:pt x="204" y="105"/>
                  </a:lnTo>
                  <a:lnTo>
                    <a:pt x="193" y="104"/>
                  </a:lnTo>
                  <a:lnTo>
                    <a:pt x="187" y="99"/>
                  </a:lnTo>
                  <a:lnTo>
                    <a:pt x="180" y="95"/>
                  </a:lnTo>
                  <a:lnTo>
                    <a:pt x="177" y="106"/>
                  </a:lnTo>
                  <a:lnTo>
                    <a:pt x="166" y="126"/>
                  </a:lnTo>
                  <a:lnTo>
                    <a:pt x="165" y="135"/>
                  </a:lnTo>
                  <a:lnTo>
                    <a:pt x="163" y="140"/>
                  </a:lnTo>
                  <a:lnTo>
                    <a:pt x="155" y="135"/>
                  </a:lnTo>
                  <a:lnTo>
                    <a:pt x="149" y="127"/>
                  </a:lnTo>
                  <a:lnTo>
                    <a:pt x="138" y="119"/>
                  </a:lnTo>
                  <a:lnTo>
                    <a:pt x="132" y="99"/>
                  </a:lnTo>
                  <a:lnTo>
                    <a:pt x="121" y="105"/>
                  </a:lnTo>
                  <a:lnTo>
                    <a:pt x="115" y="114"/>
                  </a:lnTo>
                  <a:lnTo>
                    <a:pt x="115" y="122"/>
                  </a:lnTo>
                  <a:lnTo>
                    <a:pt x="111" y="127"/>
                  </a:lnTo>
                  <a:lnTo>
                    <a:pt x="100" y="136"/>
                  </a:lnTo>
                  <a:lnTo>
                    <a:pt x="88" y="136"/>
                  </a:lnTo>
                  <a:lnTo>
                    <a:pt x="63" y="142"/>
                  </a:lnTo>
                  <a:lnTo>
                    <a:pt x="54" y="142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42" name="Freeform 192">
              <a:extLst>
                <a:ext uri="{FF2B5EF4-FFF2-40B4-BE49-F238E27FC236}">
                  <a16:creationId xmlns:a16="http://schemas.microsoft.com/office/drawing/2014/main" id="{97A6CF7A-17F7-C692-47AD-AD2E929AEBA7}"/>
                </a:ext>
              </a:extLst>
            </p:cNvPr>
            <p:cNvSpPr>
              <a:spLocks/>
            </p:cNvSpPr>
            <p:nvPr/>
          </p:nvSpPr>
          <p:spPr bwMode="gray">
            <a:xfrm>
              <a:off x="4182105" y="2091420"/>
              <a:ext cx="241095" cy="191613"/>
            </a:xfrm>
            <a:custGeom>
              <a:avLst/>
              <a:gdLst>
                <a:gd name="T0" fmla="*/ 8883 w 687"/>
                <a:gd name="T1" fmla="*/ 36185 h 545"/>
                <a:gd name="T2" fmla="*/ 11548 w 687"/>
                <a:gd name="T3" fmla="*/ 33718 h 545"/>
                <a:gd name="T4" fmla="*/ 9771 w 687"/>
                <a:gd name="T5" fmla="*/ 30840 h 545"/>
                <a:gd name="T6" fmla="*/ 11103 w 687"/>
                <a:gd name="T7" fmla="*/ 27961 h 545"/>
                <a:gd name="T8" fmla="*/ 9327 w 687"/>
                <a:gd name="T9" fmla="*/ 24672 h 545"/>
                <a:gd name="T10" fmla="*/ 11992 w 687"/>
                <a:gd name="T11" fmla="*/ 23027 h 545"/>
                <a:gd name="T12" fmla="*/ 11548 w 687"/>
                <a:gd name="T13" fmla="*/ 20971 h 545"/>
                <a:gd name="T14" fmla="*/ 12436 w 687"/>
                <a:gd name="T15" fmla="*/ 17270 h 545"/>
                <a:gd name="T16" fmla="*/ 15101 w 687"/>
                <a:gd name="T17" fmla="*/ 13570 h 545"/>
                <a:gd name="T18" fmla="*/ 13768 w 687"/>
                <a:gd name="T19" fmla="*/ 11514 h 545"/>
                <a:gd name="T20" fmla="*/ 9771 w 687"/>
                <a:gd name="T21" fmla="*/ 11514 h 545"/>
                <a:gd name="T22" fmla="*/ 5774 w 687"/>
                <a:gd name="T23" fmla="*/ 11102 h 545"/>
                <a:gd name="T24" fmla="*/ 3109 w 687"/>
                <a:gd name="T25" fmla="*/ 10691 h 545"/>
                <a:gd name="T26" fmla="*/ 2221 w 687"/>
                <a:gd name="T27" fmla="*/ 10691 h 545"/>
                <a:gd name="T28" fmla="*/ 2221 w 687"/>
                <a:gd name="T29" fmla="*/ 9046 h 545"/>
                <a:gd name="T30" fmla="*/ 2221 w 687"/>
                <a:gd name="T31" fmla="*/ 6579 h 545"/>
                <a:gd name="T32" fmla="*/ 1332 w 687"/>
                <a:gd name="T33" fmla="*/ 5757 h 545"/>
                <a:gd name="T34" fmla="*/ 1332 w 687"/>
                <a:gd name="T35" fmla="*/ 2878 h 545"/>
                <a:gd name="T36" fmla="*/ 4886 w 687"/>
                <a:gd name="T37" fmla="*/ 1645 h 545"/>
                <a:gd name="T38" fmla="*/ 7550 w 687"/>
                <a:gd name="T39" fmla="*/ 0 h 545"/>
                <a:gd name="T40" fmla="*/ 11548 w 687"/>
                <a:gd name="T41" fmla="*/ 1234 h 545"/>
                <a:gd name="T42" fmla="*/ 16877 w 687"/>
                <a:gd name="T43" fmla="*/ 822 h 545"/>
                <a:gd name="T44" fmla="*/ 22651 w 687"/>
                <a:gd name="T45" fmla="*/ 1645 h 545"/>
                <a:gd name="T46" fmla="*/ 27093 w 687"/>
                <a:gd name="T47" fmla="*/ 1645 h 545"/>
                <a:gd name="T48" fmla="*/ 32422 w 687"/>
                <a:gd name="T49" fmla="*/ 2056 h 545"/>
                <a:gd name="T50" fmla="*/ 35975 w 687"/>
                <a:gd name="T51" fmla="*/ 2056 h 545"/>
                <a:gd name="T52" fmla="*/ 39084 w 687"/>
                <a:gd name="T53" fmla="*/ 4523 h 545"/>
                <a:gd name="T54" fmla="*/ 41749 w 687"/>
                <a:gd name="T55" fmla="*/ 5757 h 545"/>
                <a:gd name="T56" fmla="*/ 47523 w 687"/>
                <a:gd name="T57" fmla="*/ 6579 h 545"/>
                <a:gd name="T58" fmla="*/ 49744 w 687"/>
                <a:gd name="T59" fmla="*/ 6168 h 545"/>
                <a:gd name="T60" fmla="*/ 51964 w 687"/>
                <a:gd name="T61" fmla="*/ 7813 h 545"/>
                <a:gd name="T62" fmla="*/ 52853 w 687"/>
                <a:gd name="T63" fmla="*/ 7402 h 545"/>
                <a:gd name="T64" fmla="*/ 56850 w 687"/>
                <a:gd name="T65" fmla="*/ 8224 h 545"/>
                <a:gd name="T66" fmla="*/ 59959 w 687"/>
                <a:gd name="T67" fmla="*/ 8224 h 545"/>
                <a:gd name="T68" fmla="*/ 59959 w 687"/>
                <a:gd name="T69" fmla="*/ 9458 h 545"/>
                <a:gd name="T70" fmla="*/ 59959 w 687"/>
                <a:gd name="T71" fmla="*/ 11925 h 545"/>
                <a:gd name="T72" fmla="*/ 49744 w 687"/>
                <a:gd name="T73" fmla="*/ 16859 h 545"/>
                <a:gd name="T74" fmla="*/ 47967 w 687"/>
                <a:gd name="T75" fmla="*/ 18915 h 545"/>
                <a:gd name="T76" fmla="*/ 43970 w 687"/>
                <a:gd name="T77" fmla="*/ 24672 h 545"/>
                <a:gd name="T78" fmla="*/ 43526 w 687"/>
                <a:gd name="T79" fmla="*/ 26317 h 545"/>
                <a:gd name="T80" fmla="*/ 43970 w 687"/>
                <a:gd name="T81" fmla="*/ 28373 h 545"/>
                <a:gd name="T82" fmla="*/ 45746 w 687"/>
                <a:gd name="T83" fmla="*/ 29195 h 545"/>
                <a:gd name="T84" fmla="*/ 44414 w 687"/>
                <a:gd name="T85" fmla="*/ 31251 h 545"/>
                <a:gd name="T86" fmla="*/ 42193 w 687"/>
                <a:gd name="T87" fmla="*/ 33718 h 545"/>
                <a:gd name="T88" fmla="*/ 41305 w 687"/>
                <a:gd name="T89" fmla="*/ 35774 h 545"/>
                <a:gd name="T90" fmla="*/ 36864 w 687"/>
                <a:gd name="T91" fmla="*/ 38241 h 545"/>
                <a:gd name="T92" fmla="*/ 35087 w 687"/>
                <a:gd name="T93" fmla="*/ 40709 h 545"/>
                <a:gd name="T94" fmla="*/ 32422 w 687"/>
                <a:gd name="T95" fmla="*/ 41120 h 545"/>
                <a:gd name="T96" fmla="*/ 27981 w 687"/>
                <a:gd name="T97" fmla="*/ 41120 h 545"/>
                <a:gd name="T98" fmla="*/ 22651 w 687"/>
                <a:gd name="T99" fmla="*/ 42353 h 545"/>
                <a:gd name="T100" fmla="*/ 19986 w 687"/>
                <a:gd name="T101" fmla="*/ 43587 h 545"/>
                <a:gd name="T102" fmla="*/ 18654 w 687"/>
                <a:gd name="T103" fmla="*/ 44821 h 545"/>
                <a:gd name="T104" fmla="*/ 15101 w 687"/>
                <a:gd name="T105" fmla="*/ 42353 h 545"/>
                <a:gd name="T106" fmla="*/ 14212 w 687"/>
                <a:gd name="T107" fmla="*/ 40297 h 545"/>
                <a:gd name="T108" fmla="*/ 13324 w 687"/>
                <a:gd name="T109" fmla="*/ 39064 h 545"/>
                <a:gd name="T110" fmla="*/ 9327 w 687"/>
                <a:gd name="T111" fmla="*/ 38653 h 54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87"/>
                <a:gd name="T169" fmla="*/ 0 h 545"/>
                <a:gd name="T170" fmla="*/ 687 w 687"/>
                <a:gd name="T171" fmla="*/ 545 h 545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87" h="545">
                  <a:moveTo>
                    <a:pt x="105" y="468"/>
                  </a:moveTo>
                  <a:lnTo>
                    <a:pt x="101" y="451"/>
                  </a:lnTo>
                  <a:lnTo>
                    <a:pt x="100" y="440"/>
                  </a:lnTo>
                  <a:lnTo>
                    <a:pt x="107" y="430"/>
                  </a:lnTo>
                  <a:lnTo>
                    <a:pt x="122" y="419"/>
                  </a:lnTo>
                  <a:lnTo>
                    <a:pt x="128" y="410"/>
                  </a:lnTo>
                  <a:lnTo>
                    <a:pt x="126" y="399"/>
                  </a:lnTo>
                  <a:lnTo>
                    <a:pt x="116" y="388"/>
                  </a:lnTo>
                  <a:lnTo>
                    <a:pt x="112" y="376"/>
                  </a:lnTo>
                  <a:lnTo>
                    <a:pt x="113" y="361"/>
                  </a:lnTo>
                  <a:lnTo>
                    <a:pt x="121" y="349"/>
                  </a:lnTo>
                  <a:lnTo>
                    <a:pt x="124" y="340"/>
                  </a:lnTo>
                  <a:lnTo>
                    <a:pt x="122" y="335"/>
                  </a:lnTo>
                  <a:lnTo>
                    <a:pt x="110" y="317"/>
                  </a:lnTo>
                  <a:lnTo>
                    <a:pt x="106" y="301"/>
                  </a:lnTo>
                  <a:lnTo>
                    <a:pt x="114" y="295"/>
                  </a:lnTo>
                  <a:lnTo>
                    <a:pt x="126" y="291"/>
                  </a:lnTo>
                  <a:lnTo>
                    <a:pt x="135" y="280"/>
                  </a:lnTo>
                  <a:lnTo>
                    <a:pt x="137" y="270"/>
                  </a:lnTo>
                  <a:lnTo>
                    <a:pt x="129" y="260"/>
                  </a:lnTo>
                  <a:lnTo>
                    <a:pt x="129" y="253"/>
                  </a:lnTo>
                  <a:lnTo>
                    <a:pt x="135" y="238"/>
                  </a:lnTo>
                  <a:lnTo>
                    <a:pt x="138" y="224"/>
                  </a:lnTo>
                  <a:lnTo>
                    <a:pt x="138" y="210"/>
                  </a:lnTo>
                  <a:lnTo>
                    <a:pt x="139" y="200"/>
                  </a:lnTo>
                  <a:lnTo>
                    <a:pt x="161" y="178"/>
                  </a:lnTo>
                  <a:lnTo>
                    <a:pt x="169" y="165"/>
                  </a:lnTo>
                  <a:lnTo>
                    <a:pt x="169" y="156"/>
                  </a:lnTo>
                  <a:lnTo>
                    <a:pt x="161" y="147"/>
                  </a:lnTo>
                  <a:lnTo>
                    <a:pt x="155" y="138"/>
                  </a:lnTo>
                  <a:lnTo>
                    <a:pt x="140" y="134"/>
                  </a:lnTo>
                  <a:lnTo>
                    <a:pt x="123" y="134"/>
                  </a:lnTo>
                  <a:lnTo>
                    <a:pt x="110" y="140"/>
                  </a:lnTo>
                  <a:lnTo>
                    <a:pt x="86" y="138"/>
                  </a:lnTo>
                  <a:lnTo>
                    <a:pt x="73" y="140"/>
                  </a:lnTo>
                  <a:lnTo>
                    <a:pt x="65" y="135"/>
                  </a:lnTo>
                  <a:lnTo>
                    <a:pt x="64" y="123"/>
                  </a:lnTo>
                  <a:lnTo>
                    <a:pt x="51" y="125"/>
                  </a:lnTo>
                  <a:lnTo>
                    <a:pt x="36" y="131"/>
                  </a:lnTo>
                  <a:lnTo>
                    <a:pt x="27" y="141"/>
                  </a:lnTo>
                  <a:lnTo>
                    <a:pt x="25" y="136"/>
                  </a:lnTo>
                  <a:lnTo>
                    <a:pt x="25" y="128"/>
                  </a:lnTo>
                  <a:lnTo>
                    <a:pt x="28" y="116"/>
                  </a:lnTo>
                  <a:lnTo>
                    <a:pt x="35" y="107"/>
                  </a:lnTo>
                  <a:lnTo>
                    <a:pt x="26" y="108"/>
                  </a:lnTo>
                  <a:lnTo>
                    <a:pt x="30" y="100"/>
                  </a:lnTo>
                  <a:lnTo>
                    <a:pt x="20" y="95"/>
                  </a:lnTo>
                  <a:lnTo>
                    <a:pt x="27" y="82"/>
                  </a:lnTo>
                  <a:lnTo>
                    <a:pt x="22" y="82"/>
                  </a:lnTo>
                  <a:lnTo>
                    <a:pt x="15" y="79"/>
                  </a:lnTo>
                  <a:lnTo>
                    <a:pt x="16" y="70"/>
                  </a:lnTo>
                  <a:lnTo>
                    <a:pt x="0" y="57"/>
                  </a:lnTo>
                  <a:lnTo>
                    <a:pt x="5" y="43"/>
                  </a:lnTo>
                  <a:lnTo>
                    <a:pt x="17" y="34"/>
                  </a:lnTo>
                  <a:lnTo>
                    <a:pt x="28" y="31"/>
                  </a:lnTo>
                  <a:lnTo>
                    <a:pt x="47" y="31"/>
                  </a:lnTo>
                  <a:lnTo>
                    <a:pt x="56" y="22"/>
                  </a:lnTo>
                  <a:lnTo>
                    <a:pt x="54" y="16"/>
                  </a:lnTo>
                  <a:lnTo>
                    <a:pt x="62" y="5"/>
                  </a:lnTo>
                  <a:lnTo>
                    <a:pt x="84" y="0"/>
                  </a:lnTo>
                  <a:lnTo>
                    <a:pt x="95" y="3"/>
                  </a:lnTo>
                  <a:lnTo>
                    <a:pt x="110" y="10"/>
                  </a:lnTo>
                  <a:lnTo>
                    <a:pt x="129" y="14"/>
                  </a:lnTo>
                  <a:lnTo>
                    <a:pt x="170" y="12"/>
                  </a:lnTo>
                  <a:lnTo>
                    <a:pt x="180" y="7"/>
                  </a:lnTo>
                  <a:lnTo>
                    <a:pt x="192" y="9"/>
                  </a:lnTo>
                  <a:lnTo>
                    <a:pt x="212" y="15"/>
                  </a:lnTo>
                  <a:lnTo>
                    <a:pt x="223" y="15"/>
                  </a:lnTo>
                  <a:lnTo>
                    <a:pt x="256" y="22"/>
                  </a:lnTo>
                  <a:lnTo>
                    <a:pt x="273" y="23"/>
                  </a:lnTo>
                  <a:lnTo>
                    <a:pt x="293" y="22"/>
                  </a:lnTo>
                  <a:lnTo>
                    <a:pt x="306" y="18"/>
                  </a:lnTo>
                  <a:lnTo>
                    <a:pt x="317" y="22"/>
                  </a:lnTo>
                  <a:lnTo>
                    <a:pt x="337" y="25"/>
                  </a:lnTo>
                  <a:lnTo>
                    <a:pt x="366" y="23"/>
                  </a:lnTo>
                  <a:lnTo>
                    <a:pt x="381" y="28"/>
                  </a:lnTo>
                  <a:lnTo>
                    <a:pt x="398" y="30"/>
                  </a:lnTo>
                  <a:lnTo>
                    <a:pt x="408" y="27"/>
                  </a:lnTo>
                  <a:lnTo>
                    <a:pt x="409" y="31"/>
                  </a:lnTo>
                  <a:lnTo>
                    <a:pt x="431" y="49"/>
                  </a:lnTo>
                  <a:lnTo>
                    <a:pt x="440" y="54"/>
                  </a:lnTo>
                  <a:lnTo>
                    <a:pt x="451" y="57"/>
                  </a:lnTo>
                  <a:lnTo>
                    <a:pt x="462" y="63"/>
                  </a:lnTo>
                  <a:lnTo>
                    <a:pt x="469" y="69"/>
                  </a:lnTo>
                  <a:lnTo>
                    <a:pt x="515" y="81"/>
                  </a:lnTo>
                  <a:lnTo>
                    <a:pt x="531" y="82"/>
                  </a:lnTo>
                  <a:lnTo>
                    <a:pt x="537" y="81"/>
                  </a:lnTo>
                  <a:lnTo>
                    <a:pt x="547" y="74"/>
                  </a:lnTo>
                  <a:lnTo>
                    <a:pt x="555" y="73"/>
                  </a:lnTo>
                  <a:lnTo>
                    <a:pt x="564" y="75"/>
                  </a:lnTo>
                  <a:lnTo>
                    <a:pt x="579" y="85"/>
                  </a:lnTo>
                  <a:lnTo>
                    <a:pt x="585" y="92"/>
                  </a:lnTo>
                  <a:lnTo>
                    <a:pt x="589" y="97"/>
                  </a:lnTo>
                  <a:lnTo>
                    <a:pt x="595" y="98"/>
                  </a:lnTo>
                  <a:lnTo>
                    <a:pt x="600" y="96"/>
                  </a:lnTo>
                  <a:lnTo>
                    <a:pt x="597" y="92"/>
                  </a:lnTo>
                  <a:lnTo>
                    <a:pt x="608" y="101"/>
                  </a:lnTo>
                  <a:lnTo>
                    <a:pt x="616" y="103"/>
                  </a:lnTo>
                  <a:lnTo>
                    <a:pt x="644" y="101"/>
                  </a:lnTo>
                  <a:lnTo>
                    <a:pt x="657" y="98"/>
                  </a:lnTo>
                  <a:lnTo>
                    <a:pt x="671" y="98"/>
                  </a:lnTo>
                  <a:lnTo>
                    <a:pt x="678" y="100"/>
                  </a:lnTo>
                  <a:lnTo>
                    <a:pt x="686" y="102"/>
                  </a:lnTo>
                  <a:lnTo>
                    <a:pt x="687" y="109"/>
                  </a:lnTo>
                  <a:lnTo>
                    <a:pt x="678" y="114"/>
                  </a:lnTo>
                  <a:lnTo>
                    <a:pt x="680" y="124"/>
                  </a:lnTo>
                  <a:lnTo>
                    <a:pt x="683" y="133"/>
                  </a:lnTo>
                  <a:lnTo>
                    <a:pt x="675" y="144"/>
                  </a:lnTo>
                  <a:lnTo>
                    <a:pt x="637" y="167"/>
                  </a:lnTo>
                  <a:lnTo>
                    <a:pt x="623" y="181"/>
                  </a:lnTo>
                  <a:lnTo>
                    <a:pt x="564" y="203"/>
                  </a:lnTo>
                  <a:lnTo>
                    <a:pt x="552" y="217"/>
                  </a:lnTo>
                  <a:lnTo>
                    <a:pt x="552" y="224"/>
                  </a:lnTo>
                  <a:lnTo>
                    <a:pt x="543" y="232"/>
                  </a:lnTo>
                  <a:lnTo>
                    <a:pt x="531" y="247"/>
                  </a:lnTo>
                  <a:lnTo>
                    <a:pt x="515" y="274"/>
                  </a:lnTo>
                  <a:lnTo>
                    <a:pt x="495" y="300"/>
                  </a:lnTo>
                  <a:lnTo>
                    <a:pt x="492" y="312"/>
                  </a:lnTo>
                  <a:lnTo>
                    <a:pt x="489" y="318"/>
                  </a:lnTo>
                  <a:lnTo>
                    <a:pt x="489" y="321"/>
                  </a:lnTo>
                  <a:lnTo>
                    <a:pt x="492" y="327"/>
                  </a:lnTo>
                  <a:lnTo>
                    <a:pt x="494" y="337"/>
                  </a:lnTo>
                  <a:lnTo>
                    <a:pt x="497" y="343"/>
                  </a:lnTo>
                  <a:lnTo>
                    <a:pt x="501" y="349"/>
                  </a:lnTo>
                  <a:lnTo>
                    <a:pt x="506" y="351"/>
                  </a:lnTo>
                  <a:lnTo>
                    <a:pt x="515" y="354"/>
                  </a:lnTo>
                  <a:lnTo>
                    <a:pt x="519" y="360"/>
                  </a:lnTo>
                  <a:lnTo>
                    <a:pt x="514" y="369"/>
                  </a:lnTo>
                  <a:lnTo>
                    <a:pt x="500" y="378"/>
                  </a:lnTo>
                  <a:lnTo>
                    <a:pt x="492" y="385"/>
                  </a:lnTo>
                  <a:lnTo>
                    <a:pt x="484" y="392"/>
                  </a:lnTo>
                  <a:lnTo>
                    <a:pt x="474" y="409"/>
                  </a:lnTo>
                  <a:lnTo>
                    <a:pt x="472" y="418"/>
                  </a:lnTo>
                  <a:lnTo>
                    <a:pt x="467" y="426"/>
                  </a:lnTo>
                  <a:lnTo>
                    <a:pt x="465" y="435"/>
                  </a:lnTo>
                  <a:lnTo>
                    <a:pt x="467" y="441"/>
                  </a:lnTo>
                  <a:lnTo>
                    <a:pt x="435" y="445"/>
                  </a:lnTo>
                  <a:lnTo>
                    <a:pt x="415" y="463"/>
                  </a:lnTo>
                  <a:lnTo>
                    <a:pt x="408" y="482"/>
                  </a:lnTo>
                  <a:lnTo>
                    <a:pt x="404" y="490"/>
                  </a:lnTo>
                  <a:lnTo>
                    <a:pt x="398" y="496"/>
                  </a:lnTo>
                  <a:lnTo>
                    <a:pt x="391" y="498"/>
                  </a:lnTo>
                  <a:lnTo>
                    <a:pt x="379" y="495"/>
                  </a:lnTo>
                  <a:lnTo>
                    <a:pt x="364" y="501"/>
                  </a:lnTo>
                  <a:lnTo>
                    <a:pt x="350" y="501"/>
                  </a:lnTo>
                  <a:lnTo>
                    <a:pt x="334" y="498"/>
                  </a:lnTo>
                  <a:lnTo>
                    <a:pt x="318" y="500"/>
                  </a:lnTo>
                  <a:lnTo>
                    <a:pt x="306" y="498"/>
                  </a:lnTo>
                  <a:lnTo>
                    <a:pt x="269" y="502"/>
                  </a:lnTo>
                  <a:lnTo>
                    <a:pt x="258" y="515"/>
                  </a:lnTo>
                  <a:lnTo>
                    <a:pt x="246" y="516"/>
                  </a:lnTo>
                  <a:lnTo>
                    <a:pt x="234" y="521"/>
                  </a:lnTo>
                  <a:lnTo>
                    <a:pt x="226" y="529"/>
                  </a:lnTo>
                  <a:lnTo>
                    <a:pt x="223" y="536"/>
                  </a:lnTo>
                  <a:lnTo>
                    <a:pt x="218" y="541"/>
                  </a:lnTo>
                  <a:lnTo>
                    <a:pt x="210" y="545"/>
                  </a:lnTo>
                  <a:lnTo>
                    <a:pt x="193" y="542"/>
                  </a:lnTo>
                  <a:lnTo>
                    <a:pt x="181" y="533"/>
                  </a:lnTo>
                  <a:lnTo>
                    <a:pt x="170" y="517"/>
                  </a:lnTo>
                  <a:lnTo>
                    <a:pt x="169" y="509"/>
                  </a:lnTo>
                  <a:lnTo>
                    <a:pt x="161" y="502"/>
                  </a:lnTo>
                  <a:lnTo>
                    <a:pt x="161" y="491"/>
                  </a:lnTo>
                  <a:lnTo>
                    <a:pt x="160" y="488"/>
                  </a:lnTo>
                  <a:lnTo>
                    <a:pt x="156" y="484"/>
                  </a:lnTo>
                  <a:lnTo>
                    <a:pt x="148" y="477"/>
                  </a:lnTo>
                  <a:lnTo>
                    <a:pt x="133" y="468"/>
                  </a:lnTo>
                  <a:lnTo>
                    <a:pt x="126" y="467"/>
                  </a:lnTo>
                  <a:lnTo>
                    <a:pt x="105" y="468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43" name="Freeform 193">
              <a:extLst>
                <a:ext uri="{FF2B5EF4-FFF2-40B4-BE49-F238E27FC236}">
                  <a16:creationId xmlns:a16="http://schemas.microsoft.com/office/drawing/2014/main" id="{B1293F47-5926-947D-AEDE-B505F0DA84F7}"/>
                </a:ext>
              </a:extLst>
            </p:cNvPr>
            <p:cNvSpPr>
              <a:spLocks/>
            </p:cNvSpPr>
            <p:nvPr/>
          </p:nvSpPr>
          <p:spPr bwMode="gray">
            <a:xfrm>
              <a:off x="4178338" y="2134907"/>
              <a:ext cx="61529" cy="125024"/>
            </a:xfrm>
            <a:custGeom>
              <a:avLst/>
              <a:gdLst>
                <a:gd name="T0" fmla="*/ 9689 w 177"/>
                <a:gd name="T1" fmla="*/ 26653 h 356"/>
                <a:gd name="T2" fmla="*/ 10129 w 177"/>
                <a:gd name="T3" fmla="*/ 25013 h 356"/>
                <a:gd name="T4" fmla="*/ 11891 w 177"/>
                <a:gd name="T5" fmla="*/ 23372 h 356"/>
                <a:gd name="T6" fmla="*/ 11010 w 177"/>
                <a:gd name="T7" fmla="*/ 21732 h 356"/>
                <a:gd name="T8" fmla="*/ 10570 w 177"/>
                <a:gd name="T9" fmla="*/ 19272 h 356"/>
                <a:gd name="T10" fmla="*/ 11450 w 177"/>
                <a:gd name="T11" fmla="*/ 17632 h 356"/>
                <a:gd name="T12" fmla="*/ 10129 w 177"/>
                <a:gd name="T13" fmla="*/ 15992 h 356"/>
                <a:gd name="T14" fmla="*/ 10570 w 177"/>
                <a:gd name="T15" fmla="*/ 13941 h 356"/>
                <a:gd name="T16" fmla="*/ 12331 w 177"/>
                <a:gd name="T17" fmla="*/ 12711 h 356"/>
                <a:gd name="T18" fmla="*/ 11891 w 177"/>
                <a:gd name="T19" fmla="*/ 11071 h 356"/>
                <a:gd name="T20" fmla="*/ 12331 w 177"/>
                <a:gd name="T21" fmla="*/ 9431 h 356"/>
                <a:gd name="T22" fmla="*/ 12772 w 177"/>
                <a:gd name="T23" fmla="*/ 6971 h 356"/>
                <a:gd name="T24" fmla="*/ 14533 w 177"/>
                <a:gd name="T25" fmla="*/ 4510 h 356"/>
                <a:gd name="T26" fmla="*/ 15414 w 177"/>
                <a:gd name="T27" fmla="*/ 2870 h 356"/>
                <a:gd name="T28" fmla="*/ 14093 w 177"/>
                <a:gd name="T29" fmla="*/ 1230 h 356"/>
                <a:gd name="T30" fmla="*/ 11450 w 177"/>
                <a:gd name="T31" fmla="*/ 820 h 356"/>
                <a:gd name="T32" fmla="*/ 8368 w 177"/>
                <a:gd name="T33" fmla="*/ 1230 h 356"/>
                <a:gd name="T34" fmla="*/ 6166 w 177"/>
                <a:gd name="T35" fmla="*/ 820 h 356"/>
                <a:gd name="T36" fmla="*/ 5285 w 177"/>
                <a:gd name="T37" fmla="*/ 0 h 356"/>
                <a:gd name="T38" fmla="*/ 3083 w 177"/>
                <a:gd name="T39" fmla="*/ 1640 h 356"/>
                <a:gd name="T40" fmla="*/ 3964 w 177"/>
                <a:gd name="T41" fmla="*/ 6151 h 356"/>
                <a:gd name="T42" fmla="*/ 3523 w 177"/>
                <a:gd name="T43" fmla="*/ 8611 h 356"/>
                <a:gd name="T44" fmla="*/ 2642 w 177"/>
                <a:gd name="T45" fmla="*/ 10661 h 356"/>
                <a:gd name="T46" fmla="*/ 2642 w 177"/>
                <a:gd name="T47" fmla="*/ 12711 h 356"/>
                <a:gd name="T48" fmla="*/ 1321 w 177"/>
                <a:gd name="T49" fmla="*/ 15172 h 356"/>
                <a:gd name="T50" fmla="*/ 440 w 177"/>
                <a:gd name="T51" fmla="*/ 18042 h 356"/>
                <a:gd name="T52" fmla="*/ 0 w 177"/>
                <a:gd name="T53" fmla="*/ 19272 h 356"/>
                <a:gd name="T54" fmla="*/ 1762 w 177"/>
                <a:gd name="T55" fmla="*/ 21322 h 356"/>
                <a:gd name="T56" fmla="*/ 3523 w 177"/>
                <a:gd name="T57" fmla="*/ 20502 h 356"/>
                <a:gd name="T58" fmla="*/ 3083 w 177"/>
                <a:gd name="T59" fmla="*/ 21322 h 356"/>
                <a:gd name="T60" fmla="*/ 3083 w 177"/>
                <a:gd name="T61" fmla="*/ 23782 h 356"/>
                <a:gd name="T62" fmla="*/ 3083 w 177"/>
                <a:gd name="T63" fmla="*/ 26243 h 356"/>
                <a:gd name="T64" fmla="*/ 2642 w 177"/>
                <a:gd name="T65" fmla="*/ 27883 h 356"/>
                <a:gd name="T66" fmla="*/ 2642 w 177"/>
                <a:gd name="T67" fmla="*/ 29113 h 356"/>
                <a:gd name="T68" fmla="*/ 4844 w 177"/>
                <a:gd name="T69" fmla="*/ 28703 h 356"/>
                <a:gd name="T70" fmla="*/ 6606 w 177"/>
                <a:gd name="T71" fmla="*/ 29113 h 356"/>
                <a:gd name="T72" fmla="*/ 8368 w 177"/>
                <a:gd name="T73" fmla="*/ 28703 h 356"/>
                <a:gd name="T74" fmla="*/ 9689 w 177"/>
                <a:gd name="T75" fmla="*/ 28293 h 35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77"/>
                <a:gd name="T115" fmla="*/ 0 h 356"/>
                <a:gd name="T116" fmla="*/ 177 w 177"/>
                <a:gd name="T117" fmla="*/ 356 h 35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77" h="356">
                  <a:moveTo>
                    <a:pt x="113" y="345"/>
                  </a:moveTo>
                  <a:lnTo>
                    <a:pt x="109" y="328"/>
                  </a:lnTo>
                  <a:lnTo>
                    <a:pt x="108" y="317"/>
                  </a:lnTo>
                  <a:lnTo>
                    <a:pt x="115" y="307"/>
                  </a:lnTo>
                  <a:lnTo>
                    <a:pt x="130" y="296"/>
                  </a:lnTo>
                  <a:lnTo>
                    <a:pt x="136" y="287"/>
                  </a:lnTo>
                  <a:lnTo>
                    <a:pt x="134" y="275"/>
                  </a:lnTo>
                  <a:lnTo>
                    <a:pt x="124" y="265"/>
                  </a:lnTo>
                  <a:lnTo>
                    <a:pt x="120" y="253"/>
                  </a:lnTo>
                  <a:lnTo>
                    <a:pt x="121" y="238"/>
                  </a:lnTo>
                  <a:lnTo>
                    <a:pt x="129" y="226"/>
                  </a:lnTo>
                  <a:lnTo>
                    <a:pt x="132" y="217"/>
                  </a:lnTo>
                  <a:lnTo>
                    <a:pt x="130" y="212"/>
                  </a:lnTo>
                  <a:lnTo>
                    <a:pt x="118" y="194"/>
                  </a:lnTo>
                  <a:lnTo>
                    <a:pt x="114" y="178"/>
                  </a:lnTo>
                  <a:lnTo>
                    <a:pt x="122" y="172"/>
                  </a:lnTo>
                  <a:lnTo>
                    <a:pt x="134" y="168"/>
                  </a:lnTo>
                  <a:lnTo>
                    <a:pt x="143" y="157"/>
                  </a:lnTo>
                  <a:lnTo>
                    <a:pt x="145" y="147"/>
                  </a:lnTo>
                  <a:lnTo>
                    <a:pt x="137" y="137"/>
                  </a:lnTo>
                  <a:lnTo>
                    <a:pt x="137" y="130"/>
                  </a:lnTo>
                  <a:lnTo>
                    <a:pt x="143" y="115"/>
                  </a:lnTo>
                  <a:lnTo>
                    <a:pt x="146" y="101"/>
                  </a:lnTo>
                  <a:lnTo>
                    <a:pt x="146" y="87"/>
                  </a:lnTo>
                  <a:lnTo>
                    <a:pt x="147" y="77"/>
                  </a:lnTo>
                  <a:lnTo>
                    <a:pt x="169" y="55"/>
                  </a:lnTo>
                  <a:lnTo>
                    <a:pt x="177" y="42"/>
                  </a:lnTo>
                  <a:lnTo>
                    <a:pt x="177" y="33"/>
                  </a:lnTo>
                  <a:lnTo>
                    <a:pt x="169" y="24"/>
                  </a:lnTo>
                  <a:lnTo>
                    <a:pt x="163" y="15"/>
                  </a:lnTo>
                  <a:lnTo>
                    <a:pt x="148" y="11"/>
                  </a:lnTo>
                  <a:lnTo>
                    <a:pt x="131" y="11"/>
                  </a:lnTo>
                  <a:lnTo>
                    <a:pt x="118" y="17"/>
                  </a:lnTo>
                  <a:lnTo>
                    <a:pt x="94" y="15"/>
                  </a:lnTo>
                  <a:lnTo>
                    <a:pt x="81" y="17"/>
                  </a:lnTo>
                  <a:lnTo>
                    <a:pt x="73" y="12"/>
                  </a:lnTo>
                  <a:lnTo>
                    <a:pt x="72" y="0"/>
                  </a:lnTo>
                  <a:lnTo>
                    <a:pt x="59" y="2"/>
                  </a:lnTo>
                  <a:lnTo>
                    <a:pt x="44" y="8"/>
                  </a:lnTo>
                  <a:lnTo>
                    <a:pt x="35" y="18"/>
                  </a:lnTo>
                  <a:lnTo>
                    <a:pt x="44" y="63"/>
                  </a:lnTo>
                  <a:lnTo>
                    <a:pt x="45" y="74"/>
                  </a:lnTo>
                  <a:lnTo>
                    <a:pt x="41" y="81"/>
                  </a:lnTo>
                  <a:lnTo>
                    <a:pt x="38" y="104"/>
                  </a:lnTo>
                  <a:lnTo>
                    <a:pt x="35" y="113"/>
                  </a:lnTo>
                  <a:lnTo>
                    <a:pt x="32" y="129"/>
                  </a:lnTo>
                  <a:lnTo>
                    <a:pt x="30" y="144"/>
                  </a:lnTo>
                  <a:lnTo>
                    <a:pt x="28" y="155"/>
                  </a:lnTo>
                  <a:lnTo>
                    <a:pt x="22" y="173"/>
                  </a:lnTo>
                  <a:lnTo>
                    <a:pt x="16" y="184"/>
                  </a:lnTo>
                  <a:lnTo>
                    <a:pt x="3" y="203"/>
                  </a:lnTo>
                  <a:lnTo>
                    <a:pt x="3" y="220"/>
                  </a:lnTo>
                  <a:lnTo>
                    <a:pt x="0" y="235"/>
                  </a:lnTo>
                  <a:lnTo>
                    <a:pt x="1" y="238"/>
                  </a:lnTo>
                  <a:lnTo>
                    <a:pt x="8" y="243"/>
                  </a:lnTo>
                  <a:lnTo>
                    <a:pt x="18" y="259"/>
                  </a:lnTo>
                  <a:lnTo>
                    <a:pt x="25" y="255"/>
                  </a:lnTo>
                  <a:lnTo>
                    <a:pt x="40" y="253"/>
                  </a:lnTo>
                  <a:lnTo>
                    <a:pt x="39" y="258"/>
                  </a:lnTo>
                  <a:lnTo>
                    <a:pt x="36" y="262"/>
                  </a:lnTo>
                  <a:lnTo>
                    <a:pt x="38" y="277"/>
                  </a:lnTo>
                  <a:lnTo>
                    <a:pt x="35" y="290"/>
                  </a:lnTo>
                  <a:lnTo>
                    <a:pt x="36" y="296"/>
                  </a:lnTo>
                  <a:lnTo>
                    <a:pt x="36" y="319"/>
                  </a:lnTo>
                  <a:lnTo>
                    <a:pt x="35" y="328"/>
                  </a:lnTo>
                  <a:lnTo>
                    <a:pt x="29" y="340"/>
                  </a:lnTo>
                  <a:lnTo>
                    <a:pt x="29" y="351"/>
                  </a:lnTo>
                  <a:lnTo>
                    <a:pt x="32" y="355"/>
                  </a:lnTo>
                  <a:lnTo>
                    <a:pt x="43" y="352"/>
                  </a:lnTo>
                  <a:lnTo>
                    <a:pt x="55" y="352"/>
                  </a:lnTo>
                  <a:lnTo>
                    <a:pt x="67" y="352"/>
                  </a:lnTo>
                  <a:lnTo>
                    <a:pt x="76" y="356"/>
                  </a:lnTo>
                  <a:lnTo>
                    <a:pt x="87" y="356"/>
                  </a:lnTo>
                  <a:lnTo>
                    <a:pt x="97" y="352"/>
                  </a:lnTo>
                  <a:lnTo>
                    <a:pt x="104" y="348"/>
                  </a:lnTo>
                  <a:lnTo>
                    <a:pt x="113" y="345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grpSp>
          <p:nvGrpSpPr>
            <p:cNvPr id="44" name="Group 194">
              <a:extLst>
                <a:ext uri="{FF2B5EF4-FFF2-40B4-BE49-F238E27FC236}">
                  <a16:creationId xmlns:a16="http://schemas.microsoft.com/office/drawing/2014/main" id="{4455392D-9587-F0FE-80E9-11F36EFB1D2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267492" y="1882141"/>
              <a:ext cx="274999" cy="270433"/>
              <a:chOff x="2465" y="1836"/>
              <a:chExt cx="156" cy="154"/>
            </a:xfrm>
            <a:grpFill/>
          </p:grpSpPr>
          <p:sp>
            <p:nvSpPr>
              <p:cNvPr id="79" name="Freeform 195">
                <a:extLst>
                  <a:ext uri="{FF2B5EF4-FFF2-40B4-BE49-F238E27FC236}">
                    <a16:creationId xmlns:a16="http://schemas.microsoft.com/office/drawing/2014/main" id="{30607969-C61D-EB6B-553E-BDEDF563273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610" y="1966"/>
                <a:ext cx="11" cy="24"/>
              </a:xfrm>
              <a:custGeom>
                <a:avLst/>
                <a:gdLst>
                  <a:gd name="T0" fmla="*/ 2 w 52"/>
                  <a:gd name="T1" fmla="*/ 0 h 121"/>
                  <a:gd name="T2" fmla="*/ 2 w 52"/>
                  <a:gd name="T3" fmla="*/ 0 h 121"/>
                  <a:gd name="T4" fmla="*/ 2 w 52"/>
                  <a:gd name="T5" fmla="*/ 1 h 121"/>
                  <a:gd name="T6" fmla="*/ 2 w 52"/>
                  <a:gd name="T7" fmla="*/ 2 h 121"/>
                  <a:gd name="T8" fmla="*/ 2 w 52"/>
                  <a:gd name="T9" fmla="*/ 3 h 121"/>
                  <a:gd name="T10" fmla="*/ 2 w 52"/>
                  <a:gd name="T11" fmla="*/ 3 h 121"/>
                  <a:gd name="T12" fmla="*/ 2 w 52"/>
                  <a:gd name="T13" fmla="*/ 4 h 121"/>
                  <a:gd name="T14" fmla="*/ 2 w 52"/>
                  <a:gd name="T15" fmla="*/ 4 h 121"/>
                  <a:gd name="T16" fmla="*/ 1 w 52"/>
                  <a:gd name="T17" fmla="*/ 5 h 121"/>
                  <a:gd name="T18" fmla="*/ 1 w 52"/>
                  <a:gd name="T19" fmla="*/ 5 h 121"/>
                  <a:gd name="T20" fmla="*/ 1 w 52"/>
                  <a:gd name="T21" fmla="*/ 5 h 121"/>
                  <a:gd name="T22" fmla="*/ 1 w 52"/>
                  <a:gd name="T23" fmla="*/ 4 h 121"/>
                  <a:gd name="T24" fmla="*/ 1 w 52"/>
                  <a:gd name="T25" fmla="*/ 4 h 121"/>
                  <a:gd name="T26" fmla="*/ 1 w 52"/>
                  <a:gd name="T27" fmla="*/ 4 h 121"/>
                  <a:gd name="T28" fmla="*/ 1 w 52"/>
                  <a:gd name="T29" fmla="*/ 4 h 121"/>
                  <a:gd name="T30" fmla="*/ 0 w 52"/>
                  <a:gd name="T31" fmla="*/ 4 h 121"/>
                  <a:gd name="T32" fmla="*/ 0 w 52"/>
                  <a:gd name="T33" fmla="*/ 3 h 121"/>
                  <a:gd name="T34" fmla="*/ 0 w 52"/>
                  <a:gd name="T35" fmla="*/ 3 h 121"/>
                  <a:gd name="T36" fmla="*/ 0 w 52"/>
                  <a:gd name="T37" fmla="*/ 2 h 121"/>
                  <a:gd name="T38" fmla="*/ 0 w 52"/>
                  <a:gd name="T39" fmla="*/ 2 h 121"/>
                  <a:gd name="T40" fmla="*/ 0 w 52"/>
                  <a:gd name="T41" fmla="*/ 1 h 121"/>
                  <a:gd name="T42" fmla="*/ 0 w 52"/>
                  <a:gd name="T43" fmla="*/ 1 h 121"/>
                  <a:gd name="T44" fmla="*/ 1 w 52"/>
                  <a:gd name="T45" fmla="*/ 1 h 121"/>
                  <a:gd name="T46" fmla="*/ 1 w 52"/>
                  <a:gd name="T47" fmla="*/ 1 h 121"/>
                  <a:gd name="T48" fmla="*/ 2 w 52"/>
                  <a:gd name="T49" fmla="*/ 1 h 121"/>
                  <a:gd name="T50" fmla="*/ 2 w 52"/>
                  <a:gd name="T51" fmla="*/ 1 h 121"/>
                  <a:gd name="T52" fmla="*/ 2 w 52"/>
                  <a:gd name="T53" fmla="*/ 0 h 121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52"/>
                  <a:gd name="T82" fmla="*/ 0 h 121"/>
                  <a:gd name="T83" fmla="*/ 52 w 52"/>
                  <a:gd name="T84" fmla="*/ 121 h 121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52" h="121">
                    <a:moveTo>
                      <a:pt x="41" y="0"/>
                    </a:moveTo>
                    <a:lnTo>
                      <a:pt x="46" y="2"/>
                    </a:lnTo>
                    <a:lnTo>
                      <a:pt x="47" y="32"/>
                    </a:lnTo>
                    <a:lnTo>
                      <a:pt x="52" y="59"/>
                    </a:lnTo>
                    <a:lnTo>
                      <a:pt x="51" y="70"/>
                    </a:lnTo>
                    <a:lnTo>
                      <a:pt x="47" y="79"/>
                    </a:lnTo>
                    <a:lnTo>
                      <a:pt x="44" y="89"/>
                    </a:lnTo>
                    <a:lnTo>
                      <a:pt x="41" y="103"/>
                    </a:lnTo>
                    <a:lnTo>
                      <a:pt x="33" y="115"/>
                    </a:lnTo>
                    <a:lnTo>
                      <a:pt x="33" y="121"/>
                    </a:lnTo>
                    <a:lnTo>
                      <a:pt x="28" y="114"/>
                    </a:lnTo>
                    <a:lnTo>
                      <a:pt x="22" y="113"/>
                    </a:lnTo>
                    <a:lnTo>
                      <a:pt x="16" y="109"/>
                    </a:lnTo>
                    <a:lnTo>
                      <a:pt x="14" y="103"/>
                    </a:lnTo>
                    <a:lnTo>
                      <a:pt x="14" y="95"/>
                    </a:lnTo>
                    <a:lnTo>
                      <a:pt x="8" y="93"/>
                    </a:lnTo>
                    <a:lnTo>
                      <a:pt x="5" y="87"/>
                    </a:lnTo>
                    <a:lnTo>
                      <a:pt x="4" y="65"/>
                    </a:lnTo>
                    <a:lnTo>
                      <a:pt x="0" y="60"/>
                    </a:lnTo>
                    <a:lnTo>
                      <a:pt x="0" y="44"/>
                    </a:lnTo>
                    <a:lnTo>
                      <a:pt x="5" y="30"/>
                    </a:lnTo>
                    <a:lnTo>
                      <a:pt x="10" y="32"/>
                    </a:lnTo>
                    <a:lnTo>
                      <a:pt x="16" y="29"/>
                    </a:lnTo>
                    <a:lnTo>
                      <a:pt x="27" y="22"/>
                    </a:lnTo>
                    <a:lnTo>
                      <a:pt x="36" y="18"/>
                    </a:lnTo>
                    <a:lnTo>
                      <a:pt x="38" y="14"/>
                    </a:lnTo>
                    <a:lnTo>
                      <a:pt x="41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80" name="Freeform 196">
                <a:extLst>
                  <a:ext uri="{FF2B5EF4-FFF2-40B4-BE49-F238E27FC236}">
                    <a16:creationId xmlns:a16="http://schemas.microsoft.com/office/drawing/2014/main" id="{2BD98E7B-6494-19B6-7AEC-345FCAB0B6D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65" y="1836"/>
                <a:ext cx="139" cy="140"/>
              </a:xfrm>
              <a:custGeom>
                <a:avLst/>
                <a:gdLst>
                  <a:gd name="T0" fmla="*/ 14 w 694"/>
                  <a:gd name="T1" fmla="*/ 1 h 700"/>
                  <a:gd name="T2" fmla="*/ 13 w 694"/>
                  <a:gd name="T3" fmla="*/ 4 h 700"/>
                  <a:gd name="T4" fmla="*/ 11 w 694"/>
                  <a:gd name="T5" fmla="*/ 6 h 700"/>
                  <a:gd name="T6" fmla="*/ 10 w 694"/>
                  <a:gd name="T7" fmla="*/ 6 h 700"/>
                  <a:gd name="T8" fmla="*/ 8 w 694"/>
                  <a:gd name="T9" fmla="*/ 5 h 700"/>
                  <a:gd name="T10" fmla="*/ 6 w 694"/>
                  <a:gd name="T11" fmla="*/ 6 h 700"/>
                  <a:gd name="T12" fmla="*/ 7 w 694"/>
                  <a:gd name="T13" fmla="*/ 8 h 700"/>
                  <a:gd name="T14" fmla="*/ 6 w 694"/>
                  <a:gd name="T15" fmla="*/ 8 h 700"/>
                  <a:gd name="T16" fmla="*/ 4 w 694"/>
                  <a:gd name="T17" fmla="*/ 8 h 700"/>
                  <a:gd name="T18" fmla="*/ 2 w 694"/>
                  <a:gd name="T19" fmla="*/ 8 h 700"/>
                  <a:gd name="T20" fmla="*/ 0 w 694"/>
                  <a:gd name="T21" fmla="*/ 9 h 700"/>
                  <a:gd name="T22" fmla="*/ 0 w 694"/>
                  <a:gd name="T23" fmla="*/ 10 h 700"/>
                  <a:gd name="T24" fmla="*/ 0 w 694"/>
                  <a:gd name="T25" fmla="*/ 11 h 700"/>
                  <a:gd name="T26" fmla="*/ 2 w 694"/>
                  <a:gd name="T27" fmla="*/ 11 h 700"/>
                  <a:gd name="T28" fmla="*/ 4 w 694"/>
                  <a:gd name="T29" fmla="*/ 12 h 700"/>
                  <a:gd name="T30" fmla="*/ 5 w 694"/>
                  <a:gd name="T31" fmla="*/ 12 h 700"/>
                  <a:gd name="T32" fmla="*/ 6 w 694"/>
                  <a:gd name="T33" fmla="*/ 13 h 700"/>
                  <a:gd name="T34" fmla="*/ 6 w 694"/>
                  <a:gd name="T35" fmla="*/ 14 h 700"/>
                  <a:gd name="T36" fmla="*/ 8 w 694"/>
                  <a:gd name="T37" fmla="*/ 16 h 700"/>
                  <a:gd name="T38" fmla="*/ 8 w 694"/>
                  <a:gd name="T39" fmla="*/ 18 h 700"/>
                  <a:gd name="T40" fmla="*/ 9 w 694"/>
                  <a:gd name="T41" fmla="*/ 19 h 700"/>
                  <a:gd name="T42" fmla="*/ 8 w 694"/>
                  <a:gd name="T43" fmla="*/ 21 h 700"/>
                  <a:gd name="T44" fmla="*/ 8 w 694"/>
                  <a:gd name="T45" fmla="*/ 22 h 700"/>
                  <a:gd name="T46" fmla="*/ 6 w 694"/>
                  <a:gd name="T47" fmla="*/ 25 h 700"/>
                  <a:gd name="T48" fmla="*/ 9 w 694"/>
                  <a:gd name="T49" fmla="*/ 27 h 700"/>
                  <a:gd name="T50" fmla="*/ 12 w 694"/>
                  <a:gd name="T51" fmla="*/ 27 h 700"/>
                  <a:gd name="T52" fmla="*/ 14 w 694"/>
                  <a:gd name="T53" fmla="*/ 28 h 700"/>
                  <a:gd name="T54" fmla="*/ 17 w 694"/>
                  <a:gd name="T55" fmla="*/ 28 h 700"/>
                  <a:gd name="T56" fmla="*/ 18 w 694"/>
                  <a:gd name="T57" fmla="*/ 25 h 700"/>
                  <a:gd name="T58" fmla="*/ 20 w 694"/>
                  <a:gd name="T59" fmla="*/ 25 h 700"/>
                  <a:gd name="T60" fmla="*/ 21 w 694"/>
                  <a:gd name="T61" fmla="*/ 25 h 700"/>
                  <a:gd name="T62" fmla="*/ 22 w 694"/>
                  <a:gd name="T63" fmla="*/ 25 h 700"/>
                  <a:gd name="T64" fmla="*/ 24 w 694"/>
                  <a:gd name="T65" fmla="*/ 26 h 700"/>
                  <a:gd name="T66" fmla="*/ 26 w 694"/>
                  <a:gd name="T67" fmla="*/ 24 h 700"/>
                  <a:gd name="T68" fmla="*/ 27 w 694"/>
                  <a:gd name="T69" fmla="*/ 23 h 700"/>
                  <a:gd name="T70" fmla="*/ 25 w 694"/>
                  <a:gd name="T71" fmla="*/ 22 h 700"/>
                  <a:gd name="T72" fmla="*/ 25 w 694"/>
                  <a:gd name="T73" fmla="*/ 20 h 700"/>
                  <a:gd name="T74" fmla="*/ 26 w 694"/>
                  <a:gd name="T75" fmla="*/ 19 h 700"/>
                  <a:gd name="T76" fmla="*/ 25 w 694"/>
                  <a:gd name="T77" fmla="*/ 17 h 700"/>
                  <a:gd name="T78" fmla="*/ 25 w 694"/>
                  <a:gd name="T79" fmla="*/ 16 h 700"/>
                  <a:gd name="T80" fmla="*/ 23 w 694"/>
                  <a:gd name="T81" fmla="*/ 15 h 700"/>
                  <a:gd name="T82" fmla="*/ 24 w 694"/>
                  <a:gd name="T83" fmla="*/ 14 h 700"/>
                  <a:gd name="T84" fmla="*/ 25 w 694"/>
                  <a:gd name="T85" fmla="*/ 12 h 700"/>
                  <a:gd name="T86" fmla="*/ 27 w 694"/>
                  <a:gd name="T87" fmla="*/ 11 h 700"/>
                  <a:gd name="T88" fmla="*/ 28 w 694"/>
                  <a:gd name="T89" fmla="*/ 7 h 700"/>
                  <a:gd name="T90" fmla="*/ 24 w 694"/>
                  <a:gd name="T91" fmla="*/ 6 h 700"/>
                  <a:gd name="T92" fmla="*/ 22 w 694"/>
                  <a:gd name="T93" fmla="*/ 5 h 700"/>
                  <a:gd name="T94" fmla="*/ 21 w 694"/>
                  <a:gd name="T95" fmla="*/ 3 h 700"/>
                  <a:gd name="T96" fmla="*/ 20 w 694"/>
                  <a:gd name="T97" fmla="*/ 4 h 700"/>
                  <a:gd name="T98" fmla="*/ 18 w 694"/>
                  <a:gd name="T99" fmla="*/ 2 h 700"/>
                  <a:gd name="T100" fmla="*/ 16 w 694"/>
                  <a:gd name="T101" fmla="*/ 1 h 700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694"/>
                  <a:gd name="T154" fmla="*/ 0 h 700"/>
                  <a:gd name="T155" fmla="*/ 694 w 694"/>
                  <a:gd name="T156" fmla="*/ 700 h 700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694" h="700">
                    <a:moveTo>
                      <a:pt x="408" y="0"/>
                    </a:moveTo>
                    <a:lnTo>
                      <a:pt x="403" y="4"/>
                    </a:lnTo>
                    <a:lnTo>
                      <a:pt x="381" y="7"/>
                    </a:lnTo>
                    <a:lnTo>
                      <a:pt x="355" y="17"/>
                    </a:lnTo>
                    <a:lnTo>
                      <a:pt x="349" y="36"/>
                    </a:lnTo>
                    <a:lnTo>
                      <a:pt x="345" y="66"/>
                    </a:lnTo>
                    <a:lnTo>
                      <a:pt x="349" y="70"/>
                    </a:lnTo>
                    <a:lnTo>
                      <a:pt x="348" y="76"/>
                    </a:lnTo>
                    <a:lnTo>
                      <a:pt x="336" y="90"/>
                    </a:lnTo>
                    <a:lnTo>
                      <a:pt x="322" y="100"/>
                    </a:lnTo>
                    <a:lnTo>
                      <a:pt x="290" y="109"/>
                    </a:lnTo>
                    <a:lnTo>
                      <a:pt x="275" y="119"/>
                    </a:lnTo>
                    <a:lnTo>
                      <a:pt x="268" y="132"/>
                    </a:lnTo>
                    <a:lnTo>
                      <a:pt x="269" y="138"/>
                    </a:lnTo>
                    <a:lnTo>
                      <a:pt x="284" y="138"/>
                    </a:lnTo>
                    <a:lnTo>
                      <a:pt x="289" y="139"/>
                    </a:lnTo>
                    <a:lnTo>
                      <a:pt x="288" y="143"/>
                    </a:lnTo>
                    <a:lnTo>
                      <a:pt x="267" y="145"/>
                    </a:lnTo>
                    <a:lnTo>
                      <a:pt x="257" y="152"/>
                    </a:lnTo>
                    <a:lnTo>
                      <a:pt x="248" y="154"/>
                    </a:lnTo>
                    <a:lnTo>
                      <a:pt x="237" y="154"/>
                    </a:lnTo>
                    <a:lnTo>
                      <a:pt x="224" y="150"/>
                    </a:lnTo>
                    <a:lnTo>
                      <a:pt x="208" y="148"/>
                    </a:lnTo>
                    <a:lnTo>
                      <a:pt x="203" y="149"/>
                    </a:lnTo>
                    <a:lnTo>
                      <a:pt x="191" y="133"/>
                    </a:lnTo>
                    <a:lnTo>
                      <a:pt x="192" y="124"/>
                    </a:lnTo>
                    <a:lnTo>
                      <a:pt x="188" y="122"/>
                    </a:lnTo>
                    <a:lnTo>
                      <a:pt x="167" y="123"/>
                    </a:lnTo>
                    <a:lnTo>
                      <a:pt x="157" y="120"/>
                    </a:lnTo>
                    <a:lnTo>
                      <a:pt x="159" y="140"/>
                    </a:lnTo>
                    <a:lnTo>
                      <a:pt x="162" y="149"/>
                    </a:lnTo>
                    <a:lnTo>
                      <a:pt x="168" y="154"/>
                    </a:lnTo>
                    <a:lnTo>
                      <a:pt x="175" y="177"/>
                    </a:lnTo>
                    <a:lnTo>
                      <a:pt x="175" y="189"/>
                    </a:lnTo>
                    <a:lnTo>
                      <a:pt x="177" y="202"/>
                    </a:lnTo>
                    <a:lnTo>
                      <a:pt x="183" y="206"/>
                    </a:lnTo>
                    <a:lnTo>
                      <a:pt x="179" y="210"/>
                    </a:lnTo>
                    <a:lnTo>
                      <a:pt x="168" y="211"/>
                    </a:lnTo>
                    <a:lnTo>
                      <a:pt x="165" y="208"/>
                    </a:lnTo>
                    <a:lnTo>
                      <a:pt x="160" y="205"/>
                    </a:lnTo>
                    <a:lnTo>
                      <a:pt x="152" y="208"/>
                    </a:lnTo>
                    <a:lnTo>
                      <a:pt x="145" y="210"/>
                    </a:lnTo>
                    <a:lnTo>
                      <a:pt x="136" y="209"/>
                    </a:lnTo>
                    <a:lnTo>
                      <a:pt x="118" y="215"/>
                    </a:lnTo>
                    <a:lnTo>
                      <a:pt x="93" y="194"/>
                    </a:lnTo>
                    <a:lnTo>
                      <a:pt x="76" y="195"/>
                    </a:lnTo>
                    <a:lnTo>
                      <a:pt x="71" y="193"/>
                    </a:lnTo>
                    <a:lnTo>
                      <a:pt x="66" y="197"/>
                    </a:lnTo>
                    <a:lnTo>
                      <a:pt x="65" y="202"/>
                    </a:lnTo>
                    <a:lnTo>
                      <a:pt x="51" y="206"/>
                    </a:lnTo>
                    <a:lnTo>
                      <a:pt x="42" y="206"/>
                    </a:lnTo>
                    <a:lnTo>
                      <a:pt x="26" y="209"/>
                    </a:lnTo>
                    <a:lnTo>
                      <a:pt x="4" y="219"/>
                    </a:lnTo>
                    <a:lnTo>
                      <a:pt x="0" y="229"/>
                    </a:lnTo>
                    <a:lnTo>
                      <a:pt x="0" y="235"/>
                    </a:lnTo>
                    <a:lnTo>
                      <a:pt x="20" y="232"/>
                    </a:lnTo>
                    <a:lnTo>
                      <a:pt x="19" y="237"/>
                    </a:lnTo>
                    <a:lnTo>
                      <a:pt x="14" y="237"/>
                    </a:lnTo>
                    <a:lnTo>
                      <a:pt x="9" y="243"/>
                    </a:lnTo>
                    <a:lnTo>
                      <a:pt x="11" y="248"/>
                    </a:lnTo>
                    <a:lnTo>
                      <a:pt x="19" y="247"/>
                    </a:lnTo>
                    <a:lnTo>
                      <a:pt x="28" y="247"/>
                    </a:lnTo>
                    <a:lnTo>
                      <a:pt x="26" y="254"/>
                    </a:lnTo>
                    <a:lnTo>
                      <a:pt x="5" y="258"/>
                    </a:lnTo>
                    <a:lnTo>
                      <a:pt x="10" y="263"/>
                    </a:lnTo>
                    <a:lnTo>
                      <a:pt x="23" y="268"/>
                    </a:lnTo>
                    <a:lnTo>
                      <a:pt x="23" y="279"/>
                    </a:lnTo>
                    <a:lnTo>
                      <a:pt x="35" y="280"/>
                    </a:lnTo>
                    <a:lnTo>
                      <a:pt x="35" y="274"/>
                    </a:lnTo>
                    <a:lnTo>
                      <a:pt x="43" y="273"/>
                    </a:lnTo>
                    <a:lnTo>
                      <a:pt x="74" y="284"/>
                    </a:lnTo>
                    <a:lnTo>
                      <a:pt x="84" y="291"/>
                    </a:lnTo>
                    <a:lnTo>
                      <a:pt x="86" y="296"/>
                    </a:lnTo>
                    <a:lnTo>
                      <a:pt x="91" y="299"/>
                    </a:lnTo>
                    <a:lnTo>
                      <a:pt x="103" y="294"/>
                    </a:lnTo>
                    <a:lnTo>
                      <a:pt x="111" y="296"/>
                    </a:lnTo>
                    <a:lnTo>
                      <a:pt x="106" y="300"/>
                    </a:lnTo>
                    <a:lnTo>
                      <a:pt x="118" y="305"/>
                    </a:lnTo>
                    <a:lnTo>
                      <a:pt x="124" y="300"/>
                    </a:lnTo>
                    <a:lnTo>
                      <a:pt x="128" y="302"/>
                    </a:lnTo>
                    <a:lnTo>
                      <a:pt x="125" y="318"/>
                    </a:lnTo>
                    <a:lnTo>
                      <a:pt x="140" y="322"/>
                    </a:lnTo>
                    <a:lnTo>
                      <a:pt x="155" y="318"/>
                    </a:lnTo>
                    <a:lnTo>
                      <a:pt x="165" y="323"/>
                    </a:lnTo>
                    <a:lnTo>
                      <a:pt x="148" y="328"/>
                    </a:lnTo>
                    <a:lnTo>
                      <a:pt x="148" y="334"/>
                    </a:lnTo>
                    <a:lnTo>
                      <a:pt x="155" y="342"/>
                    </a:lnTo>
                    <a:lnTo>
                      <a:pt x="150" y="349"/>
                    </a:lnTo>
                    <a:lnTo>
                      <a:pt x="144" y="344"/>
                    </a:lnTo>
                    <a:lnTo>
                      <a:pt x="144" y="351"/>
                    </a:lnTo>
                    <a:lnTo>
                      <a:pt x="155" y="364"/>
                    </a:lnTo>
                    <a:lnTo>
                      <a:pt x="161" y="374"/>
                    </a:lnTo>
                    <a:lnTo>
                      <a:pt x="164" y="381"/>
                    </a:lnTo>
                    <a:lnTo>
                      <a:pt x="176" y="389"/>
                    </a:lnTo>
                    <a:lnTo>
                      <a:pt x="188" y="397"/>
                    </a:lnTo>
                    <a:lnTo>
                      <a:pt x="203" y="401"/>
                    </a:lnTo>
                    <a:lnTo>
                      <a:pt x="200" y="408"/>
                    </a:lnTo>
                    <a:lnTo>
                      <a:pt x="204" y="417"/>
                    </a:lnTo>
                    <a:lnTo>
                      <a:pt x="204" y="429"/>
                    </a:lnTo>
                    <a:lnTo>
                      <a:pt x="199" y="440"/>
                    </a:lnTo>
                    <a:lnTo>
                      <a:pt x="203" y="450"/>
                    </a:lnTo>
                    <a:lnTo>
                      <a:pt x="213" y="457"/>
                    </a:lnTo>
                    <a:lnTo>
                      <a:pt x="220" y="467"/>
                    </a:lnTo>
                    <a:lnTo>
                      <a:pt x="224" y="480"/>
                    </a:lnTo>
                    <a:lnTo>
                      <a:pt x="220" y="475"/>
                    </a:lnTo>
                    <a:lnTo>
                      <a:pt x="207" y="460"/>
                    </a:lnTo>
                    <a:lnTo>
                      <a:pt x="203" y="467"/>
                    </a:lnTo>
                    <a:lnTo>
                      <a:pt x="203" y="484"/>
                    </a:lnTo>
                    <a:lnTo>
                      <a:pt x="198" y="517"/>
                    </a:lnTo>
                    <a:lnTo>
                      <a:pt x="197" y="527"/>
                    </a:lnTo>
                    <a:lnTo>
                      <a:pt x="203" y="518"/>
                    </a:lnTo>
                    <a:lnTo>
                      <a:pt x="207" y="526"/>
                    </a:lnTo>
                    <a:lnTo>
                      <a:pt x="204" y="530"/>
                    </a:lnTo>
                    <a:lnTo>
                      <a:pt x="197" y="534"/>
                    </a:lnTo>
                    <a:lnTo>
                      <a:pt x="197" y="547"/>
                    </a:lnTo>
                    <a:lnTo>
                      <a:pt x="186" y="607"/>
                    </a:lnTo>
                    <a:lnTo>
                      <a:pt x="181" y="618"/>
                    </a:lnTo>
                    <a:lnTo>
                      <a:pt x="171" y="624"/>
                    </a:lnTo>
                    <a:lnTo>
                      <a:pt x="161" y="624"/>
                    </a:lnTo>
                    <a:lnTo>
                      <a:pt x="162" y="628"/>
                    </a:lnTo>
                    <a:lnTo>
                      <a:pt x="184" y="646"/>
                    </a:lnTo>
                    <a:lnTo>
                      <a:pt x="193" y="650"/>
                    </a:lnTo>
                    <a:lnTo>
                      <a:pt x="204" y="652"/>
                    </a:lnTo>
                    <a:lnTo>
                      <a:pt x="215" y="660"/>
                    </a:lnTo>
                    <a:lnTo>
                      <a:pt x="222" y="666"/>
                    </a:lnTo>
                    <a:lnTo>
                      <a:pt x="268" y="678"/>
                    </a:lnTo>
                    <a:lnTo>
                      <a:pt x="284" y="679"/>
                    </a:lnTo>
                    <a:lnTo>
                      <a:pt x="290" y="678"/>
                    </a:lnTo>
                    <a:lnTo>
                      <a:pt x="300" y="671"/>
                    </a:lnTo>
                    <a:lnTo>
                      <a:pt x="308" y="670"/>
                    </a:lnTo>
                    <a:lnTo>
                      <a:pt x="317" y="672"/>
                    </a:lnTo>
                    <a:lnTo>
                      <a:pt x="332" y="682"/>
                    </a:lnTo>
                    <a:lnTo>
                      <a:pt x="345" y="683"/>
                    </a:lnTo>
                    <a:lnTo>
                      <a:pt x="350" y="689"/>
                    </a:lnTo>
                    <a:lnTo>
                      <a:pt x="361" y="698"/>
                    </a:lnTo>
                    <a:lnTo>
                      <a:pt x="369" y="700"/>
                    </a:lnTo>
                    <a:lnTo>
                      <a:pt x="397" y="698"/>
                    </a:lnTo>
                    <a:lnTo>
                      <a:pt x="410" y="695"/>
                    </a:lnTo>
                    <a:lnTo>
                      <a:pt x="424" y="695"/>
                    </a:lnTo>
                    <a:lnTo>
                      <a:pt x="431" y="697"/>
                    </a:lnTo>
                    <a:lnTo>
                      <a:pt x="429" y="667"/>
                    </a:lnTo>
                    <a:lnTo>
                      <a:pt x="425" y="663"/>
                    </a:lnTo>
                    <a:lnTo>
                      <a:pt x="428" y="649"/>
                    </a:lnTo>
                    <a:lnTo>
                      <a:pt x="434" y="638"/>
                    </a:lnTo>
                    <a:lnTo>
                      <a:pt x="452" y="629"/>
                    </a:lnTo>
                    <a:lnTo>
                      <a:pt x="463" y="622"/>
                    </a:lnTo>
                    <a:lnTo>
                      <a:pt x="469" y="617"/>
                    </a:lnTo>
                    <a:lnTo>
                      <a:pt x="478" y="612"/>
                    </a:lnTo>
                    <a:lnTo>
                      <a:pt x="483" y="612"/>
                    </a:lnTo>
                    <a:lnTo>
                      <a:pt x="487" y="615"/>
                    </a:lnTo>
                    <a:lnTo>
                      <a:pt x="503" y="618"/>
                    </a:lnTo>
                    <a:lnTo>
                      <a:pt x="505" y="619"/>
                    </a:lnTo>
                    <a:lnTo>
                      <a:pt x="507" y="623"/>
                    </a:lnTo>
                    <a:lnTo>
                      <a:pt x="512" y="624"/>
                    </a:lnTo>
                    <a:lnTo>
                      <a:pt x="525" y="625"/>
                    </a:lnTo>
                    <a:lnTo>
                      <a:pt x="526" y="622"/>
                    </a:lnTo>
                    <a:lnTo>
                      <a:pt x="536" y="623"/>
                    </a:lnTo>
                    <a:lnTo>
                      <a:pt x="538" y="625"/>
                    </a:lnTo>
                    <a:lnTo>
                      <a:pt x="546" y="625"/>
                    </a:lnTo>
                    <a:lnTo>
                      <a:pt x="552" y="628"/>
                    </a:lnTo>
                    <a:lnTo>
                      <a:pt x="553" y="633"/>
                    </a:lnTo>
                    <a:lnTo>
                      <a:pt x="557" y="634"/>
                    </a:lnTo>
                    <a:lnTo>
                      <a:pt x="569" y="635"/>
                    </a:lnTo>
                    <a:lnTo>
                      <a:pt x="578" y="644"/>
                    </a:lnTo>
                    <a:lnTo>
                      <a:pt x="593" y="645"/>
                    </a:lnTo>
                    <a:lnTo>
                      <a:pt x="617" y="634"/>
                    </a:lnTo>
                    <a:lnTo>
                      <a:pt x="619" y="631"/>
                    </a:lnTo>
                    <a:lnTo>
                      <a:pt x="620" y="625"/>
                    </a:lnTo>
                    <a:lnTo>
                      <a:pt x="629" y="619"/>
                    </a:lnTo>
                    <a:lnTo>
                      <a:pt x="640" y="608"/>
                    </a:lnTo>
                    <a:lnTo>
                      <a:pt x="646" y="604"/>
                    </a:lnTo>
                    <a:lnTo>
                      <a:pt x="648" y="600"/>
                    </a:lnTo>
                    <a:lnTo>
                      <a:pt x="667" y="590"/>
                    </a:lnTo>
                    <a:lnTo>
                      <a:pt x="668" y="588"/>
                    </a:lnTo>
                    <a:lnTo>
                      <a:pt x="667" y="585"/>
                    </a:lnTo>
                    <a:lnTo>
                      <a:pt x="670" y="579"/>
                    </a:lnTo>
                    <a:lnTo>
                      <a:pt x="670" y="570"/>
                    </a:lnTo>
                    <a:lnTo>
                      <a:pt x="666" y="561"/>
                    </a:lnTo>
                    <a:lnTo>
                      <a:pt x="641" y="559"/>
                    </a:lnTo>
                    <a:lnTo>
                      <a:pt x="635" y="550"/>
                    </a:lnTo>
                    <a:lnTo>
                      <a:pt x="633" y="539"/>
                    </a:lnTo>
                    <a:lnTo>
                      <a:pt x="632" y="528"/>
                    </a:lnTo>
                    <a:lnTo>
                      <a:pt x="634" y="520"/>
                    </a:lnTo>
                    <a:lnTo>
                      <a:pt x="633" y="511"/>
                    </a:lnTo>
                    <a:lnTo>
                      <a:pt x="624" y="509"/>
                    </a:lnTo>
                    <a:lnTo>
                      <a:pt x="623" y="504"/>
                    </a:lnTo>
                    <a:lnTo>
                      <a:pt x="622" y="499"/>
                    </a:lnTo>
                    <a:lnTo>
                      <a:pt x="624" y="490"/>
                    </a:lnTo>
                    <a:lnTo>
                      <a:pt x="629" y="484"/>
                    </a:lnTo>
                    <a:lnTo>
                      <a:pt x="640" y="477"/>
                    </a:lnTo>
                    <a:lnTo>
                      <a:pt x="638" y="467"/>
                    </a:lnTo>
                    <a:lnTo>
                      <a:pt x="627" y="441"/>
                    </a:lnTo>
                    <a:lnTo>
                      <a:pt x="625" y="436"/>
                    </a:lnTo>
                    <a:lnTo>
                      <a:pt x="627" y="431"/>
                    </a:lnTo>
                    <a:lnTo>
                      <a:pt x="636" y="430"/>
                    </a:lnTo>
                    <a:lnTo>
                      <a:pt x="634" y="419"/>
                    </a:lnTo>
                    <a:lnTo>
                      <a:pt x="627" y="418"/>
                    </a:lnTo>
                    <a:lnTo>
                      <a:pt x="624" y="407"/>
                    </a:lnTo>
                    <a:lnTo>
                      <a:pt x="624" y="389"/>
                    </a:lnTo>
                    <a:lnTo>
                      <a:pt x="620" y="388"/>
                    </a:lnTo>
                    <a:lnTo>
                      <a:pt x="603" y="388"/>
                    </a:lnTo>
                    <a:lnTo>
                      <a:pt x="592" y="404"/>
                    </a:lnTo>
                    <a:lnTo>
                      <a:pt x="586" y="409"/>
                    </a:lnTo>
                    <a:lnTo>
                      <a:pt x="582" y="407"/>
                    </a:lnTo>
                    <a:lnTo>
                      <a:pt x="584" y="385"/>
                    </a:lnTo>
                    <a:lnTo>
                      <a:pt x="587" y="372"/>
                    </a:lnTo>
                    <a:lnTo>
                      <a:pt x="591" y="369"/>
                    </a:lnTo>
                    <a:lnTo>
                      <a:pt x="595" y="362"/>
                    </a:lnTo>
                    <a:lnTo>
                      <a:pt x="602" y="358"/>
                    </a:lnTo>
                    <a:lnTo>
                      <a:pt x="603" y="355"/>
                    </a:lnTo>
                    <a:lnTo>
                      <a:pt x="606" y="345"/>
                    </a:lnTo>
                    <a:lnTo>
                      <a:pt x="612" y="337"/>
                    </a:lnTo>
                    <a:lnTo>
                      <a:pt x="635" y="311"/>
                    </a:lnTo>
                    <a:lnTo>
                      <a:pt x="632" y="306"/>
                    </a:lnTo>
                    <a:lnTo>
                      <a:pt x="635" y="299"/>
                    </a:lnTo>
                    <a:lnTo>
                      <a:pt x="652" y="300"/>
                    </a:lnTo>
                    <a:lnTo>
                      <a:pt x="660" y="297"/>
                    </a:lnTo>
                    <a:lnTo>
                      <a:pt x="667" y="291"/>
                    </a:lnTo>
                    <a:lnTo>
                      <a:pt x="665" y="289"/>
                    </a:lnTo>
                    <a:lnTo>
                      <a:pt x="663" y="279"/>
                    </a:lnTo>
                    <a:lnTo>
                      <a:pt x="665" y="251"/>
                    </a:lnTo>
                    <a:lnTo>
                      <a:pt x="672" y="226"/>
                    </a:lnTo>
                    <a:lnTo>
                      <a:pt x="675" y="214"/>
                    </a:lnTo>
                    <a:lnTo>
                      <a:pt x="692" y="191"/>
                    </a:lnTo>
                    <a:lnTo>
                      <a:pt x="694" y="179"/>
                    </a:lnTo>
                    <a:lnTo>
                      <a:pt x="681" y="173"/>
                    </a:lnTo>
                    <a:lnTo>
                      <a:pt x="640" y="161"/>
                    </a:lnTo>
                    <a:lnTo>
                      <a:pt x="622" y="160"/>
                    </a:lnTo>
                    <a:lnTo>
                      <a:pt x="616" y="149"/>
                    </a:lnTo>
                    <a:lnTo>
                      <a:pt x="608" y="143"/>
                    </a:lnTo>
                    <a:lnTo>
                      <a:pt x="596" y="132"/>
                    </a:lnTo>
                    <a:lnTo>
                      <a:pt x="584" y="133"/>
                    </a:lnTo>
                    <a:lnTo>
                      <a:pt x="566" y="128"/>
                    </a:lnTo>
                    <a:lnTo>
                      <a:pt x="558" y="129"/>
                    </a:lnTo>
                    <a:lnTo>
                      <a:pt x="548" y="127"/>
                    </a:lnTo>
                    <a:lnTo>
                      <a:pt x="539" y="119"/>
                    </a:lnTo>
                    <a:lnTo>
                      <a:pt x="528" y="114"/>
                    </a:lnTo>
                    <a:lnTo>
                      <a:pt x="531" y="108"/>
                    </a:lnTo>
                    <a:lnTo>
                      <a:pt x="526" y="106"/>
                    </a:lnTo>
                    <a:lnTo>
                      <a:pt x="526" y="82"/>
                    </a:lnTo>
                    <a:lnTo>
                      <a:pt x="520" y="82"/>
                    </a:lnTo>
                    <a:lnTo>
                      <a:pt x="514" y="90"/>
                    </a:lnTo>
                    <a:lnTo>
                      <a:pt x="509" y="97"/>
                    </a:lnTo>
                    <a:lnTo>
                      <a:pt x="499" y="97"/>
                    </a:lnTo>
                    <a:lnTo>
                      <a:pt x="489" y="93"/>
                    </a:lnTo>
                    <a:lnTo>
                      <a:pt x="487" y="78"/>
                    </a:lnTo>
                    <a:lnTo>
                      <a:pt x="484" y="69"/>
                    </a:lnTo>
                    <a:lnTo>
                      <a:pt x="478" y="64"/>
                    </a:lnTo>
                    <a:lnTo>
                      <a:pt x="466" y="60"/>
                    </a:lnTo>
                    <a:lnTo>
                      <a:pt x="452" y="52"/>
                    </a:lnTo>
                    <a:lnTo>
                      <a:pt x="442" y="48"/>
                    </a:lnTo>
                    <a:lnTo>
                      <a:pt x="433" y="30"/>
                    </a:lnTo>
                    <a:lnTo>
                      <a:pt x="421" y="31"/>
                    </a:lnTo>
                    <a:lnTo>
                      <a:pt x="410" y="26"/>
                    </a:lnTo>
                    <a:lnTo>
                      <a:pt x="408" y="16"/>
                    </a:lnTo>
                    <a:lnTo>
                      <a:pt x="408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grpSp>
          <p:nvGrpSpPr>
            <p:cNvPr id="45" name="Group 197">
              <a:extLst>
                <a:ext uri="{FF2B5EF4-FFF2-40B4-BE49-F238E27FC236}">
                  <a16:creationId xmlns:a16="http://schemas.microsoft.com/office/drawing/2014/main" id="{0F6D8610-BE5C-C63F-0816-C8C81E54962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203452" y="1628016"/>
              <a:ext cx="189611" cy="286740"/>
              <a:chOff x="2428" y="1692"/>
              <a:chExt cx="108" cy="163"/>
            </a:xfrm>
            <a:grpFill/>
          </p:grpSpPr>
          <p:sp>
            <p:nvSpPr>
              <p:cNvPr id="77" name="Freeform 198">
                <a:extLst>
                  <a:ext uri="{FF2B5EF4-FFF2-40B4-BE49-F238E27FC236}">
                    <a16:creationId xmlns:a16="http://schemas.microsoft.com/office/drawing/2014/main" id="{76633235-F27E-66C8-E343-F446140DCCB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50" y="1692"/>
                <a:ext cx="86" cy="163"/>
              </a:xfrm>
              <a:custGeom>
                <a:avLst/>
                <a:gdLst>
                  <a:gd name="T0" fmla="*/ 9 w 430"/>
                  <a:gd name="T1" fmla="*/ 30 h 814"/>
                  <a:gd name="T2" fmla="*/ 10 w 430"/>
                  <a:gd name="T3" fmla="*/ 30 h 814"/>
                  <a:gd name="T4" fmla="*/ 13 w 430"/>
                  <a:gd name="T5" fmla="*/ 30 h 814"/>
                  <a:gd name="T6" fmla="*/ 16 w 430"/>
                  <a:gd name="T7" fmla="*/ 28 h 814"/>
                  <a:gd name="T8" fmla="*/ 15 w 430"/>
                  <a:gd name="T9" fmla="*/ 27 h 814"/>
                  <a:gd name="T10" fmla="*/ 16 w 430"/>
                  <a:gd name="T11" fmla="*/ 26 h 814"/>
                  <a:gd name="T12" fmla="*/ 17 w 430"/>
                  <a:gd name="T13" fmla="*/ 25 h 814"/>
                  <a:gd name="T14" fmla="*/ 16 w 430"/>
                  <a:gd name="T15" fmla="*/ 22 h 814"/>
                  <a:gd name="T16" fmla="*/ 13 w 430"/>
                  <a:gd name="T17" fmla="*/ 23 h 814"/>
                  <a:gd name="T18" fmla="*/ 14 w 430"/>
                  <a:gd name="T19" fmla="*/ 20 h 814"/>
                  <a:gd name="T20" fmla="*/ 14 w 430"/>
                  <a:gd name="T21" fmla="*/ 20 h 814"/>
                  <a:gd name="T22" fmla="*/ 13 w 430"/>
                  <a:gd name="T23" fmla="*/ 17 h 814"/>
                  <a:gd name="T24" fmla="*/ 11 w 430"/>
                  <a:gd name="T25" fmla="*/ 15 h 814"/>
                  <a:gd name="T26" fmla="*/ 9 w 430"/>
                  <a:gd name="T27" fmla="*/ 12 h 814"/>
                  <a:gd name="T28" fmla="*/ 6 w 430"/>
                  <a:gd name="T29" fmla="*/ 11 h 814"/>
                  <a:gd name="T30" fmla="*/ 7 w 430"/>
                  <a:gd name="T31" fmla="*/ 9 h 814"/>
                  <a:gd name="T32" fmla="*/ 8 w 430"/>
                  <a:gd name="T33" fmla="*/ 8 h 814"/>
                  <a:gd name="T34" fmla="*/ 9 w 430"/>
                  <a:gd name="T35" fmla="*/ 4 h 814"/>
                  <a:gd name="T36" fmla="*/ 6 w 430"/>
                  <a:gd name="T37" fmla="*/ 4 h 814"/>
                  <a:gd name="T38" fmla="*/ 4 w 430"/>
                  <a:gd name="T39" fmla="*/ 4 h 814"/>
                  <a:gd name="T40" fmla="*/ 4 w 430"/>
                  <a:gd name="T41" fmla="*/ 3 h 814"/>
                  <a:gd name="T42" fmla="*/ 6 w 430"/>
                  <a:gd name="T43" fmla="*/ 0 h 814"/>
                  <a:gd name="T44" fmla="*/ 3 w 430"/>
                  <a:gd name="T45" fmla="*/ 0 h 814"/>
                  <a:gd name="T46" fmla="*/ 1 w 430"/>
                  <a:gd name="T47" fmla="*/ 2 h 814"/>
                  <a:gd name="T48" fmla="*/ 1 w 430"/>
                  <a:gd name="T49" fmla="*/ 5 h 814"/>
                  <a:gd name="T50" fmla="*/ 1 w 430"/>
                  <a:gd name="T51" fmla="*/ 5 h 814"/>
                  <a:gd name="T52" fmla="*/ 1 w 430"/>
                  <a:gd name="T53" fmla="*/ 6 h 814"/>
                  <a:gd name="T54" fmla="*/ 0 w 430"/>
                  <a:gd name="T55" fmla="*/ 8 h 814"/>
                  <a:gd name="T56" fmla="*/ 1 w 430"/>
                  <a:gd name="T57" fmla="*/ 9 h 814"/>
                  <a:gd name="T58" fmla="*/ 1 w 430"/>
                  <a:gd name="T59" fmla="*/ 10 h 814"/>
                  <a:gd name="T60" fmla="*/ 1 w 430"/>
                  <a:gd name="T61" fmla="*/ 11 h 814"/>
                  <a:gd name="T62" fmla="*/ 1 w 430"/>
                  <a:gd name="T63" fmla="*/ 13 h 814"/>
                  <a:gd name="T64" fmla="*/ 2 w 430"/>
                  <a:gd name="T65" fmla="*/ 10 h 814"/>
                  <a:gd name="T66" fmla="*/ 2 w 430"/>
                  <a:gd name="T67" fmla="*/ 11 h 814"/>
                  <a:gd name="T68" fmla="*/ 3 w 430"/>
                  <a:gd name="T69" fmla="*/ 11 h 814"/>
                  <a:gd name="T70" fmla="*/ 3 w 430"/>
                  <a:gd name="T71" fmla="*/ 12 h 814"/>
                  <a:gd name="T72" fmla="*/ 2 w 430"/>
                  <a:gd name="T73" fmla="*/ 15 h 814"/>
                  <a:gd name="T74" fmla="*/ 3 w 430"/>
                  <a:gd name="T75" fmla="*/ 15 h 814"/>
                  <a:gd name="T76" fmla="*/ 4 w 430"/>
                  <a:gd name="T77" fmla="*/ 15 h 814"/>
                  <a:gd name="T78" fmla="*/ 6 w 430"/>
                  <a:gd name="T79" fmla="*/ 15 h 814"/>
                  <a:gd name="T80" fmla="*/ 6 w 430"/>
                  <a:gd name="T81" fmla="*/ 17 h 814"/>
                  <a:gd name="T82" fmla="*/ 7 w 430"/>
                  <a:gd name="T83" fmla="*/ 18 h 814"/>
                  <a:gd name="T84" fmla="*/ 7 w 430"/>
                  <a:gd name="T85" fmla="*/ 19 h 814"/>
                  <a:gd name="T86" fmla="*/ 7 w 430"/>
                  <a:gd name="T87" fmla="*/ 21 h 814"/>
                  <a:gd name="T88" fmla="*/ 4 w 430"/>
                  <a:gd name="T89" fmla="*/ 22 h 814"/>
                  <a:gd name="T90" fmla="*/ 4 w 430"/>
                  <a:gd name="T91" fmla="*/ 25 h 814"/>
                  <a:gd name="T92" fmla="*/ 2 w 430"/>
                  <a:gd name="T93" fmla="*/ 27 h 814"/>
                  <a:gd name="T94" fmla="*/ 4 w 430"/>
                  <a:gd name="T95" fmla="*/ 27 h 814"/>
                  <a:gd name="T96" fmla="*/ 6 w 430"/>
                  <a:gd name="T97" fmla="*/ 28 h 814"/>
                  <a:gd name="T98" fmla="*/ 8 w 430"/>
                  <a:gd name="T99" fmla="*/ 27 h 814"/>
                  <a:gd name="T100" fmla="*/ 6 w 430"/>
                  <a:gd name="T101" fmla="*/ 28 h 814"/>
                  <a:gd name="T102" fmla="*/ 2 w 430"/>
                  <a:gd name="T103" fmla="*/ 32 h 814"/>
                  <a:gd name="T104" fmla="*/ 2 w 430"/>
                  <a:gd name="T105" fmla="*/ 32 h 814"/>
                  <a:gd name="T106" fmla="*/ 3 w 430"/>
                  <a:gd name="T107" fmla="*/ 31 h 814"/>
                  <a:gd name="T108" fmla="*/ 6 w 430"/>
                  <a:gd name="T109" fmla="*/ 30 h 81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430"/>
                  <a:gd name="T166" fmla="*/ 0 h 814"/>
                  <a:gd name="T167" fmla="*/ 430 w 430"/>
                  <a:gd name="T168" fmla="*/ 814 h 814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430" h="814">
                    <a:moveTo>
                      <a:pt x="199" y="767"/>
                    </a:moveTo>
                    <a:lnTo>
                      <a:pt x="200" y="768"/>
                    </a:lnTo>
                    <a:lnTo>
                      <a:pt x="203" y="762"/>
                    </a:lnTo>
                    <a:lnTo>
                      <a:pt x="212" y="760"/>
                    </a:lnTo>
                    <a:lnTo>
                      <a:pt x="222" y="764"/>
                    </a:lnTo>
                    <a:lnTo>
                      <a:pt x="227" y="761"/>
                    </a:lnTo>
                    <a:lnTo>
                      <a:pt x="225" y="754"/>
                    </a:lnTo>
                    <a:lnTo>
                      <a:pt x="251" y="754"/>
                    </a:lnTo>
                    <a:lnTo>
                      <a:pt x="253" y="750"/>
                    </a:lnTo>
                    <a:lnTo>
                      <a:pt x="259" y="748"/>
                    </a:lnTo>
                    <a:lnTo>
                      <a:pt x="260" y="743"/>
                    </a:lnTo>
                    <a:lnTo>
                      <a:pt x="260" y="737"/>
                    </a:lnTo>
                    <a:lnTo>
                      <a:pt x="267" y="741"/>
                    </a:lnTo>
                    <a:lnTo>
                      <a:pt x="274" y="744"/>
                    </a:lnTo>
                    <a:lnTo>
                      <a:pt x="283" y="741"/>
                    </a:lnTo>
                    <a:lnTo>
                      <a:pt x="285" y="745"/>
                    </a:lnTo>
                    <a:lnTo>
                      <a:pt x="290" y="750"/>
                    </a:lnTo>
                    <a:lnTo>
                      <a:pt x="328" y="744"/>
                    </a:lnTo>
                    <a:lnTo>
                      <a:pt x="339" y="746"/>
                    </a:lnTo>
                    <a:lnTo>
                      <a:pt x="388" y="733"/>
                    </a:lnTo>
                    <a:lnTo>
                      <a:pt x="389" y="729"/>
                    </a:lnTo>
                    <a:lnTo>
                      <a:pt x="410" y="713"/>
                    </a:lnTo>
                    <a:lnTo>
                      <a:pt x="413" y="702"/>
                    </a:lnTo>
                    <a:lnTo>
                      <a:pt x="410" y="698"/>
                    </a:lnTo>
                    <a:lnTo>
                      <a:pt x="386" y="698"/>
                    </a:lnTo>
                    <a:lnTo>
                      <a:pt x="373" y="697"/>
                    </a:lnTo>
                    <a:lnTo>
                      <a:pt x="373" y="689"/>
                    </a:lnTo>
                    <a:lnTo>
                      <a:pt x="369" y="682"/>
                    </a:lnTo>
                    <a:lnTo>
                      <a:pt x="378" y="679"/>
                    </a:lnTo>
                    <a:lnTo>
                      <a:pt x="381" y="674"/>
                    </a:lnTo>
                    <a:lnTo>
                      <a:pt x="386" y="668"/>
                    </a:lnTo>
                    <a:lnTo>
                      <a:pt x="383" y="665"/>
                    </a:lnTo>
                    <a:lnTo>
                      <a:pt x="377" y="663"/>
                    </a:lnTo>
                    <a:lnTo>
                      <a:pt x="383" y="658"/>
                    </a:lnTo>
                    <a:lnTo>
                      <a:pt x="391" y="655"/>
                    </a:lnTo>
                    <a:lnTo>
                      <a:pt x="394" y="659"/>
                    </a:lnTo>
                    <a:lnTo>
                      <a:pt x="403" y="657"/>
                    </a:lnTo>
                    <a:lnTo>
                      <a:pt x="404" y="651"/>
                    </a:lnTo>
                    <a:lnTo>
                      <a:pt x="403" y="642"/>
                    </a:lnTo>
                    <a:lnTo>
                      <a:pt x="408" y="642"/>
                    </a:lnTo>
                    <a:lnTo>
                      <a:pt x="415" y="638"/>
                    </a:lnTo>
                    <a:lnTo>
                      <a:pt x="423" y="628"/>
                    </a:lnTo>
                    <a:lnTo>
                      <a:pt x="429" y="608"/>
                    </a:lnTo>
                    <a:lnTo>
                      <a:pt x="430" y="593"/>
                    </a:lnTo>
                    <a:lnTo>
                      <a:pt x="426" y="577"/>
                    </a:lnTo>
                    <a:lnTo>
                      <a:pt x="418" y="563"/>
                    </a:lnTo>
                    <a:lnTo>
                      <a:pt x="408" y="557"/>
                    </a:lnTo>
                    <a:lnTo>
                      <a:pt x="399" y="554"/>
                    </a:lnTo>
                    <a:lnTo>
                      <a:pt x="387" y="554"/>
                    </a:lnTo>
                    <a:lnTo>
                      <a:pt x="365" y="557"/>
                    </a:lnTo>
                    <a:lnTo>
                      <a:pt x="355" y="572"/>
                    </a:lnTo>
                    <a:lnTo>
                      <a:pt x="350" y="567"/>
                    </a:lnTo>
                    <a:lnTo>
                      <a:pt x="340" y="566"/>
                    </a:lnTo>
                    <a:lnTo>
                      <a:pt x="337" y="565"/>
                    </a:lnTo>
                    <a:lnTo>
                      <a:pt x="340" y="555"/>
                    </a:lnTo>
                    <a:lnTo>
                      <a:pt x="353" y="540"/>
                    </a:lnTo>
                    <a:lnTo>
                      <a:pt x="355" y="534"/>
                    </a:lnTo>
                    <a:lnTo>
                      <a:pt x="355" y="525"/>
                    </a:lnTo>
                    <a:lnTo>
                      <a:pt x="345" y="512"/>
                    </a:lnTo>
                    <a:lnTo>
                      <a:pt x="339" y="507"/>
                    </a:lnTo>
                    <a:lnTo>
                      <a:pt x="335" y="501"/>
                    </a:lnTo>
                    <a:lnTo>
                      <a:pt x="330" y="498"/>
                    </a:lnTo>
                    <a:lnTo>
                      <a:pt x="317" y="485"/>
                    </a:lnTo>
                    <a:lnTo>
                      <a:pt x="321" y="482"/>
                    </a:lnTo>
                    <a:lnTo>
                      <a:pt x="332" y="492"/>
                    </a:lnTo>
                    <a:lnTo>
                      <a:pt x="344" y="495"/>
                    </a:lnTo>
                    <a:lnTo>
                      <a:pt x="345" y="493"/>
                    </a:lnTo>
                    <a:lnTo>
                      <a:pt x="343" y="477"/>
                    </a:lnTo>
                    <a:lnTo>
                      <a:pt x="335" y="471"/>
                    </a:lnTo>
                    <a:lnTo>
                      <a:pt x="326" y="459"/>
                    </a:lnTo>
                    <a:lnTo>
                      <a:pt x="323" y="444"/>
                    </a:lnTo>
                    <a:lnTo>
                      <a:pt x="316" y="433"/>
                    </a:lnTo>
                    <a:lnTo>
                      <a:pt x="311" y="423"/>
                    </a:lnTo>
                    <a:lnTo>
                      <a:pt x="301" y="410"/>
                    </a:lnTo>
                    <a:lnTo>
                      <a:pt x="290" y="405"/>
                    </a:lnTo>
                    <a:lnTo>
                      <a:pt x="276" y="402"/>
                    </a:lnTo>
                    <a:lnTo>
                      <a:pt x="273" y="399"/>
                    </a:lnTo>
                    <a:lnTo>
                      <a:pt x="268" y="385"/>
                    </a:lnTo>
                    <a:lnTo>
                      <a:pt x="260" y="374"/>
                    </a:lnTo>
                    <a:lnTo>
                      <a:pt x="254" y="361"/>
                    </a:lnTo>
                    <a:lnTo>
                      <a:pt x="252" y="350"/>
                    </a:lnTo>
                    <a:lnTo>
                      <a:pt x="248" y="312"/>
                    </a:lnTo>
                    <a:lnTo>
                      <a:pt x="240" y="305"/>
                    </a:lnTo>
                    <a:lnTo>
                      <a:pt x="228" y="293"/>
                    </a:lnTo>
                    <a:lnTo>
                      <a:pt x="221" y="282"/>
                    </a:lnTo>
                    <a:lnTo>
                      <a:pt x="193" y="266"/>
                    </a:lnTo>
                    <a:lnTo>
                      <a:pt x="188" y="265"/>
                    </a:lnTo>
                    <a:lnTo>
                      <a:pt x="171" y="271"/>
                    </a:lnTo>
                    <a:lnTo>
                      <a:pt x="156" y="267"/>
                    </a:lnTo>
                    <a:lnTo>
                      <a:pt x="155" y="265"/>
                    </a:lnTo>
                    <a:lnTo>
                      <a:pt x="157" y="258"/>
                    </a:lnTo>
                    <a:lnTo>
                      <a:pt x="163" y="251"/>
                    </a:lnTo>
                    <a:lnTo>
                      <a:pt x="172" y="249"/>
                    </a:lnTo>
                    <a:lnTo>
                      <a:pt x="182" y="249"/>
                    </a:lnTo>
                    <a:lnTo>
                      <a:pt x="192" y="244"/>
                    </a:lnTo>
                    <a:lnTo>
                      <a:pt x="181" y="229"/>
                    </a:lnTo>
                    <a:lnTo>
                      <a:pt x="176" y="228"/>
                    </a:lnTo>
                    <a:lnTo>
                      <a:pt x="174" y="222"/>
                    </a:lnTo>
                    <a:lnTo>
                      <a:pt x="183" y="223"/>
                    </a:lnTo>
                    <a:lnTo>
                      <a:pt x="189" y="218"/>
                    </a:lnTo>
                    <a:lnTo>
                      <a:pt x="195" y="210"/>
                    </a:lnTo>
                    <a:lnTo>
                      <a:pt x="198" y="202"/>
                    </a:lnTo>
                    <a:lnTo>
                      <a:pt x="211" y="183"/>
                    </a:lnTo>
                    <a:lnTo>
                      <a:pt x="212" y="173"/>
                    </a:lnTo>
                    <a:lnTo>
                      <a:pt x="216" y="160"/>
                    </a:lnTo>
                    <a:lnTo>
                      <a:pt x="220" y="145"/>
                    </a:lnTo>
                    <a:lnTo>
                      <a:pt x="233" y="129"/>
                    </a:lnTo>
                    <a:lnTo>
                      <a:pt x="233" y="109"/>
                    </a:lnTo>
                    <a:lnTo>
                      <a:pt x="230" y="100"/>
                    </a:lnTo>
                    <a:lnTo>
                      <a:pt x="214" y="99"/>
                    </a:lnTo>
                    <a:lnTo>
                      <a:pt x="200" y="102"/>
                    </a:lnTo>
                    <a:lnTo>
                      <a:pt x="178" y="98"/>
                    </a:lnTo>
                    <a:lnTo>
                      <a:pt x="166" y="100"/>
                    </a:lnTo>
                    <a:lnTo>
                      <a:pt x="154" y="97"/>
                    </a:lnTo>
                    <a:lnTo>
                      <a:pt x="118" y="109"/>
                    </a:lnTo>
                    <a:lnTo>
                      <a:pt x="111" y="116"/>
                    </a:lnTo>
                    <a:lnTo>
                      <a:pt x="106" y="113"/>
                    </a:lnTo>
                    <a:lnTo>
                      <a:pt x="108" y="105"/>
                    </a:lnTo>
                    <a:lnTo>
                      <a:pt x="108" y="102"/>
                    </a:lnTo>
                    <a:lnTo>
                      <a:pt x="99" y="104"/>
                    </a:lnTo>
                    <a:lnTo>
                      <a:pt x="99" y="99"/>
                    </a:lnTo>
                    <a:lnTo>
                      <a:pt x="114" y="95"/>
                    </a:lnTo>
                    <a:lnTo>
                      <a:pt x="124" y="86"/>
                    </a:lnTo>
                    <a:lnTo>
                      <a:pt x="107" y="84"/>
                    </a:lnTo>
                    <a:lnTo>
                      <a:pt x="108" y="77"/>
                    </a:lnTo>
                    <a:lnTo>
                      <a:pt x="109" y="78"/>
                    </a:lnTo>
                    <a:lnTo>
                      <a:pt x="119" y="66"/>
                    </a:lnTo>
                    <a:lnTo>
                      <a:pt x="139" y="54"/>
                    </a:lnTo>
                    <a:lnTo>
                      <a:pt x="147" y="39"/>
                    </a:lnTo>
                    <a:lnTo>
                      <a:pt x="161" y="30"/>
                    </a:lnTo>
                    <a:lnTo>
                      <a:pt x="163" y="4"/>
                    </a:lnTo>
                    <a:lnTo>
                      <a:pt x="151" y="0"/>
                    </a:lnTo>
                    <a:lnTo>
                      <a:pt x="138" y="4"/>
                    </a:lnTo>
                    <a:lnTo>
                      <a:pt x="124" y="8"/>
                    </a:lnTo>
                    <a:lnTo>
                      <a:pt x="112" y="8"/>
                    </a:lnTo>
                    <a:lnTo>
                      <a:pt x="96" y="12"/>
                    </a:lnTo>
                    <a:lnTo>
                      <a:pt x="95" y="11"/>
                    </a:lnTo>
                    <a:lnTo>
                      <a:pt x="75" y="6"/>
                    </a:lnTo>
                    <a:lnTo>
                      <a:pt x="64" y="9"/>
                    </a:lnTo>
                    <a:lnTo>
                      <a:pt x="54" y="27"/>
                    </a:lnTo>
                    <a:lnTo>
                      <a:pt x="54" y="41"/>
                    </a:lnTo>
                    <a:lnTo>
                      <a:pt x="42" y="43"/>
                    </a:lnTo>
                    <a:lnTo>
                      <a:pt x="43" y="57"/>
                    </a:lnTo>
                    <a:lnTo>
                      <a:pt x="37" y="60"/>
                    </a:lnTo>
                    <a:lnTo>
                      <a:pt x="39" y="65"/>
                    </a:lnTo>
                    <a:lnTo>
                      <a:pt x="47" y="73"/>
                    </a:lnTo>
                    <a:lnTo>
                      <a:pt x="20" y="88"/>
                    </a:lnTo>
                    <a:lnTo>
                      <a:pt x="20" y="109"/>
                    </a:lnTo>
                    <a:lnTo>
                      <a:pt x="27" y="113"/>
                    </a:lnTo>
                    <a:lnTo>
                      <a:pt x="25" y="115"/>
                    </a:lnTo>
                    <a:lnTo>
                      <a:pt x="18" y="114"/>
                    </a:lnTo>
                    <a:lnTo>
                      <a:pt x="16" y="115"/>
                    </a:lnTo>
                    <a:lnTo>
                      <a:pt x="16" y="130"/>
                    </a:lnTo>
                    <a:lnTo>
                      <a:pt x="22" y="131"/>
                    </a:lnTo>
                    <a:lnTo>
                      <a:pt x="34" y="129"/>
                    </a:lnTo>
                    <a:lnTo>
                      <a:pt x="33" y="133"/>
                    </a:lnTo>
                    <a:lnTo>
                      <a:pt x="27" y="136"/>
                    </a:lnTo>
                    <a:lnTo>
                      <a:pt x="33" y="138"/>
                    </a:lnTo>
                    <a:lnTo>
                      <a:pt x="28" y="147"/>
                    </a:lnTo>
                    <a:lnTo>
                      <a:pt x="27" y="151"/>
                    </a:lnTo>
                    <a:lnTo>
                      <a:pt x="28" y="157"/>
                    </a:lnTo>
                    <a:lnTo>
                      <a:pt x="26" y="158"/>
                    </a:lnTo>
                    <a:lnTo>
                      <a:pt x="22" y="163"/>
                    </a:lnTo>
                    <a:lnTo>
                      <a:pt x="22" y="167"/>
                    </a:lnTo>
                    <a:lnTo>
                      <a:pt x="18" y="170"/>
                    </a:lnTo>
                    <a:lnTo>
                      <a:pt x="16" y="178"/>
                    </a:lnTo>
                    <a:lnTo>
                      <a:pt x="16" y="192"/>
                    </a:lnTo>
                    <a:lnTo>
                      <a:pt x="5" y="195"/>
                    </a:lnTo>
                    <a:lnTo>
                      <a:pt x="0" y="197"/>
                    </a:lnTo>
                    <a:lnTo>
                      <a:pt x="0" y="201"/>
                    </a:lnTo>
                    <a:lnTo>
                      <a:pt x="10" y="202"/>
                    </a:lnTo>
                    <a:lnTo>
                      <a:pt x="11" y="211"/>
                    </a:lnTo>
                    <a:lnTo>
                      <a:pt x="23" y="222"/>
                    </a:lnTo>
                    <a:lnTo>
                      <a:pt x="33" y="215"/>
                    </a:lnTo>
                    <a:lnTo>
                      <a:pt x="43" y="206"/>
                    </a:lnTo>
                    <a:lnTo>
                      <a:pt x="44" y="205"/>
                    </a:lnTo>
                    <a:lnTo>
                      <a:pt x="45" y="206"/>
                    </a:lnTo>
                    <a:lnTo>
                      <a:pt x="45" y="212"/>
                    </a:lnTo>
                    <a:lnTo>
                      <a:pt x="33" y="243"/>
                    </a:lnTo>
                    <a:lnTo>
                      <a:pt x="31" y="254"/>
                    </a:lnTo>
                    <a:lnTo>
                      <a:pt x="31" y="259"/>
                    </a:lnTo>
                    <a:lnTo>
                      <a:pt x="28" y="264"/>
                    </a:lnTo>
                    <a:lnTo>
                      <a:pt x="26" y="275"/>
                    </a:lnTo>
                    <a:lnTo>
                      <a:pt x="26" y="283"/>
                    </a:lnTo>
                    <a:lnTo>
                      <a:pt x="32" y="282"/>
                    </a:lnTo>
                    <a:lnTo>
                      <a:pt x="34" y="286"/>
                    </a:lnTo>
                    <a:lnTo>
                      <a:pt x="33" y="292"/>
                    </a:lnTo>
                    <a:lnTo>
                      <a:pt x="25" y="307"/>
                    </a:lnTo>
                    <a:lnTo>
                      <a:pt x="20" y="331"/>
                    </a:lnTo>
                    <a:lnTo>
                      <a:pt x="20" y="334"/>
                    </a:lnTo>
                    <a:lnTo>
                      <a:pt x="26" y="334"/>
                    </a:lnTo>
                    <a:lnTo>
                      <a:pt x="28" y="330"/>
                    </a:lnTo>
                    <a:lnTo>
                      <a:pt x="32" y="318"/>
                    </a:lnTo>
                    <a:lnTo>
                      <a:pt x="43" y="291"/>
                    </a:lnTo>
                    <a:lnTo>
                      <a:pt x="42" y="277"/>
                    </a:lnTo>
                    <a:lnTo>
                      <a:pt x="39" y="270"/>
                    </a:lnTo>
                    <a:lnTo>
                      <a:pt x="38" y="266"/>
                    </a:lnTo>
                    <a:lnTo>
                      <a:pt x="54" y="248"/>
                    </a:lnTo>
                    <a:lnTo>
                      <a:pt x="54" y="254"/>
                    </a:lnTo>
                    <a:lnTo>
                      <a:pt x="47" y="271"/>
                    </a:lnTo>
                    <a:lnTo>
                      <a:pt x="47" y="282"/>
                    </a:lnTo>
                    <a:lnTo>
                      <a:pt x="49" y="278"/>
                    </a:lnTo>
                    <a:lnTo>
                      <a:pt x="52" y="277"/>
                    </a:lnTo>
                    <a:lnTo>
                      <a:pt x="53" y="273"/>
                    </a:lnTo>
                    <a:lnTo>
                      <a:pt x="55" y="271"/>
                    </a:lnTo>
                    <a:lnTo>
                      <a:pt x="61" y="276"/>
                    </a:lnTo>
                    <a:lnTo>
                      <a:pt x="64" y="275"/>
                    </a:lnTo>
                    <a:lnTo>
                      <a:pt x="64" y="261"/>
                    </a:lnTo>
                    <a:lnTo>
                      <a:pt x="72" y="266"/>
                    </a:lnTo>
                    <a:lnTo>
                      <a:pt x="79" y="272"/>
                    </a:lnTo>
                    <a:lnTo>
                      <a:pt x="74" y="273"/>
                    </a:lnTo>
                    <a:lnTo>
                      <a:pt x="71" y="278"/>
                    </a:lnTo>
                    <a:lnTo>
                      <a:pt x="69" y="283"/>
                    </a:lnTo>
                    <a:lnTo>
                      <a:pt x="68" y="298"/>
                    </a:lnTo>
                    <a:lnTo>
                      <a:pt x="71" y="303"/>
                    </a:lnTo>
                    <a:lnTo>
                      <a:pt x="77" y="308"/>
                    </a:lnTo>
                    <a:lnTo>
                      <a:pt x="79" y="319"/>
                    </a:lnTo>
                    <a:lnTo>
                      <a:pt x="74" y="328"/>
                    </a:lnTo>
                    <a:lnTo>
                      <a:pt x="69" y="341"/>
                    </a:lnTo>
                    <a:lnTo>
                      <a:pt x="61" y="355"/>
                    </a:lnTo>
                    <a:lnTo>
                      <a:pt x="59" y="363"/>
                    </a:lnTo>
                    <a:lnTo>
                      <a:pt x="60" y="372"/>
                    </a:lnTo>
                    <a:lnTo>
                      <a:pt x="54" y="367"/>
                    </a:lnTo>
                    <a:lnTo>
                      <a:pt x="52" y="372"/>
                    </a:lnTo>
                    <a:lnTo>
                      <a:pt x="59" y="395"/>
                    </a:lnTo>
                    <a:lnTo>
                      <a:pt x="64" y="399"/>
                    </a:lnTo>
                    <a:lnTo>
                      <a:pt x="66" y="398"/>
                    </a:lnTo>
                    <a:lnTo>
                      <a:pt x="65" y="384"/>
                    </a:lnTo>
                    <a:lnTo>
                      <a:pt x="66" y="380"/>
                    </a:lnTo>
                    <a:lnTo>
                      <a:pt x="70" y="379"/>
                    </a:lnTo>
                    <a:lnTo>
                      <a:pt x="87" y="391"/>
                    </a:lnTo>
                    <a:lnTo>
                      <a:pt x="92" y="394"/>
                    </a:lnTo>
                    <a:lnTo>
                      <a:pt x="95" y="388"/>
                    </a:lnTo>
                    <a:lnTo>
                      <a:pt x="95" y="380"/>
                    </a:lnTo>
                    <a:lnTo>
                      <a:pt x="119" y="383"/>
                    </a:lnTo>
                    <a:lnTo>
                      <a:pt x="135" y="374"/>
                    </a:lnTo>
                    <a:lnTo>
                      <a:pt x="136" y="372"/>
                    </a:lnTo>
                    <a:lnTo>
                      <a:pt x="144" y="368"/>
                    </a:lnTo>
                    <a:lnTo>
                      <a:pt x="165" y="371"/>
                    </a:lnTo>
                    <a:lnTo>
                      <a:pt x="162" y="373"/>
                    </a:lnTo>
                    <a:lnTo>
                      <a:pt x="158" y="373"/>
                    </a:lnTo>
                    <a:lnTo>
                      <a:pt x="150" y="380"/>
                    </a:lnTo>
                    <a:lnTo>
                      <a:pt x="138" y="406"/>
                    </a:lnTo>
                    <a:lnTo>
                      <a:pt x="135" y="413"/>
                    </a:lnTo>
                    <a:lnTo>
                      <a:pt x="138" y="421"/>
                    </a:lnTo>
                    <a:lnTo>
                      <a:pt x="145" y="431"/>
                    </a:lnTo>
                    <a:lnTo>
                      <a:pt x="149" y="438"/>
                    </a:lnTo>
                    <a:lnTo>
                      <a:pt x="150" y="439"/>
                    </a:lnTo>
                    <a:lnTo>
                      <a:pt x="151" y="437"/>
                    </a:lnTo>
                    <a:lnTo>
                      <a:pt x="158" y="449"/>
                    </a:lnTo>
                    <a:lnTo>
                      <a:pt x="172" y="444"/>
                    </a:lnTo>
                    <a:lnTo>
                      <a:pt x="181" y="437"/>
                    </a:lnTo>
                    <a:lnTo>
                      <a:pt x="184" y="438"/>
                    </a:lnTo>
                    <a:lnTo>
                      <a:pt x="181" y="444"/>
                    </a:lnTo>
                    <a:lnTo>
                      <a:pt x="179" y="461"/>
                    </a:lnTo>
                    <a:lnTo>
                      <a:pt x="174" y="468"/>
                    </a:lnTo>
                    <a:lnTo>
                      <a:pt x="169" y="479"/>
                    </a:lnTo>
                    <a:lnTo>
                      <a:pt x="179" y="481"/>
                    </a:lnTo>
                    <a:lnTo>
                      <a:pt x="174" y="490"/>
                    </a:lnTo>
                    <a:lnTo>
                      <a:pt x="168" y="506"/>
                    </a:lnTo>
                    <a:lnTo>
                      <a:pt x="172" y="509"/>
                    </a:lnTo>
                    <a:lnTo>
                      <a:pt x="177" y="513"/>
                    </a:lnTo>
                    <a:lnTo>
                      <a:pt x="173" y="514"/>
                    </a:lnTo>
                    <a:lnTo>
                      <a:pt x="168" y="523"/>
                    </a:lnTo>
                    <a:lnTo>
                      <a:pt x="128" y="522"/>
                    </a:lnTo>
                    <a:lnTo>
                      <a:pt x="115" y="529"/>
                    </a:lnTo>
                    <a:lnTo>
                      <a:pt x="102" y="540"/>
                    </a:lnTo>
                    <a:lnTo>
                      <a:pt x="79" y="565"/>
                    </a:lnTo>
                    <a:lnTo>
                      <a:pt x="84" y="568"/>
                    </a:lnTo>
                    <a:lnTo>
                      <a:pt x="98" y="558"/>
                    </a:lnTo>
                    <a:lnTo>
                      <a:pt x="109" y="556"/>
                    </a:lnTo>
                    <a:lnTo>
                      <a:pt x="111" y="565"/>
                    </a:lnTo>
                    <a:lnTo>
                      <a:pt x="112" y="585"/>
                    </a:lnTo>
                    <a:lnTo>
                      <a:pt x="113" y="589"/>
                    </a:lnTo>
                    <a:lnTo>
                      <a:pt x="119" y="593"/>
                    </a:lnTo>
                    <a:lnTo>
                      <a:pt x="108" y="615"/>
                    </a:lnTo>
                    <a:lnTo>
                      <a:pt x="79" y="636"/>
                    </a:lnTo>
                    <a:lnTo>
                      <a:pt x="48" y="652"/>
                    </a:lnTo>
                    <a:lnTo>
                      <a:pt x="50" y="654"/>
                    </a:lnTo>
                    <a:lnTo>
                      <a:pt x="52" y="660"/>
                    </a:lnTo>
                    <a:lnTo>
                      <a:pt x="56" y="671"/>
                    </a:lnTo>
                    <a:lnTo>
                      <a:pt x="59" y="674"/>
                    </a:lnTo>
                    <a:lnTo>
                      <a:pt x="65" y="675"/>
                    </a:lnTo>
                    <a:lnTo>
                      <a:pt x="72" y="671"/>
                    </a:lnTo>
                    <a:lnTo>
                      <a:pt x="82" y="663"/>
                    </a:lnTo>
                    <a:lnTo>
                      <a:pt x="91" y="659"/>
                    </a:lnTo>
                    <a:lnTo>
                      <a:pt x="95" y="660"/>
                    </a:lnTo>
                    <a:lnTo>
                      <a:pt x="97" y="674"/>
                    </a:lnTo>
                    <a:lnTo>
                      <a:pt x="101" y="678"/>
                    </a:lnTo>
                    <a:lnTo>
                      <a:pt x="113" y="678"/>
                    </a:lnTo>
                    <a:lnTo>
                      <a:pt x="120" y="671"/>
                    </a:lnTo>
                    <a:lnTo>
                      <a:pt x="123" y="670"/>
                    </a:lnTo>
                    <a:lnTo>
                      <a:pt x="127" y="673"/>
                    </a:lnTo>
                    <a:lnTo>
                      <a:pt x="141" y="692"/>
                    </a:lnTo>
                    <a:lnTo>
                      <a:pt x="147" y="694"/>
                    </a:lnTo>
                    <a:lnTo>
                      <a:pt x="156" y="694"/>
                    </a:lnTo>
                    <a:lnTo>
                      <a:pt x="162" y="689"/>
                    </a:lnTo>
                    <a:lnTo>
                      <a:pt x="166" y="682"/>
                    </a:lnTo>
                    <a:lnTo>
                      <a:pt x="179" y="675"/>
                    </a:lnTo>
                    <a:lnTo>
                      <a:pt x="194" y="663"/>
                    </a:lnTo>
                    <a:lnTo>
                      <a:pt x="195" y="670"/>
                    </a:lnTo>
                    <a:lnTo>
                      <a:pt x="190" y="678"/>
                    </a:lnTo>
                    <a:lnTo>
                      <a:pt x="174" y="697"/>
                    </a:lnTo>
                    <a:lnTo>
                      <a:pt x="172" y="705"/>
                    </a:lnTo>
                    <a:lnTo>
                      <a:pt x="168" y="708"/>
                    </a:lnTo>
                    <a:lnTo>
                      <a:pt x="156" y="711"/>
                    </a:lnTo>
                    <a:lnTo>
                      <a:pt x="124" y="711"/>
                    </a:lnTo>
                    <a:lnTo>
                      <a:pt x="109" y="713"/>
                    </a:lnTo>
                    <a:lnTo>
                      <a:pt x="104" y="724"/>
                    </a:lnTo>
                    <a:lnTo>
                      <a:pt x="95" y="730"/>
                    </a:lnTo>
                    <a:lnTo>
                      <a:pt x="88" y="745"/>
                    </a:lnTo>
                    <a:lnTo>
                      <a:pt x="47" y="791"/>
                    </a:lnTo>
                    <a:lnTo>
                      <a:pt x="31" y="800"/>
                    </a:lnTo>
                    <a:lnTo>
                      <a:pt x="28" y="809"/>
                    </a:lnTo>
                    <a:lnTo>
                      <a:pt x="28" y="813"/>
                    </a:lnTo>
                    <a:lnTo>
                      <a:pt x="31" y="807"/>
                    </a:lnTo>
                    <a:lnTo>
                      <a:pt x="34" y="804"/>
                    </a:lnTo>
                    <a:lnTo>
                      <a:pt x="45" y="810"/>
                    </a:lnTo>
                    <a:lnTo>
                      <a:pt x="50" y="809"/>
                    </a:lnTo>
                    <a:lnTo>
                      <a:pt x="54" y="814"/>
                    </a:lnTo>
                    <a:lnTo>
                      <a:pt x="58" y="809"/>
                    </a:lnTo>
                    <a:lnTo>
                      <a:pt x="60" y="800"/>
                    </a:lnTo>
                    <a:lnTo>
                      <a:pt x="71" y="796"/>
                    </a:lnTo>
                    <a:lnTo>
                      <a:pt x="77" y="784"/>
                    </a:lnTo>
                    <a:lnTo>
                      <a:pt x="107" y="783"/>
                    </a:lnTo>
                    <a:lnTo>
                      <a:pt x="127" y="791"/>
                    </a:lnTo>
                    <a:lnTo>
                      <a:pt x="134" y="791"/>
                    </a:lnTo>
                    <a:lnTo>
                      <a:pt x="141" y="782"/>
                    </a:lnTo>
                    <a:lnTo>
                      <a:pt x="145" y="760"/>
                    </a:lnTo>
                    <a:lnTo>
                      <a:pt x="149" y="759"/>
                    </a:lnTo>
                    <a:lnTo>
                      <a:pt x="156" y="759"/>
                    </a:lnTo>
                    <a:lnTo>
                      <a:pt x="166" y="754"/>
                    </a:lnTo>
                    <a:lnTo>
                      <a:pt x="182" y="750"/>
                    </a:lnTo>
                    <a:lnTo>
                      <a:pt x="199" y="76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78" name="Freeform 199">
                <a:extLst>
                  <a:ext uri="{FF2B5EF4-FFF2-40B4-BE49-F238E27FC236}">
                    <a16:creationId xmlns:a16="http://schemas.microsoft.com/office/drawing/2014/main" id="{026FDE82-044B-E033-D195-F468E26595B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28" y="1759"/>
                <a:ext cx="28" cy="25"/>
              </a:xfrm>
              <a:custGeom>
                <a:avLst/>
                <a:gdLst>
                  <a:gd name="T0" fmla="*/ 1 w 140"/>
                  <a:gd name="T1" fmla="*/ 1 h 126"/>
                  <a:gd name="T2" fmla="*/ 1 w 140"/>
                  <a:gd name="T3" fmla="*/ 2 h 126"/>
                  <a:gd name="T4" fmla="*/ 1 w 140"/>
                  <a:gd name="T5" fmla="*/ 2 h 126"/>
                  <a:gd name="T6" fmla="*/ 0 w 140"/>
                  <a:gd name="T7" fmla="*/ 2 h 126"/>
                  <a:gd name="T8" fmla="*/ 0 w 140"/>
                  <a:gd name="T9" fmla="*/ 3 h 126"/>
                  <a:gd name="T10" fmla="*/ 0 w 140"/>
                  <a:gd name="T11" fmla="*/ 3 h 126"/>
                  <a:gd name="T12" fmla="*/ 1 w 140"/>
                  <a:gd name="T13" fmla="*/ 4 h 126"/>
                  <a:gd name="T14" fmla="*/ 1 w 140"/>
                  <a:gd name="T15" fmla="*/ 4 h 126"/>
                  <a:gd name="T16" fmla="*/ 1 w 140"/>
                  <a:gd name="T17" fmla="*/ 5 h 126"/>
                  <a:gd name="T18" fmla="*/ 2 w 140"/>
                  <a:gd name="T19" fmla="*/ 4 h 126"/>
                  <a:gd name="T20" fmla="*/ 2 w 140"/>
                  <a:gd name="T21" fmla="*/ 4 h 126"/>
                  <a:gd name="T22" fmla="*/ 3 w 140"/>
                  <a:gd name="T23" fmla="*/ 3 h 126"/>
                  <a:gd name="T24" fmla="*/ 4 w 140"/>
                  <a:gd name="T25" fmla="*/ 4 h 126"/>
                  <a:gd name="T26" fmla="*/ 4 w 140"/>
                  <a:gd name="T27" fmla="*/ 4 h 126"/>
                  <a:gd name="T28" fmla="*/ 4 w 140"/>
                  <a:gd name="T29" fmla="*/ 5 h 126"/>
                  <a:gd name="T30" fmla="*/ 4 w 140"/>
                  <a:gd name="T31" fmla="*/ 5 h 126"/>
                  <a:gd name="T32" fmla="*/ 4 w 140"/>
                  <a:gd name="T33" fmla="*/ 5 h 126"/>
                  <a:gd name="T34" fmla="*/ 5 w 140"/>
                  <a:gd name="T35" fmla="*/ 5 h 126"/>
                  <a:gd name="T36" fmla="*/ 5 w 140"/>
                  <a:gd name="T37" fmla="*/ 4 h 126"/>
                  <a:gd name="T38" fmla="*/ 5 w 140"/>
                  <a:gd name="T39" fmla="*/ 4 h 126"/>
                  <a:gd name="T40" fmla="*/ 6 w 140"/>
                  <a:gd name="T41" fmla="*/ 4 h 126"/>
                  <a:gd name="T42" fmla="*/ 5 w 140"/>
                  <a:gd name="T43" fmla="*/ 3 h 126"/>
                  <a:gd name="T44" fmla="*/ 5 w 140"/>
                  <a:gd name="T45" fmla="*/ 3 h 126"/>
                  <a:gd name="T46" fmla="*/ 6 w 140"/>
                  <a:gd name="T47" fmla="*/ 4 h 126"/>
                  <a:gd name="T48" fmla="*/ 6 w 140"/>
                  <a:gd name="T49" fmla="*/ 3 h 126"/>
                  <a:gd name="T50" fmla="*/ 5 w 140"/>
                  <a:gd name="T51" fmla="*/ 3 h 126"/>
                  <a:gd name="T52" fmla="*/ 5 w 140"/>
                  <a:gd name="T53" fmla="*/ 3 h 126"/>
                  <a:gd name="T54" fmla="*/ 5 w 140"/>
                  <a:gd name="T55" fmla="*/ 3 h 126"/>
                  <a:gd name="T56" fmla="*/ 5 w 140"/>
                  <a:gd name="T57" fmla="*/ 2 h 126"/>
                  <a:gd name="T58" fmla="*/ 5 w 140"/>
                  <a:gd name="T59" fmla="*/ 2 h 126"/>
                  <a:gd name="T60" fmla="*/ 4 w 140"/>
                  <a:gd name="T61" fmla="*/ 1 h 126"/>
                  <a:gd name="T62" fmla="*/ 4 w 140"/>
                  <a:gd name="T63" fmla="*/ 1 h 126"/>
                  <a:gd name="T64" fmla="*/ 4 w 140"/>
                  <a:gd name="T65" fmla="*/ 0 h 126"/>
                  <a:gd name="T66" fmla="*/ 3 w 140"/>
                  <a:gd name="T67" fmla="*/ 1 h 126"/>
                  <a:gd name="T68" fmla="*/ 2 w 140"/>
                  <a:gd name="T69" fmla="*/ 1 h 126"/>
                  <a:gd name="T70" fmla="*/ 2 w 140"/>
                  <a:gd name="T71" fmla="*/ 1 h 126"/>
                  <a:gd name="T72" fmla="*/ 2 w 140"/>
                  <a:gd name="T73" fmla="*/ 1 h 126"/>
                  <a:gd name="T74" fmla="*/ 2 w 140"/>
                  <a:gd name="T75" fmla="*/ 0 h 126"/>
                  <a:gd name="T76" fmla="*/ 2 w 140"/>
                  <a:gd name="T77" fmla="*/ 0 h 126"/>
                  <a:gd name="T78" fmla="*/ 2 w 140"/>
                  <a:gd name="T79" fmla="*/ 0 h 126"/>
                  <a:gd name="T80" fmla="*/ 2 w 140"/>
                  <a:gd name="T81" fmla="*/ 0 h 126"/>
                  <a:gd name="T82" fmla="*/ 2 w 140"/>
                  <a:gd name="T83" fmla="*/ 0 h 126"/>
                  <a:gd name="T84" fmla="*/ 1 w 140"/>
                  <a:gd name="T85" fmla="*/ 0 h 126"/>
                  <a:gd name="T86" fmla="*/ 1 w 140"/>
                  <a:gd name="T87" fmla="*/ 1 h 126"/>
                  <a:gd name="T88" fmla="*/ 1 w 140"/>
                  <a:gd name="T89" fmla="*/ 1 h 126"/>
                  <a:gd name="T90" fmla="*/ 1 w 140"/>
                  <a:gd name="T91" fmla="*/ 1 h 126"/>
                  <a:gd name="T92" fmla="*/ 1 w 140"/>
                  <a:gd name="T93" fmla="*/ 1 h 126"/>
                  <a:gd name="T94" fmla="*/ 1 w 140"/>
                  <a:gd name="T95" fmla="*/ 1 h 12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140"/>
                  <a:gd name="T145" fmla="*/ 0 h 126"/>
                  <a:gd name="T146" fmla="*/ 140 w 140"/>
                  <a:gd name="T147" fmla="*/ 126 h 12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140" h="126">
                    <a:moveTo>
                      <a:pt x="28" y="36"/>
                    </a:moveTo>
                    <a:lnTo>
                      <a:pt x="27" y="48"/>
                    </a:lnTo>
                    <a:lnTo>
                      <a:pt x="21" y="58"/>
                    </a:lnTo>
                    <a:lnTo>
                      <a:pt x="11" y="59"/>
                    </a:lnTo>
                    <a:lnTo>
                      <a:pt x="11" y="72"/>
                    </a:lnTo>
                    <a:lnTo>
                      <a:pt x="0" y="80"/>
                    </a:lnTo>
                    <a:lnTo>
                      <a:pt x="16" y="91"/>
                    </a:lnTo>
                    <a:lnTo>
                      <a:pt x="23" y="110"/>
                    </a:lnTo>
                    <a:lnTo>
                      <a:pt x="34" y="115"/>
                    </a:lnTo>
                    <a:lnTo>
                      <a:pt x="47" y="104"/>
                    </a:lnTo>
                    <a:lnTo>
                      <a:pt x="53" y="93"/>
                    </a:lnTo>
                    <a:lnTo>
                      <a:pt x="82" y="85"/>
                    </a:lnTo>
                    <a:lnTo>
                      <a:pt x="97" y="99"/>
                    </a:lnTo>
                    <a:lnTo>
                      <a:pt x="98" y="106"/>
                    </a:lnTo>
                    <a:lnTo>
                      <a:pt x="98" y="121"/>
                    </a:lnTo>
                    <a:lnTo>
                      <a:pt x="101" y="126"/>
                    </a:lnTo>
                    <a:lnTo>
                      <a:pt x="103" y="126"/>
                    </a:lnTo>
                    <a:lnTo>
                      <a:pt x="117" y="117"/>
                    </a:lnTo>
                    <a:lnTo>
                      <a:pt x="119" y="107"/>
                    </a:lnTo>
                    <a:lnTo>
                      <a:pt x="132" y="105"/>
                    </a:lnTo>
                    <a:lnTo>
                      <a:pt x="138" y="97"/>
                    </a:lnTo>
                    <a:lnTo>
                      <a:pt x="132" y="85"/>
                    </a:lnTo>
                    <a:lnTo>
                      <a:pt x="130" y="78"/>
                    </a:lnTo>
                    <a:lnTo>
                      <a:pt x="138" y="90"/>
                    </a:lnTo>
                    <a:lnTo>
                      <a:pt x="140" y="79"/>
                    </a:lnTo>
                    <a:lnTo>
                      <a:pt x="135" y="68"/>
                    </a:lnTo>
                    <a:lnTo>
                      <a:pt x="130" y="66"/>
                    </a:lnTo>
                    <a:lnTo>
                      <a:pt x="116" y="68"/>
                    </a:lnTo>
                    <a:lnTo>
                      <a:pt x="122" y="57"/>
                    </a:lnTo>
                    <a:lnTo>
                      <a:pt x="120" y="39"/>
                    </a:lnTo>
                    <a:lnTo>
                      <a:pt x="112" y="27"/>
                    </a:lnTo>
                    <a:lnTo>
                      <a:pt x="106" y="16"/>
                    </a:lnTo>
                    <a:lnTo>
                      <a:pt x="89" y="10"/>
                    </a:lnTo>
                    <a:lnTo>
                      <a:pt x="64" y="18"/>
                    </a:lnTo>
                    <a:lnTo>
                      <a:pt x="58" y="24"/>
                    </a:lnTo>
                    <a:lnTo>
                      <a:pt x="50" y="27"/>
                    </a:lnTo>
                    <a:lnTo>
                      <a:pt x="48" y="24"/>
                    </a:lnTo>
                    <a:lnTo>
                      <a:pt x="59" y="10"/>
                    </a:lnTo>
                    <a:lnTo>
                      <a:pt x="57" y="7"/>
                    </a:lnTo>
                    <a:lnTo>
                      <a:pt x="48" y="2"/>
                    </a:lnTo>
                    <a:lnTo>
                      <a:pt x="39" y="0"/>
                    </a:lnTo>
                    <a:lnTo>
                      <a:pt x="38" y="5"/>
                    </a:lnTo>
                    <a:lnTo>
                      <a:pt x="36" y="8"/>
                    </a:lnTo>
                    <a:lnTo>
                      <a:pt x="33" y="14"/>
                    </a:lnTo>
                    <a:lnTo>
                      <a:pt x="34" y="20"/>
                    </a:lnTo>
                    <a:lnTo>
                      <a:pt x="34" y="27"/>
                    </a:lnTo>
                    <a:lnTo>
                      <a:pt x="33" y="34"/>
                    </a:lnTo>
                    <a:lnTo>
                      <a:pt x="28" y="3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sp>
          <p:nvSpPr>
            <p:cNvPr id="46" name="Freeform 200">
              <a:extLst>
                <a:ext uri="{FF2B5EF4-FFF2-40B4-BE49-F238E27FC236}">
                  <a16:creationId xmlns:a16="http://schemas.microsoft.com/office/drawing/2014/main" id="{5177DDA8-7E7E-8111-B96D-65FF406757F7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9502" y="1748962"/>
              <a:ext cx="81621" cy="122306"/>
            </a:xfrm>
            <a:custGeom>
              <a:avLst/>
              <a:gdLst>
                <a:gd name="T0" fmla="*/ 20217 w 233"/>
                <a:gd name="T1" fmla="*/ 7813 h 345"/>
                <a:gd name="T2" fmla="*/ 16173 w 233"/>
                <a:gd name="T3" fmla="*/ 6990 h 345"/>
                <a:gd name="T4" fmla="*/ 13478 w 233"/>
                <a:gd name="T5" fmla="*/ 8224 h 345"/>
                <a:gd name="T6" fmla="*/ 12130 w 233"/>
                <a:gd name="T7" fmla="*/ 5346 h 345"/>
                <a:gd name="T8" fmla="*/ 13927 w 233"/>
                <a:gd name="T9" fmla="*/ 3290 h 345"/>
                <a:gd name="T10" fmla="*/ 13927 w 233"/>
                <a:gd name="T11" fmla="*/ 0 h 345"/>
                <a:gd name="T12" fmla="*/ 12130 w 233"/>
                <a:gd name="T13" fmla="*/ 411 h 345"/>
                <a:gd name="T14" fmla="*/ 10333 w 233"/>
                <a:gd name="T15" fmla="*/ 1645 h 345"/>
                <a:gd name="T16" fmla="*/ 9884 w 233"/>
                <a:gd name="T17" fmla="*/ 2878 h 345"/>
                <a:gd name="T18" fmla="*/ 8087 w 233"/>
                <a:gd name="T19" fmla="*/ 4523 h 345"/>
                <a:gd name="T20" fmla="*/ 9434 w 233"/>
                <a:gd name="T21" fmla="*/ 4934 h 345"/>
                <a:gd name="T22" fmla="*/ 10782 w 233"/>
                <a:gd name="T23" fmla="*/ 5346 h 345"/>
                <a:gd name="T24" fmla="*/ 8985 w 233"/>
                <a:gd name="T25" fmla="*/ 6990 h 345"/>
                <a:gd name="T26" fmla="*/ 5840 w 233"/>
                <a:gd name="T27" fmla="*/ 7813 h 345"/>
                <a:gd name="T28" fmla="*/ 2696 w 233"/>
                <a:gd name="T29" fmla="*/ 7813 h 345"/>
                <a:gd name="T30" fmla="*/ 2246 w 233"/>
                <a:gd name="T31" fmla="*/ 9869 h 345"/>
                <a:gd name="T32" fmla="*/ 4043 w 233"/>
                <a:gd name="T33" fmla="*/ 10691 h 345"/>
                <a:gd name="T34" fmla="*/ 2246 w 233"/>
                <a:gd name="T35" fmla="*/ 12747 h 345"/>
                <a:gd name="T36" fmla="*/ 2246 w 233"/>
                <a:gd name="T37" fmla="*/ 14392 h 345"/>
                <a:gd name="T38" fmla="*/ 3594 w 233"/>
                <a:gd name="T39" fmla="*/ 14803 h 345"/>
                <a:gd name="T40" fmla="*/ 7188 w 233"/>
                <a:gd name="T41" fmla="*/ 15625 h 345"/>
                <a:gd name="T42" fmla="*/ 4942 w 233"/>
                <a:gd name="T43" fmla="*/ 17270 h 345"/>
                <a:gd name="T44" fmla="*/ 2696 w 233"/>
                <a:gd name="T45" fmla="*/ 20560 h 345"/>
                <a:gd name="T46" fmla="*/ 7188 w 233"/>
                <a:gd name="T47" fmla="*/ 19737 h 345"/>
                <a:gd name="T48" fmla="*/ 4942 w 233"/>
                <a:gd name="T49" fmla="*/ 20560 h 345"/>
                <a:gd name="T50" fmla="*/ 2696 w 233"/>
                <a:gd name="T51" fmla="*/ 22616 h 345"/>
                <a:gd name="T52" fmla="*/ 1348 w 233"/>
                <a:gd name="T53" fmla="*/ 23027 h 345"/>
                <a:gd name="T54" fmla="*/ 0 w 233"/>
                <a:gd name="T55" fmla="*/ 23849 h 345"/>
                <a:gd name="T56" fmla="*/ 1348 w 233"/>
                <a:gd name="T57" fmla="*/ 24672 h 345"/>
                <a:gd name="T58" fmla="*/ 899 w 233"/>
                <a:gd name="T59" fmla="*/ 25905 h 345"/>
                <a:gd name="T60" fmla="*/ 3594 w 233"/>
                <a:gd name="T61" fmla="*/ 25494 h 345"/>
                <a:gd name="T62" fmla="*/ 1348 w 233"/>
                <a:gd name="T63" fmla="*/ 27550 h 345"/>
                <a:gd name="T64" fmla="*/ 4493 w 233"/>
                <a:gd name="T65" fmla="*/ 27139 h 345"/>
                <a:gd name="T66" fmla="*/ 3145 w 233"/>
                <a:gd name="T67" fmla="*/ 27961 h 345"/>
                <a:gd name="T68" fmla="*/ 4043 w 233"/>
                <a:gd name="T69" fmla="*/ 27961 h 345"/>
                <a:gd name="T70" fmla="*/ 5391 w 233"/>
                <a:gd name="T71" fmla="*/ 28373 h 345"/>
                <a:gd name="T72" fmla="*/ 9434 w 233"/>
                <a:gd name="T73" fmla="*/ 27139 h 345"/>
                <a:gd name="T74" fmla="*/ 9884 w 233"/>
                <a:gd name="T75" fmla="*/ 25494 h 345"/>
                <a:gd name="T76" fmla="*/ 10782 w 233"/>
                <a:gd name="T77" fmla="*/ 25905 h 345"/>
                <a:gd name="T78" fmla="*/ 13029 w 233"/>
                <a:gd name="T79" fmla="*/ 25083 h 345"/>
                <a:gd name="T80" fmla="*/ 13927 w 233"/>
                <a:gd name="T81" fmla="*/ 23849 h 345"/>
                <a:gd name="T82" fmla="*/ 18420 w 233"/>
                <a:gd name="T83" fmla="*/ 23027 h 345"/>
                <a:gd name="T84" fmla="*/ 19768 w 233"/>
                <a:gd name="T85" fmla="*/ 23027 h 345"/>
                <a:gd name="T86" fmla="*/ 20217 w 233"/>
                <a:gd name="T87" fmla="*/ 19326 h 345"/>
                <a:gd name="T88" fmla="*/ 21115 w 233"/>
                <a:gd name="T89" fmla="*/ 16037 h 345"/>
                <a:gd name="T90" fmla="*/ 21115 w 233"/>
                <a:gd name="T91" fmla="*/ 13158 h 345"/>
                <a:gd name="T92" fmla="*/ 20666 w 233"/>
                <a:gd name="T93" fmla="*/ 9458 h 345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3"/>
                <a:gd name="T142" fmla="*/ 0 h 345"/>
                <a:gd name="T143" fmla="*/ 233 w 233"/>
                <a:gd name="T144" fmla="*/ 345 h 345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3" h="345">
                  <a:moveTo>
                    <a:pt x="226" y="117"/>
                  </a:moveTo>
                  <a:lnTo>
                    <a:pt x="223" y="112"/>
                  </a:lnTo>
                  <a:lnTo>
                    <a:pt x="223" y="97"/>
                  </a:lnTo>
                  <a:lnTo>
                    <a:pt x="222" y="90"/>
                  </a:lnTo>
                  <a:lnTo>
                    <a:pt x="207" y="76"/>
                  </a:lnTo>
                  <a:lnTo>
                    <a:pt x="178" y="84"/>
                  </a:lnTo>
                  <a:lnTo>
                    <a:pt x="172" y="95"/>
                  </a:lnTo>
                  <a:lnTo>
                    <a:pt x="159" y="106"/>
                  </a:lnTo>
                  <a:lnTo>
                    <a:pt x="148" y="100"/>
                  </a:lnTo>
                  <a:lnTo>
                    <a:pt x="141" y="82"/>
                  </a:lnTo>
                  <a:lnTo>
                    <a:pt x="125" y="71"/>
                  </a:lnTo>
                  <a:lnTo>
                    <a:pt x="136" y="63"/>
                  </a:lnTo>
                  <a:lnTo>
                    <a:pt x="136" y="50"/>
                  </a:lnTo>
                  <a:lnTo>
                    <a:pt x="146" y="49"/>
                  </a:lnTo>
                  <a:lnTo>
                    <a:pt x="152" y="39"/>
                  </a:lnTo>
                  <a:lnTo>
                    <a:pt x="153" y="27"/>
                  </a:lnTo>
                  <a:lnTo>
                    <a:pt x="155" y="22"/>
                  </a:lnTo>
                  <a:lnTo>
                    <a:pt x="152" y="2"/>
                  </a:lnTo>
                  <a:lnTo>
                    <a:pt x="151" y="0"/>
                  </a:lnTo>
                  <a:lnTo>
                    <a:pt x="145" y="1"/>
                  </a:lnTo>
                  <a:lnTo>
                    <a:pt x="135" y="6"/>
                  </a:lnTo>
                  <a:lnTo>
                    <a:pt x="131" y="4"/>
                  </a:lnTo>
                  <a:lnTo>
                    <a:pt x="121" y="11"/>
                  </a:lnTo>
                  <a:lnTo>
                    <a:pt x="113" y="18"/>
                  </a:lnTo>
                  <a:lnTo>
                    <a:pt x="108" y="20"/>
                  </a:lnTo>
                  <a:lnTo>
                    <a:pt x="105" y="30"/>
                  </a:lnTo>
                  <a:lnTo>
                    <a:pt x="108" y="34"/>
                  </a:lnTo>
                  <a:lnTo>
                    <a:pt x="107" y="37"/>
                  </a:lnTo>
                  <a:lnTo>
                    <a:pt x="99" y="45"/>
                  </a:lnTo>
                  <a:lnTo>
                    <a:pt x="88" y="53"/>
                  </a:lnTo>
                  <a:lnTo>
                    <a:pt x="91" y="59"/>
                  </a:lnTo>
                  <a:lnTo>
                    <a:pt x="99" y="59"/>
                  </a:lnTo>
                  <a:lnTo>
                    <a:pt x="104" y="60"/>
                  </a:lnTo>
                  <a:lnTo>
                    <a:pt x="110" y="59"/>
                  </a:lnTo>
                  <a:lnTo>
                    <a:pt x="119" y="59"/>
                  </a:lnTo>
                  <a:lnTo>
                    <a:pt x="120" y="63"/>
                  </a:lnTo>
                  <a:lnTo>
                    <a:pt x="117" y="71"/>
                  </a:lnTo>
                  <a:lnTo>
                    <a:pt x="98" y="84"/>
                  </a:lnTo>
                  <a:lnTo>
                    <a:pt x="99" y="87"/>
                  </a:lnTo>
                  <a:lnTo>
                    <a:pt x="98" y="95"/>
                  </a:lnTo>
                  <a:lnTo>
                    <a:pt x="83" y="93"/>
                  </a:lnTo>
                  <a:lnTo>
                    <a:pt x="65" y="97"/>
                  </a:lnTo>
                  <a:lnTo>
                    <a:pt x="61" y="90"/>
                  </a:lnTo>
                  <a:lnTo>
                    <a:pt x="37" y="87"/>
                  </a:lnTo>
                  <a:lnTo>
                    <a:pt x="31" y="96"/>
                  </a:lnTo>
                  <a:lnTo>
                    <a:pt x="26" y="104"/>
                  </a:lnTo>
                  <a:lnTo>
                    <a:pt x="29" y="120"/>
                  </a:lnTo>
                  <a:lnTo>
                    <a:pt x="23" y="118"/>
                  </a:lnTo>
                  <a:lnTo>
                    <a:pt x="15" y="119"/>
                  </a:lnTo>
                  <a:lnTo>
                    <a:pt x="21" y="128"/>
                  </a:lnTo>
                  <a:lnTo>
                    <a:pt x="43" y="130"/>
                  </a:lnTo>
                  <a:lnTo>
                    <a:pt x="44" y="136"/>
                  </a:lnTo>
                  <a:lnTo>
                    <a:pt x="28" y="146"/>
                  </a:lnTo>
                  <a:lnTo>
                    <a:pt x="24" y="154"/>
                  </a:lnTo>
                  <a:lnTo>
                    <a:pt x="17" y="158"/>
                  </a:lnTo>
                  <a:lnTo>
                    <a:pt x="17" y="166"/>
                  </a:lnTo>
                  <a:lnTo>
                    <a:pt x="23" y="173"/>
                  </a:lnTo>
                  <a:lnTo>
                    <a:pt x="28" y="174"/>
                  </a:lnTo>
                  <a:lnTo>
                    <a:pt x="28" y="179"/>
                  </a:lnTo>
                  <a:lnTo>
                    <a:pt x="40" y="179"/>
                  </a:lnTo>
                  <a:lnTo>
                    <a:pt x="43" y="186"/>
                  </a:lnTo>
                  <a:lnTo>
                    <a:pt x="75" y="187"/>
                  </a:lnTo>
                  <a:lnTo>
                    <a:pt x="78" y="192"/>
                  </a:lnTo>
                  <a:lnTo>
                    <a:pt x="74" y="197"/>
                  </a:lnTo>
                  <a:lnTo>
                    <a:pt x="61" y="201"/>
                  </a:lnTo>
                  <a:lnTo>
                    <a:pt x="54" y="209"/>
                  </a:lnTo>
                  <a:lnTo>
                    <a:pt x="53" y="224"/>
                  </a:lnTo>
                  <a:lnTo>
                    <a:pt x="48" y="233"/>
                  </a:lnTo>
                  <a:lnTo>
                    <a:pt x="32" y="248"/>
                  </a:lnTo>
                  <a:lnTo>
                    <a:pt x="65" y="243"/>
                  </a:lnTo>
                  <a:lnTo>
                    <a:pt x="81" y="227"/>
                  </a:lnTo>
                  <a:lnTo>
                    <a:pt x="81" y="238"/>
                  </a:lnTo>
                  <a:lnTo>
                    <a:pt x="89" y="240"/>
                  </a:lnTo>
                  <a:lnTo>
                    <a:pt x="91" y="241"/>
                  </a:lnTo>
                  <a:lnTo>
                    <a:pt x="56" y="249"/>
                  </a:lnTo>
                  <a:lnTo>
                    <a:pt x="42" y="251"/>
                  </a:lnTo>
                  <a:lnTo>
                    <a:pt x="31" y="268"/>
                  </a:lnTo>
                  <a:lnTo>
                    <a:pt x="29" y="274"/>
                  </a:lnTo>
                  <a:lnTo>
                    <a:pt x="27" y="278"/>
                  </a:lnTo>
                  <a:lnTo>
                    <a:pt x="21" y="276"/>
                  </a:lnTo>
                  <a:lnTo>
                    <a:pt x="15" y="279"/>
                  </a:lnTo>
                  <a:lnTo>
                    <a:pt x="8" y="278"/>
                  </a:lnTo>
                  <a:lnTo>
                    <a:pt x="2" y="283"/>
                  </a:lnTo>
                  <a:lnTo>
                    <a:pt x="0" y="291"/>
                  </a:lnTo>
                  <a:lnTo>
                    <a:pt x="24" y="289"/>
                  </a:lnTo>
                  <a:lnTo>
                    <a:pt x="26" y="294"/>
                  </a:lnTo>
                  <a:lnTo>
                    <a:pt x="13" y="299"/>
                  </a:lnTo>
                  <a:lnTo>
                    <a:pt x="5" y="308"/>
                  </a:lnTo>
                  <a:lnTo>
                    <a:pt x="3" y="314"/>
                  </a:lnTo>
                  <a:lnTo>
                    <a:pt x="11" y="314"/>
                  </a:lnTo>
                  <a:lnTo>
                    <a:pt x="13" y="319"/>
                  </a:lnTo>
                  <a:lnTo>
                    <a:pt x="16" y="319"/>
                  </a:lnTo>
                  <a:lnTo>
                    <a:pt x="38" y="312"/>
                  </a:lnTo>
                  <a:lnTo>
                    <a:pt x="38" y="318"/>
                  </a:lnTo>
                  <a:lnTo>
                    <a:pt x="29" y="323"/>
                  </a:lnTo>
                  <a:lnTo>
                    <a:pt x="16" y="334"/>
                  </a:lnTo>
                  <a:lnTo>
                    <a:pt x="19" y="334"/>
                  </a:lnTo>
                  <a:lnTo>
                    <a:pt x="45" y="326"/>
                  </a:lnTo>
                  <a:lnTo>
                    <a:pt x="48" y="328"/>
                  </a:lnTo>
                  <a:lnTo>
                    <a:pt x="45" y="334"/>
                  </a:lnTo>
                  <a:lnTo>
                    <a:pt x="39" y="334"/>
                  </a:lnTo>
                  <a:lnTo>
                    <a:pt x="33" y="338"/>
                  </a:lnTo>
                  <a:lnTo>
                    <a:pt x="34" y="340"/>
                  </a:lnTo>
                  <a:lnTo>
                    <a:pt x="34" y="345"/>
                  </a:lnTo>
                  <a:lnTo>
                    <a:pt x="44" y="340"/>
                  </a:lnTo>
                  <a:lnTo>
                    <a:pt x="51" y="339"/>
                  </a:lnTo>
                  <a:lnTo>
                    <a:pt x="55" y="341"/>
                  </a:lnTo>
                  <a:lnTo>
                    <a:pt x="60" y="343"/>
                  </a:lnTo>
                  <a:lnTo>
                    <a:pt x="67" y="338"/>
                  </a:lnTo>
                  <a:lnTo>
                    <a:pt x="74" y="338"/>
                  </a:lnTo>
                  <a:lnTo>
                    <a:pt x="102" y="329"/>
                  </a:lnTo>
                  <a:lnTo>
                    <a:pt x="109" y="323"/>
                  </a:lnTo>
                  <a:lnTo>
                    <a:pt x="110" y="316"/>
                  </a:lnTo>
                  <a:lnTo>
                    <a:pt x="109" y="308"/>
                  </a:lnTo>
                  <a:lnTo>
                    <a:pt x="113" y="310"/>
                  </a:lnTo>
                  <a:lnTo>
                    <a:pt x="115" y="316"/>
                  </a:lnTo>
                  <a:lnTo>
                    <a:pt x="119" y="317"/>
                  </a:lnTo>
                  <a:lnTo>
                    <a:pt x="131" y="311"/>
                  </a:lnTo>
                  <a:lnTo>
                    <a:pt x="135" y="305"/>
                  </a:lnTo>
                  <a:lnTo>
                    <a:pt x="145" y="306"/>
                  </a:lnTo>
                  <a:lnTo>
                    <a:pt x="148" y="301"/>
                  </a:lnTo>
                  <a:lnTo>
                    <a:pt x="151" y="295"/>
                  </a:lnTo>
                  <a:lnTo>
                    <a:pt x="153" y="291"/>
                  </a:lnTo>
                  <a:lnTo>
                    <a:pt x="177" y="286"/>
                  </a:lnTo>
                  <a:lnTo>
                    <a:pt x="189" y="281"/>
                  </a:lnTo>
                  <a:lnTo>
                    <a:pt x="201" y="281"/>
                  </a:lnTo>
                  <a:lnTo>
                    <a:pt x="209" y="285"/>
                  </a:lnTo>
                  <a:lnTo>
                    <a:pt x="216" y="285"/>
                  </a:lnTo>
                  <a:lnTo>
                    <a:pt x="218" y="278"/>
                  </a:lnTo>
                  <a:lnTo>
                    <a:pt x="215" y="269"/>
                  </a:lnTo>
                  <a:lnTo>
                    <a:pt x="222" y="251"/>
                  </a:lnTo>
                  <a:lnTo>
                    <a:pt x="225" y="236"/>
                  </a:lnTo>
                  <a:lnTo>
                    <a:pt x="231" y="225"/>
                  </a:lnTo>
                  <a:lnTo>
                    <a:pt x="233" y="216"/>
                  </a:lnTo>
                  <a:lnTo>
                    <a:pt x="231" y="197"/>
                  </a:lnTo>
                  <a:lnTo>
                    <a:pt x="227" y="178"/>
                  </a:lnTo>
                  <a:lnTo>
                    <a:pt x="231" y="176"/>
                  </a:lnTo>
                  <a:lnTo>
                    <a:pt x="233" y="160"/>
                  </a:lnTo>
                  <a:lnTo>
                    <a:pt x="220" y="128"/>
                  </a:lnTo>
                  <a:lnTo>
                    <a:pt x="220" y="119"/>
                  </a:lnTo>
                  <a:lnTo>
                    <a:pt x="226" y="117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47" name="Freeform 201">
              <a:extLst>
                <a:ext uri="{FF2B5EF4-FFF2-40B4-BE49-F238E27FC236}">
                  <a16:creationId xmlns:a16="http://schemas.microsoft.com/office/drawing/2014/main" id="{D4F445CA-9AC4-3E25-3140-09D62835DDD5}"/>
                </a:ext>
              </a:extLst>
            </p:cNvPr>
            <p:cNvSpPr>
              <a:spLocks/>
            </p:cNvSpPr>
            <p:nvPr/>
          </p:nvSpPr>
          <p:spPr bwMode="gray">
            <a:xfrm>
              <a:off x="4784840" y="1841372"/>
              <a:ext cx="350341" cy="232382"/>
            </a:xfrm>
            <a:custGeom>
              <a:avLst/>
              <a:gdLst>
                <a:gd name="T0" fmla="*/ 13363 w 995"/>
                <a:gd name="T1" fmla="*/ 31759 h 658"/>
                <a:gd name="T2" fmla="*/ 3563 w 995"/>
                <a:gd name="T3" fmla="*/ 31346 h 658"/>
                <a:gd name="T4" fmla="*/ 1782 w 995"/>
                <a:gd name="T5" fmla="*/ 23510 h 658"/>
                <a:gd name="T6" fmla="*/ 7572 w 995"/>
                <a:gd name="T7" fmla="*/ 15261 h 658"/>
                <a:gd name="T8" fmla="*/ 7572 w 995"/>
                <a:gd name="T9" fmla="*/ 7837 h 658"/>
                <a:gd name="T10" fmla="*/ 10690 w 995"/>
                <a:gd name="T11" fmla="*/ 4124 h 658"/>
                <a:gd name="T12" fmla="*/ 19599 w 995"/>
                <a:gd name="T13" fmla="*/ 3712 h 658"/>
                <a:gd name="T14" fmla="*/ 24499 w 995"/>
                <a:gd name="T15" fmla="*/ 5362 h 658"/>
                <a:gd name="T16" fmla="*/ 29399 w 995"/>
                <a:gd name="T17" fmla="*/ 6187 h 658"/>
                <a:gd name="T18" fmla="*/ 34299 w 995"/>
                <a:gd name="T19" fmla="*/ 5774 h 658"/>
                <a:gd name="T20" fmla="*/ 40089 w 995"/>
                <a:gd name="T21" fmla="*/ 7012 h 658"/>
                <a:gd name="T22" fmla="*/ 42317 w 995"/>
                <a:gd name="T23" fmla="*/ 4124 h 658"/>
                <a:gd name="T24" fmla="*/ 47662 w 995"/>
                <a:gd name="T25" fmla="*/ 1650 h 658"/>
                <a:gd name="T26" fmla="*/ 52562 w 995"/>
                <a:gd name="T27" fmla="*/ 412 h 658"/>
                <a:gd name="T28" fmla="*/ 58798 w 995"/>
                <a:gd name="T29" fmla="*/ 2062 h 658"/>
                <a:gd name="T30" fmla="*/ 59243 w 995"/>
                <a:gd name="T31" fmla="*/ 5774 h 658"/>
                <a:gd name="T32" fmla="*/ 64143 w 995"/>
                <a:gd name="T33" fmla="*/ 8661 h 658"/>
                <a:gd name="T34" fmla="*/ 67706 w 995"/>
                <a:gd name="T35" fmla="*/ 13611 h 658"/>
                <a:gd name="T36" fmla="*/ 74833 w 995"/>
                <a:gd name="T37" fmla="*/ 13611 h 658"/>
                <a:gd name="T38" fmla="*/ 79733 w 995"/>
                <a:gd name="T39" fmla="*/ 16498 h 658"/>
                <a:gd name="T40" fmla="*/ 85524 w 995"/>
                <a:gd name="T41" fmla="*/ 18560 h 658"/>
                <a:gd name="T42" fmla="*/ 87751 w 995"/>
                <a:gd name="T43" fmla="*/ 23510 h 658"/>
                <a:gd name="T44" fmla="*/ 86415 w 995"/>
                <a:gd name="T45" fmla="*/ 26397 h 658"/>
                <a:gd name="T46" fmla="*/ 85969 w 995"/>
                <a:gd name="T47" fmla="*/ 32171 h 658"/>
                <a:gd name="T48" fmla="*/ 79288 w 995"/>
                <a:gd name="T49" fmla="*/ 34646 h 658"/>
                <a:gd name="T50" fmla="*/ 72606 w 995"/>
                <a:gd name="T51" fmla="*/ 38358 h 658"/>
                <a:gd name="T52" fmla="*/ 67261 w 995"/>
                <a:gd name="T53" fmla="*/ 40007 h 658"/>
                <a:gd name="T54" fmla="*/ 64588 w 995"/>
                <a:gd name="T55" fmla="*/ 42895 h 658"/>
                <a:gd name="T56" fmla="*/ 63252 w 995"/>
                <a:gd name="T57" fmla="*/ 44957 h 658"/>
                <a:gd name="T58" fmla="*/ 61025 w 995"/>
                <a:gd name="T59" fmla="*/ 44132 h 658"/>
                <a:gd name="T60" fmla="*/ 59243 w 995"/>
                <a:gd name="T61" fmla="*/ 42070 h 658"/>
                <a:gd name="T62" fmla="*/ 58798 w 995"/>
                <a:gd name="T63" fmla="*/ 43720 h 658"/>
                <a:gd name="T64" fmla="*/ 61025 w 995"/>
                <a:gd name="T65" fmla="*/ 44544 h 658"/>
                <a:gd name="T66" fmla="*/ 63252 w 995"/>
                <a:gd name="T67" fmla="*/ 46194 h 658"/>
                <a:gd name="T68" fmla="*/ 66816 w 995"/>
                <a:gd name="T69" fmla="*/ 48669 h 658"/>
                <a:gd name="T70" fmla="*/ 71270 w 995"/>
                <a:gd name="T71" fmla="*/ 48256 h 658"/>
                <a:gd name="T72" fmla="*/ 64588 w 995"/>
                <a:gd name="T73" fmla="*/ 51144 h 658"/>
                <a:gd name="T74" fmla="*/ 60579 w 995"/>
                <a:gd name="T75" fmla="*/ 53618 h 658"/>
                <a:gd name="T76" fmla="*/ 56125 w 995"/>
                <a:gd name="T77" fmla="*/ 52793 h 658"/>
                <a:gd name="T78" fmla="*/ 53898 w 995"/>
                <a:gd name="T79" fmla="*/ 48669 h 658"/>
                <a:gd name="T80" fmla="*/ 54789 w 995"/>
                <a:gd name="T81" fmla="*/ 45369 h 658"/>
                <a:gd name="T82" fmla="*/ 55234 w 995"/>
                <a:gd name="T83" fmla="*/ 43307 h 658"/>
                <a:gd name="T84" fmla="*/ 49444 w 995"/>
                <a:gd name="T85" fmla="*/ 42895 h 658"/>
                <a:gd name="T86" fmla="*/ 47216 w 995"/>
                <a:gd name="T87" fmla="*/ 41245 h 658"/>
                <a:gd name="T88" fmla="*/ 48553 w 995"/>
                <a:gd name="T89" fmla="*/ 38770 h 658"/>
                <a:gd name="T90" fmla="*/ 43653 w 995"/>
                <a:gd name="T91" fmla="*/ 40420 h 658"/>
                <a:gd name="T92" fmla="*/ 40089 w 995"/>
                <a:gd name="T93" fmla="*/ 42070 h 658"/>
                <a:gd name="T94" fmla="*/ 38753 w 995"/>
                <a:gd name="T95" fmla="*/ 45369 h 658"/>
                <a:gd name="T96" fmla="*/ 37417 w 995"/>
                <a:gd name="T97" fmla="*/ 47019 h 658"/>
                <a:gd name="T98" fmla="*/ 32962 w 995"/>
                <a:gd name="T99" fmla="*/ 49081 h 658"/>
                <a:gd name="T100" fmla="*/ 31181 w 995"/>
                <a:gd name="T101" fmla="*/ 46194 h 658"/>
                <a:gd name="T102" fmla="*/ 33853 w 995"/>
                <a:gd name="T103" fmla="*/ 41245 h 658"/>
                <a:gd name="T104" fmla="*/ 38308 w 995"/>
                <a:gd name="T105" fmla="*/ 40007 h 658"/>
                <a:gd name="T106" fmla="*/ 36080 w 995"/>
                <a:gd name="T107" fmla="*/ 35058 h 658"/>
                <a:gd name="T108" fmla="*/ 34299 w 995"/>
                <a:gd name="T109" fmla="*/ 30521 h 658"/>
                <a:gd name="T110" fmla="*/ 27617 w 995"/>
                <a:gd name="T111" fmla="*/ 28046 h 65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995"/>
                <a:gd name="T169" fmla="*/ 0 h 658"/>
                <a:gd name="T170" fmla="*/ 995 w 995"/>
                <a:gd name="T171" fmla="*/ 658 h 65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995" h="658">
                  <a:moveTo>
                    <a:pt x="248" y="353"/>
                  </a:moveTo>
                  <a:lnTo>
                    <a:pt x="242" y="352"/>
                  </a:lnTo>
                  <a:lnTo>
                    <a:pt x="208" y="373"/>
                  </a:lnTo>
                  <a:lnTo>
                    <a:pt x="189" y="374"/>
                  </a:lnTo>
                  <a:lnTo>
                    <a:pt x="173" y="378"/>
                  </a:lnTo>
                  <a:lnTo>
                    <a:pt x="157" y="389"/>
                  </a:lnTo>
                  <a:lnTo>
                    <a:pt x="148" y="384"/>
                  </a:lnTo>
                  <a:lnTo>
                    <a:pt x="137" y="374"/>
                  </a:lnTo>
                  <a:lnTo>
                    <a:pt x="121" y="376"/>
                  </a:lnTo>
                  <a:lnTo>
                    <a:pt x="106" y="379"/>
                  </a:lnTo>
                  <a:lnTo>
                    <a:pt x="83" y="377"/>
                  </a:lnTo>
                  <a:lnTo>
                    <a:pt x="64" y="374"/>
                  </a:lnTo>
                  <a:lnTo>
                    <a:pt x="47" y="374"/>
                  </a:lnTo>
                  <a:lnTo>
                    <a:pt x="40" y="377"/>
                  </a:lnTo>
                  <a:lnTo>
                    <a:pt x="36" y="367"/>
                  </a:lnTo>
                  <a:lnTo>
                    <a:pt x="27" y="358"/>
                  </a:lnTo>
                  <a:lnTo>
                    <a:pt x="15" y="348"/>
                  </a:lnTo>
                  <a:lnTo>
                    <a:pt x="0" y="341"/>
                  </a:lnTo>
                  <a:lnTo>
                    <a:pt x="6" y="318"/>
                  </a:lnTo>
                  <a:lnTo>
                    <a:pt x="17" y="288"/>
                  </a:lnTo>
                  <a:lnTo>
                    <a:pt x="19" y="282"/>
                  </a:lnTo>
                  <a:lnTo>
                    <a:pt x="24" y="283"/>
                  </a:lnTo>
                  <a:lnTo>
                    <a:pt x="33" y="281"/>
                  </a:lnTo>
                  <a:lnTo>
                    <a:pt x="31" y="269"/>
                  </a:lnTo>
                  <a:lnTo>
                    <a:pt x="33" y="254"/>
                  </a:lnTo>
                  <a:lnTo>
                    <a:pt x="51" y="216"/>
                  </a:lnTo>
                  <a:lnTo>
                    <a:pt x="65" y="197"/>
                  </a:lnTo>
                  <a:lnTo>
                    <a:pt x="85" y="184"/>
                  </a:lnTo>
                  <a:lnTo>
                    <a:pt x="103" y="169"/>
                  </a:lnTo>
                  <a:lnTo>
                    <a:pt x="108" y="156"/>
                  </a:lnTo>
                  <a:lnTo>
                    <a:pt x="102" y="140"/>
                  </a:lnTo>
                  <a:lnTo>
                    <a:pt x="103" y="129"/>
                  </a:lnTo>
                  <a:lnTo>
                    <a:pt x="92" y="118"/>
                  </a:lnTo>
                  <a:lnTo>
                    <a:pt x="91" y="114"/>
                  </a:lnTo>
                  <a:lnTo>
                    <a:pt x="84" y="95"/>
                  </a:lnTo>
                  <a:lnTo>
                    <a:pt x="83" y="83"/>
                  </a:lnTo>
                  <a:lnTo>
                    <a:pt x="76" y="71"/>
                  </a:lnTo>
                  <a:lnTo>
                    <a:pt x="83" y="65"/>
                  </a:lnTo>
                  <a:lnTo>
                    <a:pt x="91" y="64"/>
                  </a:lnTo>
                  <a:lnTo>
                    <a:pt x="100" y="65"/>
                  </a:lnTo>
                  <a:lnTo>
                    <a:pt x="114" y="57"/>
                  </a:lnTo>
                  <a:lnTo>
                    <a:pt x="121" y="51"/>
                  </a:lnTo>
                  <a:lnTo>
                    <a:pt x="123" y="44"/>
                  </a:lnTo>
                  <a:lnTo>
                    <a:pt x="130" y="40"/>
                  </a:lnTo>
                  <a:lnTo>
                    <a:pt x="172" y="34"/>
                  </a:lnTo>
                  <a:lnTo>
                    <a:pt x="180" y="37"/>
                  </a:lnTo>
                  <a:lnTo>
                    <a:pt x="197" y="38"/>
                  </a:lnTo>
                  <a:lnTo>
                    <a:pt x="205" y="35"/>
                  </a:lnTo>
                  <a:lnTo>
                    <a:pt x="219" y="44"/>
                  </a:lnTo>
                  <a:lnTo>
                    <a:pt x="235" y="49"/>
                  </a:lnTo>
                  <a:lnTo>
                    <a:pt x="243" y="50"/>
                  </a:lnTo>
                  <a:lnTo>
                    <a:pt x="252" y="49"/>
                  </a:lnTo>
                  <a:lnTo>
                    <a:pt x="258" y="52"/>
                  </a:lnTo>
                  <a:lnTo>
                    <a:pt x="267" y="55"/>
                  </a:lnTo>
                  <a:lnTo>
                    <a:pt x="274" y="59"/>
                  </a:lnTo>
                  <a:lnTo>
                    <a:pt x="275" y="67"/>
                  </a:lnTo>
                  <a:lnTo>
                    <a:pt x="282" y="72"/>
                  </a:lnTo>
                  <a:lnTo>
                    <a:pt x="297" y="71"/>
                  </a:lnTo>
                  <a:lnTo>
                    <a:pt x="299" y="79"/>
                  </a:lnTo>
                  <a:lnTo>
                    <a:pt x="306" y="86"/>
                  </a:lnTo>
                  <a:lnTo>
                    <a:pt x="312" y="79"/>
                  </a:lnTo>
                  <a:lnTo>
                    <a:pt x="320" y="77"/>
                  </a:lnTo>
                  <a:lnTo>
                    <a:pt x="328" y="77"/>
                  </a:lnTo>
                  <a:lnTo>
                    <a:pt x="334" y="71"/>
                  </a:lnTo>
                  <a:lnTo>
                    <a:pt x="340" y="76"/>
                  </a:lnTo>
                  <a:lnTo>
                    <a:pt x="349" y="78"/>
                  </a:lnTo>
                  <a:lnTo>
                    <a:pt x="356" y="76"/>
                  </a:lnTo>
                  <a:lnTo>
                    <a:pt x="361" y="83"/>
                  </a:lnTo>
                  <a:lnTo>
                    <a:pt x="369" y="88"/>
                  </a:lnTo>
                  <a:lnTo>
                    <a:pt x="386" y="70"/>
                  </a:lnTo>
                  <a:lnTo>
                    <a:pt x="398" y="79"/>
                  </a:lnTo>
                  <a:lnTo>
                    <a:pt x="402" y="87"/>
                  </a:lnTo>
                  <a:lnTo>
                    <a:pt x="408" y="93"/>
                  </a:lnTo>
                  <a:lnTo>
                    <a:pt x="415" y="88"/>
                  </a:lnTo>
                  <a:lnTo>
                    <a:pt x="424" y="88"/>
                  </a:lnTo>
                  <a:lnTo>
                    <a:pt x="440" y="86"/>
                  </a:lnTo>
                  <a:lnTo>
                    <a:pt x="449" y="86"/>
                  </a:lnTo>
                  <a:lnTo>
                    <a:pt x="456" y="89"/>
                  </a:lnTo>
                  <a:lnTo>
                    <a:pt x="461" y="95"/>
                  </a:lnTo>
                  <a:lnTo>
                    <a:pt x="469" y="93"/>
                  </a:lnTo>
                  <a:lnTo>
                    <a:pt x="473" y="86"/>
                  </a:lnTo>
                  <a:lnTo>
                    <a:pt x="471" y="70"/>
                  </a:lnTo>
                  <a:lnTo>
                    <a:pt x="473" y="61"/>
                  </a:lnTo>
                  <a:lnTo>
                    <a:pt x="473" y="52"/>
                  </a:lnTo>
                  <a:lnTo>
                    <a:pt x="476" y="44"/>
                  </a:lnTo>
                  <a:lnTo>
                    <a:pt x="494" y="27"/>
                  </a:lnTo>
                  <a:lnTo>
                    <a:pt x="501" y="23"/>
                  </a:lnTo>
                  <a:lnTo>
                    <a:pt x="510" y="23"/>
                  </a:lnTo>
                  <a:lnTo>
                    <a:pt x="517" y="18"/>
                  </a:lnTo>
                  <a:lnTo>
                    <a:pt x="537" y="18"/>
                  </a:lnTo>
                  <a:lnTo>
                    <a:pt x="543" y="23"/>
                  </a:lnTo>
                  <a:lnTo>
                    <a:pt x="551" y="25"/>
                  </a:lnTo>
                  <a:lnTo>
                    <a:pt x="558" y="22"/>
                  </a:lnTo>
                  <a:lnTo>
                    <a:pt x="563" y="16"/>
                  </a:lnTo>
                  <a:lnTo>
                    <a:pt x="565" y="7"/>
                  </a:lnTo>
                  <a:lnTo>
                    <a:pt x="573" y="2"/>
                  </a:lnTo>
                  <a:lnTo>
                    <a:pt x="589" y="6"/>
                  </a:lnTo>
                  <a:lnTo>
                    <a:pt x="597" y="6"/>
                  </a:lnTo>
                  <a:lnTo>
                    <a:pt x="613" y="1"/>
                  </a:lnTo>
                  <a:lnTo>
                    <a:pt x="629" y="3"/>
                  </a:lnTo>
                  <a:lnTo>
                    <a:pt x="645" y="0"/>
                  </a:lnTo>
                  <a:lnTo>
                    <a:pt x="657" y="9"/>
                  </a:lnTo>
                  <a:lnTo>
                    <a:pt x="662" y="17"/>
                  </a:lnTo>
                  <a:lnTo>
                    <a:pt x="662" y="25"/>
                  </a:lnTo>
                  <a:lnTo>
                    <a:pt x="675" y="37"/>
                  </a:lnTo>
                  <a:lnTo>
                    <a:pt x="680" y="43"/>
                  </a:lnTo>
                  <a:lnTo>
                    <a:pt x="680" y="52"/>
                  </a:lnTo>
                  <a:lnTo>
                    <a:pt x="671" y="56"/>
                  </a:lnTo>
                  <a:lnTo>
                    <a:pt x="664" y="57"/>
                  </a:lnTo>
                  <a:lnTo>
                    <a:pt x="667" y="65"/>
                  </a:lnTo>
                  <a:lnTo>
                    <a:pt x="667" y="72"/>
                  </a:lnTo>
                  <a:lnTo>
                    <a:pt x="671" y="88"/>
                  </a:lnTo>
                  <a:lnTo>
                    <a:pt x="678" y="93"/>
                  </a:lnTo>
                  <a:lnTo>
                    <a:pt x="686" y="97"/>
                  </a:lnTo>
                  <a:lnTo>
                    <a:pt x="702" y="100"/>
                  </a:lnTo>
                  <a:lnTo>
                    <a:pt x="709" y="97"/>
                  </a:lnTo>
                  <a:lnTo>
                    <a:pt x="718" y="97"/>
                  </a:lnTo>
                  <a:lnTo>
                    <a:pt x="720" y="105"/>
                  </a:lnTo>
                  <a:lnTo>
                    <a:pt x="731" y="116"/>
                  </a:lnTo>
                  <a:lnTo>
                    <a:pt x="738" y="145"/>
                  </a:lnTo>
                  <a:lnTo>
                    <a:pt x="736" y="152"/>
                  </a:lnTo>
                  <a:lnTo>
                    <a:pt x="738" y="159"/>
                  </a:lnTo>
                  <a:lnTo>
                    <a:pt x="745" y="165"/>
                  </a:lnTo>
                  <a:lnTo>
                    <a:pt x="752" y="169"/>
                  </a:lnTo>
                  <a:lnTo>
                    <a:pt x="759" y="165"/>
                  </a:lnTo>
                  <a:lnTo>
                    <a:pt x="767" y="164"/>
                  </a:lnTo>
                  <a:lnTo>
                    <a:pt x="775" y="165"/>
                  </a:lnTo>
                  <a:lnTo>
                    <a:pt x="786" y="177"/>
                  </a:lnTo>
                  <a:lnTo>
                    <a:pt x="795" y="174"/>
                  </a:lnTo>
                  <a:lnTo>
                    <a:pt x="801" y="178"/>
                  </a:lnTo>
                  <a:lnTo>
                    <a:pt x="827" y="170"/>
                  </a:lnTo>
                  <a:lnTo>
                    <a:pt x="842" y="163"/>
                  </a:lnTo>
                  <a:lnTo>
                    <a:pt x="849" y="165"/>
                  </a:lnTo>
                  <a:lnTo>
                    <a:pt x="854" y="173"/>
                  </a:lnTo>
                  <a:lnTo>
                    <a:pt x="865" y="195"/>
                  </a:lnTo>
                  <a:lnTo>
                    <a:pt x="876" y="206"/>
                  </a:lnTo>
                  <a:lnTo>
                    <a:pt x="883" y="206"/>
                  </a:lnTo>
                  <a:lnTo>
                    <a:pt x="887" y="199"/>
                  </a:lnTo>
                  <a:lnTo>
                    <a:pt x="896" y="199"/>
                  </a:lnTo>
                  <a:lnTo>
                    <a:pt x="901" y="205"/>
                  </a:lnTo>
                  <a:lnTo>
                    <a:pt x="908" y="206"/>
                  </a:lnTo>
                  <a:lnTo>
                    <a:pt x="915" y="210"/>
                  </a:lnTo>
                  <a:lnTo>
                    <a:pt x="922" y="216"/>
                  </a:lnTo>
                  <a:lnTo>
                    <a:pt x="938" y="215"/>
                  </a:lnTo>
                  <a:lnTo>
                    <a:pt x="951" y="224"/>
                  </a:lnTo>
                  <a:lnTo>
                    <a:pt x="958" y="223"/>
                  </a:lnTo>
                  <a:lnTo>
                    <a:pt x="971" y="234"/>
                  </a:lnTo>
                  <a:lnTo>
                    <a:pt x="979" y="235"/>
                  </a:lnTo>
                  <a:lnTo>
                    <a:pt x="988" y="235"/>
                  </a:lnTo>
                  <a:lnTo>
                    <a:pt x="994" y="240"/>
                  </a:lnTo>
                  <a:lnTo>
                    <a:pt x="987" y="244"/>
                  </a:lnTo>
                  <a:lnTo>
                    <a:pt x="995" y="267"/>
                  </a:lnTo>
                  <a:lnTo>
                    <a:pt x="987" y="282"/>
                  </a:lnTo>
                  <a:lnTo>
                    <a:pt x="971" y="286"/>
                  </a:lnTo>
                  <a:lnTo>
                    <a:pt x="976" y="292"/>
                  </a:lnTo>
                  <a:lnTo>
                    <a:pt x="984" y="294"/>
                  </a:lnTo>
                  <a:lnTo>
                    <a:pt x="988" y="301"/>
                  </a:lnTo>
                  <a:lnTo>
                    <a:pt x="972" y="306"/>
                  </a:lnTo>
                  <a:lnTo>
                    <a:pt x="969" y="313"/>
                  </a:lnTo>
                  <a:lnTo>
                    <a:pt x="968" y="320"/>
                  </a:lnTo>
                  <a:lnTo>
                    <a:pt x="973" y="326"/>
                  </a:lnTo>
                  <a:lnTo>
                    <a:pt x="976" y="335"/>
                  </a:lnTo>
                  <a:lnTo>
                    <a:pt x="974" y="342"/>
                  </a:lnTo>
                  <a:lnTo>
                    <a:pt x="980" y="346"/>
                  </a:lnTo>
                  <a:lnTo>
                    <a:pt x="978" y="362"/>
                  </a:lnTo>
                  <a:lnTo>
                    <a:pt x="971" y="385"/>
                  </a:lnTo>
                  <a:lnTo>
                    <a:pt x="963" y="389"/>
                  </a:lnTo>
                  <a:lnTo>
                    <a:pt x="947" y="385"/>
                  </a:lnTo>
                  <a:lnTo>
                    <a:pt x="940" y="387"/>
                  </a:lnTo>
                  <a:lnTo>
                    <a:pt x="925" y="379"/>
                  </a:lnTo>
                  <a:lnTo>
                    <a:pt x="919" y="384"/>
                  </a:lnTo>
                  <a:lnTo>
                    <a:pt x="910" y="398"/>
                  </a:lnTo>
                  <a:lnTo>
                    <a:pt x="896" y="404"/>
                  </a:lnTo>
                  <a:lnTo>
                    <a:pt x="888" y="419"/>
                  </a:lnTo>
                  <a:lnTo>
                    <a:pt x="890" y="427"/>
                  </a:lnTo>
                  <a:lnTo>
                    <a:pt x="890" y="442"/>
                  </a:lnTo>
                  <a:lnTo>
                    <a:pt x="866" y="446"/>
                  </a:lnTo>
                  <a:lnTo>
                    <a:pt x="853" y="448"/>
                  </a:lnTo>
                  <a:lnTo>
                    <a:pt x="843" y="459"/>
                  </a:lnTo>
                  <a:lnTo>
                    <a:pt x="836" y="458"/>
                  </a:lnTo>
                  <a:lnTo>
                    <a:pt x="817" y="465"/>
                  </a:lnTo>
                  <a:lnTo>
                    <a:pt x="813" y="477"/>
                  </a:lnTo>
                  <a:lnTo>
                    <a:pt x="801" y="470"/>
                  </a:lnTo>
                  <a:lnTo>
                    <a:pt x="779" y="481"/>
                  </a:lnTo>
                  <a:lnTo>
                    <a:pt x="777" y="486"/>
                  </a:lnTo>
                  <a:lnTo>
                    <a:pt x="775" y="481"/>
                  </a:lnTo>
                  <a:lnTo>
                    <a:pt x="764" y="485"/>
                  </a:lnTo>
                  <a:lnTo>
                    <a:pt x="757" y="485"/>
                  </a:lnTo>
                  <a:lnTo>
                    <a:pt x="741" y="500"/>
                  </a:lnTo>
                  <a:lnTo>
                    <a:pt x="737" y="501"/>
                  </a:lnTo>
                  <a:lnTo>
                    <a:pt x="731" y="511"/>
                  </a:lnTo>
                  <a:lnTo>
                    <a:pt x="724" y="522"/>
                  </a:lnTo>
                  <a:lnTo>
                    <a:pt x="716" y="525"/>
                  </a:lnTo>
                  <a:lnTo>
                    <a:pt x="719" y="520"/>
                  </a:lnTo>
                  <a:lnTo>
                    <a:pt x="725" y="517"/>
                  </a:lnTo>
                  <a:lnTo>
                    <a:pt x="730" y="512"/>
                  </a:lnTo>
                  <a:lnTo>
                    <a:pt x="725" y="497"/>
                  </a:lnTo>
                  <a:lnTo>
                    <a:pt x="721" y="497"/>
                  </a:lnTo>
                  <a:lnTo>
                    <a:pt x="716" y="512"/>
                  </a:lnTo>
                  <a:lnTo>
                    <a:pt x="707" y="522"/>
                  </a:lnTo>
                  <a:lnTo>
                    <a:pt x="709" y="536"/>
                  </a:lnTo>
                  <a:lnTo>
                    <a:pt x="709" y="545"/>
                  </a:lnTo>
                  <a:lnTo>
                    <a:pt x="704" y="545"/>
                  </a:lnTo>
                  <a:lnTo>
                    <a:pt x="704" y="541"/>
                  </a:lnTo>
                  <a:lnTo>
                    <a:pt x="698" y="530"/>
                  </a:lnTo>
                  <a:lnTo>
                    <a:pt x="699" y="527"/>
                  </a:lnTo>
                  <a:lnTo>
                    <a:pt x="697" y="523"/>
                  </a:lnTo>
                  <a:lnTo>
                    <a:pt x="691" y="528"/>
                  </a:lnTo>
                  <a:lnTo>
                    <a:pt x="687" y="534"/>
                  </a:lnTo>
                  <a:lnTo>
                    <a:pt x="684" y="533"/>
                  </a:lnTo>
                  <a:lnTo>
                    <a:pt x="687" y="525"/>
                  </a:lnTo>
                  <a:lnTo>
                    <a:pt x="684" y="523"/>
                  </a:lnTo>
                  <a:lnTo>
                    <a:pt x="671" y="523"/>
                  </a:lnTo>
                  <a:lnTo>
                    <a:pt x="670" y="520"/>
                  </a:lnTo>
                  <a:lnTo>
                    <a:pt x="670" y="512"/>
                  </a:lnTo>
                  <a:lnTo>
                    <a:pt x="666" y="507"/>
                  </a:lnTo>
                  <a:lnTo>
                    <a:pt x="664" y="520"/>
                  </a:lnTo>
                  <a:lnTo>
                    <a:pt x="661" y="522"/>
                  </a:lnTo>
                  <a:lnTo>
                    <a:pt x="644" y="517"/>
                  </a:lnTo>
                  <a:lnTo>
                    <a:pt x="649" y="520"/>
                  </a:lnTo>
                  <a:lnTo>
                    <a:pt x="653" y="525"/>
                  </a:lnTo>
                  <a:lnTo>
                    <a:pt x="657" y="525"/>
                  </a:lnTo>
                  <a:lnTo>
                    <a:pt x="660" y="527"/>
                  </a:lnTo>
                  <a:lnTo>
                    <a:pt x="662" y="533"/>
                  </a:lnTo>
                  <a:lnTo>
                    <a:pt x="664" y="538"/>
                  </a:lnTo>
                  <a:lnTo>
                    <a:pt x="667" y="543"/>
                  </a:lnTo>
                  <a:lnTo>
                    <a:pt x="670" y="540"/>
                  </a:lnTo>
                  <a:lnTo>
                    <a:pt x="670" y="533"/>
                  </a:lnTo>
                  <a:lnTo>
                    <a:pt x="680" y="535"/>
                  </a:lnTo>
                  <a:lnTo>
                    <a:pt x="684" y="539"/>
                  </a:lnTo>
                  <a:lnTo>
                    <a:pt x="689" y="539"/>
                  </a:lnTo>
                  <a:lnTo>
                    <a:pt x="686" y="551"/>
                  </a:lnTo>
                  <a:lnTo>
                    <a:pt x="688" y="552"/>
                  </a:lnTo>
                  <a:lnTo>
                    <a:pt x="694" y="550"/>
                  </a:lnTo>
                  <a:lnTo>
                    <a:pt x="697" y="551"/>
                  </a:lnTo>
                  <a:lnTo>
                    <a:pt x="694" y="560"/>
                  </a:lnTo>
                  <a:lnTo>
                    <a:pt x="708" y="559"/>
                  </a:lnTo>
                  <a:lnTo>
                    <a:pt x="714" y="567"/>
                  </a:lnTo>
                  <a:lnTo>
                    <a:pt x="714" y="578"/>
                  </a:lnTo>
                  <a:lnTo>
                    <a:pt x="716" y="588"/>
                  </a:lnTo>
                  <a:lnTo>
                    <a:pt x="720" y="583"/>
                  </a:lnTo>
                  <a:lnTo>
                    <a:pt x="737" y="588"/>
                  </a:lnTo>
                  <a:lnTo>
                    <a:pt x="738" y="582"/>
                  </a:lnTo>
                  <a:lnTo>
                    <a:pt x="750" y="590"/>
                  </a:lnTo>
                  <a:lnTo>
                    <a:pt x="762" y="577"/>
                  </a:lnTo>
                  <a:lnTo>
                    <a:pt x="766" y="577"/>
                  </a:lnTo>
                  <a:lnTo>
                    <a:pt x="768" y="582"/>
                  </a:lnTo>
                  <a:lnTo>
                    <a:pt x="775" y="578"/>
                  </a:lnTo>
                  <a:lnTo>
                    <a:pt x="789" y="575"/>
                  </a:lnTo>
                  <a:lnTo>
                    <a:pt x="800" y="576"/>
                  </a:lnTo>
                  <a:lnTo>
                    <a:pt x="799" y="584"/>
                  </a:lnTo>
                  <a:lnTo>
                    <a:pt x="795" y="588"/>
                  </a:lnTo>
                  <a:lnTo>
                    <a:pt x="794" y="597"/>
                  </a:lnTo>
                  <a:lnTo>
                    <a:pt x="794" y="608"/>
                  </a:lnTo>
                  <a:lnTo>
                    <a:pt x="775" y="608"/>
                  </a:lnTo>
                  <a:lnTo>
                    <a:pt x="772" y="611"/>
                  </a:lnTo>
                  <a:lnTo>
                    <a:pt x="740" y="602"/>
                  </a:lnTo>
                  <a:lnTo>
                    <a:pt x="723" y="619"/>
                  </a:lnTo>
                  <a:lnTo>
                    <a:pt x="714" y="629"/>
                  </a:lnTo>
                  <a:lnTo>
                    <a:pt x="702" y="626"/>
                  </a:lnTo>
                  <a:lnTo>
                    <a:pt x="687" y="630"/>
                  </a:lnTo>
                  <a:lnTo>
                    <a:pt x="692" y="633"/>
                  </a:lnTo>
                  <a:lnTo>
                    <a:pt x="686" y="635"/>
                  </a:lnTo>
                  <a:lnTo>
                    <a:pt x="681" y="641"/>
                  </a:lnTo>
                  <a:lnTo>
                    <a:pt x="680" y="646"/>
                  </a:lnTo>
                  <a:lnTo>
                    <a:pt x="677" y="649"/>
                  </a:lnTo>
                  <a:lnTo>
                    <a:pt x="670" y="651"/>
                  </a:lnTo>
                  <a:lnTo>
                    <a:pt x="659" y="658"/>
                  </a:lnTo>
                  <a:lnTo>
                    <a:pt x="643" y="657"/>
                  </a:lnTo>
                  <a:lnTo>
                    <a:pt x="639" y="656"/>
                  </a:lnTo>
                  <a:lnTo>
                    <a:pt x="628" y="646"/>
                  </a:lnTo>
                  <a:lnTo>
                    <a:pt x="632" y="638"/>
                  </a:lnTo>
                  <a:lnTo>
                    <a:pt x="632" y="629"/>
                  </a:lnTo>
                  <a:lnTo>
                    <a:pt x="634" y="620"/>
                  </a:lnTo>
                  <a:lnTo>
                    <a:pt x="633" y="610"/>
                  </a:lnTo>
                  <a:lnTo>
                    <a:pt x="628" y="599"/>
                  </a:lnTo>
                  <a:lnTo>
                    <a:pt x="621" y="598"/>
                  </a:lnTo>
                  <a:lnTo>
                    <a:pt x="614" y="598"/>
                  </a:lnTo>
                  <a:lnTo>
                    <a:pt x="607" y="590"/>
                  </a:lnTo>
                  <a:lnTo>
                    <a:pt x="595" y="583"/>
                  </a:lnTo>
                  <a:lnTo>
                    <a:pt x="579" y="583"/>
                  </a:lnTo>
                  <a:lnTo>
                    <a:pt x="579" y="581"/>
                  </a:lnTo>
                  <a:lnTo>
                    <a:pt x="581" y="575"/>
                  </a:lnTo>
                  <a:lnTo>
                    <a:pt x="591" y="570"/>
                  </a:lnTo>
                  <a:lnTo>
                    <a:pt x="605" y="556"/>
                  </a:lnTo>
                  <a:lnTo>
                    <a:pt x="613" y="550"/>
                  </a:lnTo>
                  <a:lnTo>
                    <a:pt x="641" y="541"/>
                  </a:lnTo>
                  <a:lnTo>
                    <a:pt x="645" y="539"/>
                  </a:lnTo>
                  <a:lnTo>
                    <a:pt x="641" y="536"/>
                  </a:lnTo>
                  <a:lnTo>
                    <a:pt x="640" y="529"/>
                  </a:lnTo>
                  <a:lnTo>
                    <a:pt x="634" y="523"/>
                  </a:lnTo>
                  <a:lnTo>
                    <a:pt x="628" y="529"/>
                  </a:lnTo>
                  <a:lnTo>
                    <a:pt x="618" y="524"/>
                  </a:lnTo>
                  <a:lnTo>
                    <a:pt x="618" y="519"/>
                  </a:lnTo>
                  <a:lnTo>
                    <a:pt x="610" y="522"/>
                  </a:lnTo>
                  <a:lnTo>
                    <a:pt x="608" y="525"/>
                  </a:lnTo>
                  <a:lnTo>
                    <a:pt x="601" y="525"/>
                  </a:lnTo>
                  <a:lnTo>
                    <a:pt x="579" y="530"/>
                  </a:lnTo>
                  <a:lnTo>
                    <a:pt x="563" y="524"/>
                  </a:lnTo>
                  <a:lnTo>
                    <a:pt x="557" y="518"/>
                  </a:lnTo>
                  <a:lnTo>
                    <a:pt x="551" y="516"/>
                  </a:lnTo>
                  <a:lnTo>
                    <a:pt x="539" y="517"/>
                  </a:lnTo>
                  <a:lnTo>
                    <a:pt x="538" y="513"/>
                  </a:lnTo>
                  <a:lnTo>
                    <a:pt x="551" y="503"/>
                  </a:lnTo>
                  <a:lnTo>
                    <a:pt x="549" y="501"/>
                  </a:lnTo>
                  <a:lnTo>
                    <a:pt x="533" y="498"/>
                  </a:lnTo>
                  <a:lnTo>
                    <a:pt x="528" y="496"/>
                  </a:lnTo>
                  <a:lnTo>
                    <a:pt x="536" y="492"/>
                  </a:lnTo>
                  <a:lnTo>
                    <a:pt x="560" y="496"/>
                  </a:lnTo>
                  <a:lnTo>
                    <a:pt x="563" y="495"/>
                  </a:lnTo>
                  <a:lnTo>
                    <a:pt x="560" y="491"/>
                  </a:lnTo>
                  <a:lnTo>
                    <a:pt x="554" y="490"/>
                  </a:lnTo>
                  <a:lnTo>
                    <a:pt x="548" y="481"/>
                  </a:lnTo>
                  <a:lnTo>
                    <a:pt x="543" y="471"/>
                  </a:lnTo>
                  <a:lnTo>
                    <a:pt x="541" y="479"/>
                  </a:lnTo>
                  <a:lnTo>
                    <a:pt x="533" y="482"/>
                  </a:lnTo>
                  <a:lnTo>
                    <a:pt x="524" y="485"/>
                  </a:lnTo>
                  <a:lnTo>
                    <a:pt x="526" y="475"/>
                  </a:lnTo>
                  <a:lnTo>
                    <a:pt x="520" y="480"/>
                  </a:lnTo>
                  <a:lnTo>
                    <a:pt x="508" y="486"/>
                  </a:lnTo>
                  <a:lnTo>
                    <a:pt x="492" y="489"/>
                  </a:lnTo>
                  <a:lnTo>
                    <a:pt x="485" y="492"/>
                  </a:lnTo>
                  <a:lnTo>
                    <a:pt x="478" y="495"/>
                  </a:lnTo>
                  <a:lnTo>
                    <a:pt x="477" y="502"/>
                  </a:lnTo>
                  <a:lnTo>
                    <a:pt x="466" y="520"/>
                  </a:lnTo>
                  <a:lnTo>
                    <a:pt x="461" y="519"/>
                  </a:lnTo>
                  <a:lnTo>
                    <a:pt x="457" y="511"/>
                  </a:lnTo>
                  <a:lnTo>
                    <a:pt x="450" y="509"/>
                  </a:lnTo>
                  <a:lnTo>
                    <a:pt x="446" y="504"/>
                  </a:lnTo>
                  <a:lnTo>
                    <a:pt x="449" y="512"/>
                  </a:lnTo>
                  <a:lnTo>
                    <a:pt x="457" y="519"/>
                  </a:lnTo>
                  <a:lnTo>
                    <a:pt x="458" y="530"/>
                  </a:lnTo>
                  <a:lnTo>
                    <a:pt x="453" y="541"/>
                  </a:lnTo>
                  <a:lnTo>
                    <a:pt x="449" y="546"/>
                  </a:lnTo>
                  <a:lnTo>
                    <a:pt x="434" y="547"/>
                  </a:lnTo>
                  <a:lnTo>
                    <a:pt x="431" y="552"/>
                  </a:lnTo>
                  <a:lnTo>
                    <a:pt x="426" y="555"/>
                  </a:lnTo>
                  <a:lnTo>
                    <a:pt x="425" y="562"/>
                  </a:lnTo>
                  <a:lnTo>
                    <a:pt x="420" y="560"/>
                  </a:lnTo>
                  <a:lnTo>
                    <a:pt x="419" y="550"/>
                  </a:lnTo>
                  <a:lnTo>
                    <a:pt x="418" y="546"/>
                  </a:lnTo>
                  <a:lnTo>
                    <a:pt x="418" y="566"/>
                  </a:lnTo>
                  <a:lnTo>
                    <a:pt x="419" y="581"/>
                  </a:lnTo>
                  <a:lnTo>
                    <a:pt x="417" y="582"/>
                  </a:lnTo>
                  <a:lnTo>
                    <a:pt x="411" y="578"/>
                  </a:lnTo>
                  <a:lnTo>
                    <a:pt x="402" y="578"/>
                  </a:lnTo>
                  <a:lnTo>
                    <a:pt x="393" y="582"/>
                  </a:lnTo>
                  <a:lnTo>
                    <a:pt x="379" y="584"/>
                  </a:lnTo>
                  <a:lnTo>
                    <a:pt x="368" y="592"/>
                  </a:lnTo>
                  <a:lnTo>
                    <a:pt x="356" y="593"/>
                  </a:lnTo>
                  <a:lnTo>
                    <a:pt x="344" y="576"/>
                  </a:lnTo>
                  <a:lnTo>
                    <a:pt x="336" y="577"/>
                  </a:lnTo>
                  <a:lnTo>
                    <a:pt x="336" y="573"/>
                  </a:lnTo>
                  <a:lnTo>
                    <a:pt x="345" y="573"/>
                  </a:lnTo>
                  <a:lnTo>
                    <a:pt x="350" y="567"/>
                  </a:lnTo>
                  <a:lnTo>
                    <a:pt x="352" y="560"/>
                  </a:lnTo>
                  <a:lnTo>
                    <a:pt x="354" y="552"/>
                  </a:lnTo>
                  <a:lnTo>
                    <a:pt x="363" y="547"/>
                  </a:lnTo>
                  <a:lnTo>
                    <a:pt x="364" y="539"/>
                  </a:lnTo>
                  <a:lnTo>
                    <a:pt x="369" y="534"/>
                  </a:lnTo>
                  <a:lnTo>
                    <a:pt x="376" y="530"/>
                  </a:lnTo>
                  <a:lnTo>
                    <a:pt x="379" y="506"/>
                  </a:lnTo>
                  <a:lnTo>
                    <a:pt x="382" y="498"/>
                  </a:lnTo>
                  <a:lnTo>
                    <a:pt x="391" y="495"/>
                  </a:lnTo>
                  <a:lnTo>
                    <a:pt x="395" y="501"/>
                  </a:lnTo>
                  <a:lnTo>
                    <a:pt x="402" y="497"/>
                  </a:lnTo>
                  <a:lnTo>
                    <a:pt x="425" y="503"/>
                  </a:lnTo>
                  <a:lnTo>
                    <a:pt x="431" y="498"/>
                  </a:lnTo>
                  <a:lnTo>
                    <a:pt x="435" y="491"/>
                  </a:lnTo>
                  <a:lnTo>
                    <a:pt x="431" y="484"/>
                  </a:lnTo>
                  <a:lnTo>
                    <a:pt x="434" y="476"/>
                  </a:lnTo>
                  <a:lnTo>
                    <a:pt x="433" y="468"/>
                  </a:lnTo>
                  <a:lnTo>
                    <a:pt x="428" y="460"/>
                  </a:lnTo>
                  <a:lnTo>
                    <a:pt x="413" y="453"/>
                  </a:lnTo>
                  <a:lnTo>
                    <a:pt x="407" y="439"/>
                  </a:lnTo>
                  <a:lnTo>
                    <a:pt x="408" y="431"/>
                  </a:lnTo>
                  <a:lnTo>
                    <a:pt x="406" y="423"/>
                  </a:lnTo>
                  <a:lnTo>
                    <a:pt x="398" y="422"/>
                  </a:lnTo>
                  <a:lnTo>
                    <a:pt x="395" y="415"/>
                  </a:lnTo>
                  <a:lnTo>
                    <a:pt x="387" y="409"/>
                  </a:lnTo>
                  <a:lnTo>
                    <a:pt x="391" y="393"/>
                  </a:lnTo>
                  <a:lnTo>
                    <a:pt x="391" y="385"/>
                  </a:lnTo>
                  <a:lnTo>
                    <a:pt x="391" y="377"/>
                  </a:lnTo>
                  <a:lnTo>
                    <a:pt x="387" y="369"/>
                  </a:lnTo>
                  <a:lnTo>
                    <a:pt x="379" y="372"/>
                  </a:lnTo>
                  <a:lnTo>
                    <a:pt x="368" y="360"/>
                  </a:lnTo>
                  <a:lnTo>
                    <a:pt x="359" y="358"/>
                  </a:lnTo>
                  <a:lnTo>
                    <a:pt x="343" y="361"/>
                  </a:lnTo>
                  <a:lnTo>
                    <a:pt x="336" y="358"/>
                  </a:lnTo>
                  <a:lnTo>
                    <a:pt x="317" y="342"/>
                  </a:lnTo>
                  <a:lnTo>
                    <a:pt x="310" y="339"/>
                  </a:lnTo>
                  <a:lnTo>
                    <a:pt x="294" y="334"/>
                  </a:lnTo>
                  <a:lnTo>
                    <a:pt x="278" y="339"/>
                  </a:lnTo>
                  <a:lnTo>
                    <a:pt x="269" y="340"/>
                  </a:lnTo>
                  <a:lnTo>
                    <a:pt x="261" y="339"/>
                  </a:lnTo>
                  <a:lnTo>
                    <a:pt x="254" y="342"/>
                  </a:lnTo>
                  <a:lnTo>
                    <a:pt x="248" y="353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48" name="Freeform 202">
              <a:extLst>
                <a:ext uri="{FF2B5EF4-FFF2-40B4-BE49-F238E27FC236}">
                  <a16:creationId xmlns:a16="http://schemas.microsoft.com/office/drawing/2014/main" id="{2AC1A0E2-1EB1-58CD-730D-B9652CF67F6F}"/>
                </a:ext>
              </a:extLst>
            </p:cNvPr>
            <p:cNvSpPr>
              <a:spLocks/>
            </p:cNvSpPr>
            <p:nvPr/>
          </p:nvSpPr>
          <p:spPr bwMode="gray">
            <a:xfrm>
              <a:off x="4870228" y="1959601"/>
              <a:ext cx="67808" cy="84256"/>
            </a:xfrm>
            <a:custGeom>
              <a:avLst/>
              <a:gdLst>
                <a:gd name="T0" fmla="*/ 8146 w 187"/>
                <a:gd name="T1" fmla="*/ 19820 h 239"/>
                <a:gd name="T2" fmla="*/ 8146 w 187"/>
                <a:gd name="T3" fmla="*/ 18581 h 239"/>
                <a:gd name="T4" fmla="*/ 7694 w 187"/>
                <a:gd name="T5" fmla="*/ 17755 h 239"/>
                <a:gd name="T6" fmla="*/ 7694 w 187"/>
                <a:gd name="T7" fmla="*/ 16517 h 239"/>
                <a:gd name="T8" fmla="*/ 7694 w 187"/>
                <a:gd name="T9" fmla="*/ 15278 h 239"/>
                <a:gd name="T10" fmla="*/ 7694 w 187"/>
                <a:gd name="T11" fmla="*/ 13626 h 239"/>
                <a:gd name="T12" fmla="*/ 7241 w 187"/>
                <a:gd name="T13" fmla="*/ 11149 h 239"/>
                <a:gd name="T14" fmla="*/ 6336 w 187"/>
                <a:gd name="T15" fmla="*/ 9497 h 239"/>
                <a:gd name="T16" fmla="*/ 5431 w 187"/>
                <a:gd name="T17" fmla="*/ 7845 h 239"/>
                <a:gd name="T18" fmla="*/ 4073 w 187"/>
                <a:gd name="T19" fmla="*/ 6194 h 239"/>
                <a:gd name="T20" fmla="*/ 4073 w 187"/>
                <a:gd name="T21" fmla="*/ 4542 h 239"/>
                <a:gd name="T22" fmla="*/ 3168 w 187"/>
                <a:gd name="T23" fmla="*/ 3716 h 239"/>
                <a:gd name="T24" fmla="*/ 1810 w 187"/>
                <a:gd name="T25" fmla="*/ 2477 h 239"/>
                <a:gd name="T26" fmla="*/ 905 w 187"/>
                <a:gd name="T27" fmla="*/ 1652 h 239"/>
                <a:gd name="T28" fmla="*/ 0 w 187"/>
                <a:gd name="T29" fmla="*/ 1652 h 239"/>
                <a:gd name="T30" fmla="*/ 453 w 187"/>
                <a:gd name="T31" fmla="*/ 826 h 239"/>
                <a:gd name="T32" fmla="*/ 1358 w 187"/>
                <a:gd name="T33" fmla="*/ 413 h 239"/>
                <a:gd name="T34" fmla="*/ 1810 w 187"/>
                <a:gd name="T35" fmla="*/ 413 h 239"/>
                <a:gd name="T36" fmla="*/ 2715 w 187"/>
                <a:gd name="T37" fmla="*/ 413 h 239"/>
                <a:gd name="T38" fmla="*/ 4073 w 187"/>
                <a:gd name="T39" fmla="*/ 0 h 239"/>
                <a:gd name="T40" fmla="*/ 5884 w 187"/>
                <a:gd name="T41" fmla="*/ 413 h 239"/>
                <a:gd name="T42" fmla="*/ 6336 w 187"/>
                <a:gd name="T43" fmla="*/ 826 h 239"/>
                <a:gd name="T44" fmla="*/ 8146 w 187"/>
                <a:gd name="T45" fmla="*/ 2065 h 239"/>
                <a:gd name="T46" fmla="*/ 8599 w 187"/>
                <a:gd name="T47" fmla="*/ 2065 h 239"/>
                <a:gd name="T48" fmla="*/ 10409 w 187"/>
                <a:gd name="T49" fmla="*/ 2065 h 239"/>
                <a:gd name="T50" fmla="*/ 10862 w 187"/>
                <a:gd name="T51" fmla="*/ 2065 h 239"/>
                <a:gd name="T52" fmla="*/ 12220 w 187"/>
                <a:gd name="T53" fmla="*/ 3303 h 239"/>
                <a:gd name="T54" fmla="*/ 12672 w 187"/>
                <a:gd name="T55" fmla="*/ 2890 h 239"/>
                <a:gd name="T56" fmla="*/ 13125 w 187"/>
                <a:gd name="T57" fmla="*/ 3716 h 239"/>
                <a:gd name="T58" fmla="*/ 13125 w 187"/>
                <a:gd name="T59" fmla="*/ 4129 h 239"/>
                <a:gd name="T60" fmla="*/ 13125 w 187"/>
                <a:gd name="T61" fmla="*/ 4955 h 239"/>
                <a:gd name="T62" fmla="*/ 12672 w 187"/>
                <a:gd name="T63" fmla="*/ 6194 h 239"/>
                <a:gd name="T64" fmla="*/ 13577 w 187"/>
                <a:gd name="T65" fmla="*/ 6607 h 239"/>
                <a:gd name="T66" fmla="*/ 13577 w 187"/>
                <a:gd name="T67" fmla="*/ 7020 h 239"/>
                <a:gd name="T68" fmla="*/ 14483 w 187"/>
                <a:gd name="T69" fmla="*/ 7432 h 239"/>
                <a:gd name="T70" fmla="*/ 14935 w 187"/>
                <a:gd name="T71" fmla="*/ 7845 h 239"/>
                <a:gd name="T72" fmla="*/ 14483 w 187"/>
                <a:gd name="T73" fmla="*/ 8671 h 239"/>
                <a:gd name="T74" fmla="*/ 15388 w 187"/>
                <a:gd name="T75" fmla="*/ 9910 h 239"/>
                <a:gd name="T76" fmla="*/ 16746 w 187"/>
                <a:gd name="T77" fmla="*/ 10323 h 239"/>
                <a:gd name="T78" fmla="*/ 17198 w 187"/>
                <a:gd name="T79" fmla="*/ 11149 h 239"/>
                <a:gd name="T80" fmla="*/ 17198 w 187"/>
                <a:gd name="T81" fmla="*/ 11562 h 239"/>
                <a:gd name="T82" fmla="*/ 16746 w 187"/>
                <a:gd name="T83" fmla="*/ 12387 h 239"/>
                <a:gd name="T84" fmla="*/ 17198 w 187"/>
                <a:gd name="T85" fmla="*/ 13213 h 239"/>
                <a:gd name="T86" fmla="*/ 16746 w 187"/>
                <a:gd name="T87" fmla="*/ 13626 h 239"/>
                <a:gd name="T88" fmla="*/ 16293 w 187"/>
                <a:gd name="T89" fmla="*/ 14039 h 239"/>
                <a:gd name="T90" fmla="*/ 14030 w 187"/>
                <a:gd name="T91" fmla="*/ 13626 h 239"/>
                <a:gd name="T92" fmla="*/ 13577 w 187"/>
                <a:gd name="T93" fmla="*/ 14039 h 239"/>
                <a:gd name="T94" fmla="*/ 13125 w 187"/>
                <a:gd name="T95" fmla="*/ 13213 h 239"/>
                <a:gd name="T96" fmla="*/ 12220 w 187"/>
                <a:gd name="T97" fmla="*/ 13626 h 239"/>
                <a:gd name="T98" fmla="*/ 12220 w 187"/>
                <a:gd name="T99" fmla="*/ 14452 h 239"/>
                <a:gd name="T100" fmla="*/ 11767 w 187"/>
                <a:gd name="T101" fmla="*/ 16104 h 239"/>
                <a:gd name="T102" fmla="*/ 11315 w 187"/>
                <a:gd name="T103" fmla="*/ 16517 h 239"/>
                <a:gd name="T104" fmla="*/ 10862 w 187"/>
                <a:gd name="T105" fmla="*/ 16930 h 239"/>
                <a:gd name="T106" fmla="*/ 10409 w 187"/>
                <a:gd name="T107" fmla="*/ 17755 h 239"/>
                <a:gd name="T108" fmla="*/ 9957 w 187"/>
                <a:gd name="T109" fmla="*/ 18168 h 239"/>
                <a:gd name="T110" fmla="*/ 9504 w 187"/>
                <a:gd name="T111" fmla="*/ 18581 h 239"/>
                <a:gd name="T112" fmla="*/ 9504 w 187"/>
                <a:gd name="T113" fmla="*/ 19407 h 239"/>
                <a:gd name="T114" fmla="*/ 9052 w 187"/>
                <a:gd name="T115" fmla="*/ 19820 h 239"/>
                <a:gd name="T116" fmla="*/ 8146 w 187"/>
                <a:gd name="T117" fmla="*/ 19820 h 23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87"/>
                <a:gd name="T178" fmla="*/ 0 h 239"/>
                <a:gd name="T179" fmla="*/ 187 w 187"/>
                <a:gd name="T180" fmla="*/ 239 h 23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87" h="239">
                  <a:moveTo>
                    <a:pt x="88" y="239"/>
                  </a:moveTo>
                  <a:lnTo>
                    <a:pt x="88" y="225"/>
                  </a:lnTo>
                  <a:lnTo>
                    <a:pt x="86" y="212"/>
                  </a:lnTo>
                  <a:lnTo>
                    <a:pt x="84" y="200"/>
                  </a:lnTo>
                  <a:lnTo>
                    <a:pt x="86" y="184"/>
                  </a:lnTo>
                  <a:lnTo>
                    <a:pt x="86" y="164"/>
                  </a:lnTo>
                  <a:lnTo>
                    <a:pt x="81" y="135"/>
                  </a:lnTo>
                  <a:lnTo>
                    <a:pt x="70" y="115"/>
                  </a:lnTo>
                  <a:lnTo>
                    <a:pt x="57" y="94"/>
                  </a:lnTo>
                  <a:lnTo>
                    <a:pt x="45" y="73"/>
                  </a:lnTo>
                  <a:lnTo>
                    <a:pt x="42" y="56"/>
                  </a:lnTo>
                  <a:lnTo>
                    <a:pt x="34" y="43"/>
                  </a:lnTo>
                  <a:lnTo>
                    <a:pt x="20" y="29"/>
                  </a:lnTo>
                  <a:lnTo>
                    <a:pt x="8" y="19"/>
                  </a:lnTo>
                  <a:lnTo>
                    <a:pt x="0" y="19"/>
                  </a:lnTo>
                  <a:lnTo>
                    <a:pt x="6" y="8"/>
                  </a:lnTo>
                  <a:lnTo>
                    <a:pt x="13" y="3"/>
                  </a:lnTo>
                  <a:lnTo>
                    <a:pt x="21" y="6"/>
                  </a:lnTo>
                  <a:lnTo>
                    <a:pt x="30" y="5"/>
                  </a:lnTo>
                  <a:lnTo>
                    <a:pt x="46" y="0"/>
                  </a:lnTo>
                  <a:lnTo>
                    <a:pt x="62" y="5"/>
                  </a:lnTo>
                  <a:lnTo>
                    <a:pt x="69" y="8"/>
                  </a:lnTo>
                  <a:lnTo>
                    <a:pt x="88" y="24"/>
                  </a:lnTo>
                  <a:lnTo>
                    <a:pt x="95" y="27"/>
                  </a:lnTo>
                  <a:lnTo>
                    <a:pt x="111" y="24"/>
                  </a:lnTo>
                  <a:lnTo>
                    <a:pt x="120" y="26"/>
                  </a:lnTo>
                  <a:lnTo>
                    <a:pt x="131" y="38"/>
                  </a:lnTo>
                  <a:lnTo>
                    <a:pt x="139" y="35"/>
                  </a:lnTo>
                  <a:lnTo>
                    <a:pt x="143" y="43"/>
                  </a:lnTo>
                  <a:lnTo>
                    <a:pt x="143" y="51"/>
                  </a:lnTo>
                  <a:lnTo>
                    <a:pt x="143" y="59"/>
                  </a:lnTo>
                  <a:lnTo>
                    <a:pt x="139" y="75"/>
                  </a:lnTo>
                  <a:lnTo>
                    <a:pt x="147" y="81"/>
                  </a:lnTo>
                  <a:lnTo>
                    <a:pt x="150" y="87"/>
                  </a:lnTo>
                  <a:lnTo>
                    <a:pt x="158" y="89"/>
                  </a:lnTo>
                  <a:lnTo>
                    <a:pt x="160" y="97"/>
                  </a:lnTo>
                  <a:lnTo>
                    <a:pt x="159" y="104"/>
                  </a:lnTo>
                  <a:lnTo>
                    <a:pt x="165" y="119"/>
                  </a:lnTo>
                  <a:lnTo>
                    <a:pt x="180" y="126"/>
                  </a:lnTo>
                  <a:lnTo>
                    <a:pt x="185" y="134"/>
                  </a:lnTo>
                  <a:lnTo>
                    <a:pt x="186" y="141"/>
                  </a:lnTo>
                  <a:lnTo>
                    <a:pt x="183" y="150"/>
                  </a:lnTo>
                  <a:lnTo>
                    <a:pt x="187" y="157"/>
                  </a:lnTo>
                  <a:lnTo>
                    <a:pt x="183" y="164"/>
                  </a:lnTo>
                  <a:lnTo>
                    <a:pt x="177" y="169"/>
                  </a:lnTo>
                  <a:lnTo>
                    <a:pt x="154" y="163"/>
                  </a:lnTo>
                  <a:lnTo>
                    <a:pt x="147" y="167"/>
                  </a:lnTo>
                  <a:lnTo>
                    <a:pt x="143" y="161"/>
                  </a:lnTo>
                  <a:lnTo>
                    <a:pt x="134" y="164"/>
                  </a:lnTo>
                  <a:lnTo>
                    <a:pt x="131" y="172"/>
                  </a:lnTo>
                  <a:lnTo>
                    <a:pt x="128" y="196"/>
                  </a:lnTo>
                  <a:lnTo>
                    <a:pt x="121" y="200"/>
                  </a:lnTo>
                  <a:lnTo>
                    <a:pt x="116" y="205"/>
                  </a:lnTo>
                  <a:lnTo>
                    <a:pt x="115" y="213"/>
                  </a:lnTo>
                  <a:lnTo>
                    <a:pt x="107" y="218"/>
                  </a:lnTo>
                  <a:lnTo>
                    <a:pt x="104" y="226"/>
                  </a:lnTo>
                  <a:lnTo>
                    <a:pt x="104" y="233"/>
                  </a:lnTo>
                  <a:lnTo>
                    <a:pt x="97" y="239"/>
                  </a:lnTo>
                  <a:lnTo>
                    <a:pt x="88" y="239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49" name="Freeform 203">
              <a:extLst>
                <a:ext uri="{FF2B5EF4-FFF2-40B4-BE49-F238E27FC236}">
                  <a16:creationId xmlns:a16="http://schemas.microsoft.com/office/drawing/2014/main" id="{C6AD3D4D-2394-24E8-A2CC-89B33C0A9A67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3677" y="1716348"/>
              <a:ext cx="188355" cy="157639"/>
            </a:xfrm>
            <a:custGeom>
              <a:avLst/>
              <a:gdLst>
                <a:gd name="T0" fmla="*/ 448 w 532"/>
                <a:gd name="T1" fmla="*/ 30294 h 452"/>
                <a:gd name="T2" fmla="*/ 2240 w 532"/>
                <a:gd name="T3" fmla="*/ 27838 h 452"/>
                <a:gd name="T4" fmla="*/ 3584 w 532"/>
                <a:gd name="T5" fmla="*/ 23744 h 452"/>
                <a:gd name="T6" fmla="*/ 3136 w 532"/>
                <a:gd name="T7" fmla="*/ 17603 h 452"/>
                <a:gd name="T8" fmla="*/ 6719 w 532"/>
                <a:gd name="T9" fmla="*/ 17194 h 452"/>
                <a:gd name="T10" fmla="*/ 8511 w 532"/>
                <a:gd name="T11" fmla="*/ 16785 h 452"/>
                <a:gd name="T12" fmla="*/ 9407 w 532"/>
                <a:gd name="T13" fmla="*/ 15556 h 452"/>
                <a:gd name="T14" fmla="*/ 11199 w 532"/>
                <a:gd name="T15" fmla="*/ 14738 h 452"/>
                <a:gd name="T16" fmla="*/ 12991 w 532"/>
                <a:gd name="T17" fmla="*/ 15556 h 452"/>
                <a:gd name="T18" fmla="*/ 12095 w 532"/>
                <a:gd name="T19" fmla="*/ 13509 h 452"/>
                <a:gd name="T20" fmla="*/ 12991 w 532"/>
                <a:gd name="T21" fmla="*/ 11053 h 452"/>
                <a:gd name="T22" fmla="*/ 13438 w 532"/>
                <a:gd name="T23" fmla="*/ 9416 h 452"/>
                <a:gd name="T24" fmla="*/ 15230 w 532"/>
                <a:gd name="T25" fmla="*/ 8188 h 452"/>
                <a:gd name="T26" fmla="*/ 17918 w 532"/>
                <a:gd name="T27" fmla="*/ 6550 h 452"/>
                <a:gd name="T28" fmla="*/ 16574 w 532"/>
                <a:gd name="T29" fmla="*/ 5731 h 452"/>
                <a:gd name="T30" fmla="*/ 17918 w 532"/>
                <a:gd name="T31" fmla="*/ 4094 h 452"/>
                <a:gd name="T32" fmla="*/ 18366 w 532"/>
                <a:gd name="T33" fmla="*/ 4094 h 452"/>
                <a:gd name="T34" fmla="*/ 19710 w 532"/>
                <a:gd name="T35" fmla="*/ 2456 h 452"/>
                <a:gd name="T36" fmla="*/ 22845 w 532"/>
                <a:gd name="T37" fmla="*/ 2047 h 452"/>
                <a:gd name="T38" fmla="*/ 24637 w 532"/>
                <a:gd name="T39" fmla="*/ 0 h 452"/>
                <a:gd name="T40" fmla="*/ 27325 w 532"/>
                <a:gd name="T41" fmla="*/ 409 h 452"/>
                <a:gd name="T42" fmla="*/ 29565 w 532"/>
                <a:gd name="T43" fmla="*/ 1228 h 452"/>
                <a:gd name="T44" fmla="*/ 31356 w 532"/>
                <a:gd name="T45" fmla="*/ 3684 h 452"/>
                <a:gd name="T46" fmla="*/ 34044 w 532"/>
                <a:gd name="T47" fmla="*/ 2456 h 452"/>
                <a:gd name="T48" fmla="*/ 36732 w 532"/>
                <a:gd name="T49" fmla="*/ 2866 h 452"/>
                <a:gd name="T50" fmla="*/ 38524 w 532"/>
                <a:gd name="T51" fmla="*/ 4503 h 452"/>
                <a:gd name="T52" fmla="*/ 38524 w 532"/>
                <a:gd name="T53" fmla="*/ 6550 h 452"/>
                <a:gd name="T54" fmla="*/ 38972 w 532"/>
                <a:gd name="T55" fmla="*/ 8188 h 452"/>
                <a:gd name="T56" fmla="*/ 38076 w 532"/>
                <a:gd name="T57" fmla="*/ 9825 h 452"/>
                <a:gd name="T58" fmla="*/ 39867 w 532"/>
                <a:gd name="T59" fmla="*/ 12691 h 452"/>
                <a:gd name="T60" fmla="*/ 42555 w 532"/>
                <a:gd name="T61" fmla="*/ 15966 h 452"/>
                <a:gd name="T62" fmla="*/ 43003 w 532"/>
                <a:gd name="T63" fmla="*/ 17603 h 452"/>
                <a:gd name="T64" fmla="*/ 46139 w 532"/>
                <a:gd name="T65" fmla="*/ 18422 h 452"/>
                <a:gd name="T66" fmla="*/ 47035 w 532"/>
                <a:gd name="T67" fmla="*/ 19650 h 452"/>
                <a:gd name="T68" fmla="*/ 47483 w 532"/>
                <a:gd name="T69" fmla="*/ 21288 h 452"/>
                <a:gd name="T70" fmla="*/ 45243 w 532"/>
                <a:gd name="T71" fmla="*/ 23335 h 452"/>
                <a:gd name="T72" fmla="*/ 42107 w 532"/>
                <a:gd name="T73" fmla="*/ 22106 h 452"/>
                <a:gd name="T74" fmla="*/ 40315 w 532"/>
                <a:gd name="T75" fmla="*/ 23335 h 452"/>
                <a:gd name="T76" fmla="*/ 41659 w 532"/>
                <a:gd name="T77" fmla="*/ 25381 h 452"/>
                <a:gd name="T78" fmla="*/ 42107 w 532"/>
                <a:gd name="T79" fmla="*/ 27019 h 452"/>
                <a:gd name="T80" fmla="*/ 42555 w 532"/>
                <a:gd name="T81" fmla="*/ 28656 h 452"/>
                <a:gd name="T82" fmla="*/ 40763 w 532"/>
                <a:gd name="T83" fmla="*/ 31113 h 452"/>
                <a:gd name="T84" fmla="*/ 37628 w 532"/>
                <a:gd name="T85" fmla="*/ 32750 h 452"/>
                <a:gd name="T86" fmla="*/ 37180 w 532"/>
                <a:gd name="T87" fmla="*/ 34797 h 452"/>
                <a:gd name="T88" fmla="*/ 36284 w 532"/>
                <a:gd name="T89" fmla="*/ 36844 h 452"/>
                <a:gd name="T90" fmla="*/ 34492 w 532"/>
                <a:gd name="T91" fmla="*/ 36025 h 452"/>
                <a:gd name="T92" fmla="*/ 31356 w 532"/>
                <a:gd name="T93" fmla="*/ 36844 h 452"/>
                <a:gd name="T94" fmla="*/ 29565 w 532"/>
                <a:gd name="T95" fmla="*/ 34797 h 452"/>
                <a:gd name="T96" fmla="*/ 26877 w 532"/>
                <a:gd name="T97" fmla="*/ 35207 h 452"/>
                <a:gd name="T98" fmla="*/ 24637 w 532"/>
                <a:gd name="T99" fmla="*/ 34797 h 452"/>
                <a:gd name="T100" fmla="*/ 22845 w 532"/>
                <a:gd name="T101" fmla="*/ 35616 h 452"/>
                <a:gd name="T102" fmla="*/ 21502 w 532"/>
                <a:gd name="T103" fmla="*/ 34797 h 452"/>
                <a:gd name="T104" fmla="*/ 19262 w 532"/>
                <a:gd name="T105" fmla="*/ 33978 h 452"/>
                <a:gd name="T106" fmla="*/ 17470 w 532"/>
                <a:gd name="T107" fmla="*/ 33160 h 452"/>
                <a:gd name="T108" fmla="*/ 14334 w 532"/>
                <a:gd name="T109" fmla="*/ 32750 h 452"/>
                <a:gd name="T110" fmla="*/ 10751 w 532"/>
                <a:gd name="T111" fmla="*/ 31932 h 452"/>
                <a:gd name="T112" fmla="*/ 5823 w 532"/>
                <a:gd name="T113" fmla="*/ 32750 h 452"/>
                <a:gd name="T114" fmla="*/ 3584 w 532"/>
                <a:gd name="T115" fmla="*/ 34388 h 452"/>
                <a:gd name="T116" fmla="*/ 1344 w 532"/>
                <a:gd name="T117" fmla="*/ 34797 h 45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532"/>
                <a:gd name="T178" fmla="*/ 0 h 452"/>
                <a:gd name="T179" fmla="*/ 532 w 532"/>
                <a:gd name="T180" fmla="*/ 452 h 45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532" h="452">
                  <a:moveTo>
                    <a:pt x="17" y="428"/>
                  </a:moveTo>
                  <a:lnTo>
                    <a:pt x="21" y="387"/>
                  </a:lnTo>
                  <a:lnTo>
                    <a:pt x="6" y="374"/>
                  </a:lnTo>
                  <a:lnTo>
                    <a:pt x="0" y="363"/>
                  </a:lnTo>
                  <a:lnTo>
                    <a:pt x="11" y="351"/>
                  </a:lnTo>
                  <a:lnTo>
                    <a:pt x="26" y="342"/>
                  </a:lnTo>
                  <a:lnTo>
                    <a:pt x="37" y="325"/>
                  </a:lnTo>
                  <a:lnTo>
                    <a:pt x="38" y="308"/>
                  </a:lnTo>
                  <a:lnTo>
                    <a:pt x="38" y="292"/>
                  </a:lnTo>
                  <a:lnTo>
                    <a:pt x="20" y="220"/>
                  </a:lnTo>
                  <a:lnTo>
                    <a:pt x="19" y="210"/>
                  </a:lnTo>
                  <a:lnTo>
                    <a:pt x="33" y="214"/>
                  </a:lnTo>
                  <a:lnTo>
                    <a:pt x="49" y="210"/>
                  </a:lnTo>
                  <a:lnTo>
                    <a:pt x="65" y="213"/>
                  </a:lnTo>
                  <a:lnTo>
                    <a:pt x="73" y="210"/>
                  </a:lnTo>
                  <a:lnTo>
                    <a:pt x="79" y="204"/>
                  </a:lnTo>
                  <a:lnTo>
                    <a:pt x="86" y="208"/>
                  </a:lnTo>
                  <a:lnTo>
                    <a:pt x="94" y="207"/>
                  </a:lnTo>
                  <a:lnTo>
                    <a:pt x="91" y="193"/>
                  </a:lnTo>
                  <a:lnTo>
                    <a:pt x="97" y="190"/>
                  </a:lnTo>
                  <a:lnTo>
                    <a:pt x="106" y="190"/>
                  </a:lnTo>
                  <a:lnTo>
                    <a:pt x="111" y="183"/>
                  </a:lnTo>
                  <a:lnTo>
                    <a:pt x="118" y="179"/>
                  </a:lnTo>
                  <a:lnTo>
                    <a:pt x="125" y="182"/>
                  </a:lnTo>
                  <a:lnTo>
                    <a:pt x="130" y="188"/>
                  </a:lnTo>
                  <a:lnTo>
                    <a:pt x="138" y="192"/>
                  </a:lnTo>
                  <a:lnTo>
                    <a:pt x="145" y="190"/>
                  </a:lnTo>
                  <a:lnTo>
                    <a:pt x="144" y="181"/>
                  </a:lnTo>
                  <a:lnTo>
                    <a:pt x="139" y="175"/>
                  </a:lnTo>
                  <a:lnTo>
                    <a:pt x="135" y="167"/>
                  </a:lnTo>
                  <a:lnTo>
                    <a:pt x="137" y="160"/>
                  </a:lnTo>
                  <a:lnTo>
                    <a:pt x="145" y="147"/>
                  </a:lnTo>
                  <a:lnTo>
                    <a:pt x="145" y="138"/>
                  </a:lnTo>
                  <a:lnTo>
                    <a:pt x="148" y="129"/>
                  </a:lnTo>
                  <a:lnTo>
                    <a:pt x="148" y="122"/>
                  </a:lnTo>
                  <a:lnTo>
                    <a:pt x="149" y="113"/>
                  </a:lnTo>
                  <a:lnTo>
                    <a:pt x="156" y="110"/>
                  </a:lnTo>
                  <a:lnTo>
                    <a:pt x="165" y="107"/>
                  </a:lnTo>
                  <a:lnTo>
                    <a:pt x="170" y="102"/>
                  </a:lnTo>
                  <a:lnTo>
                    <a:pt x="177" y="99"/>
                  </a:lnTo>
                  <a:lnTo>
                    <a:pt x="191" y="99"/>
                  </a:lnTo>
                  <a:lnTo>
                    <a:pt x="199" y="80"/>
                  </a:lnTo>
                  <a:lnTo>
                    <a:pt x="192" y="77"/>
                  </a:lnTo>
                  <a:lnTo>
                    <a:pt x="183" y="77"/>
                  </a:lnTo>
                  <a:lnTo>
                    <a:pt x="183" y="69"/>
                  </a:lnTo>
                  <a:lnTo>
                    <a:pt x="183" y="61"/>
                  </a:lnTo>
                  <a:lnTo>
                    <a:pt x="191" y="57"/>
                  </a:lnTo>
                  <a:lnTo>
                    <a:pt x="197" y="51"/>
                  </a:lnTo>
                  <a:lnTo>
                    <a:pt x="195" y="50"/>
                  </a:lnTo>
                  <a:lnTo>
                    <a:pt x="195" y="48"/>
                  </a:lnTo>
                  <a:lnTo>
                    <a:pt x="204" y="50"/>
                  </a:lnTo>
                  <a:lnTo>
                    <a:pt x="210" y="46"/>
                  </a:lnTo>
                  <a:lnTo>
                    <a:pt x="213" y="37"/>
                  </a:lnTo>
                  <a:lnTo>
                    <a:pt x="219" y="32"/>
                  </a:lnTo>
                  <a:lnTo>
                    <a:pt x="235" y="39"/>
                  </a:lnTo>
                  <a:lnTo>
                    <a:pt x="242" y="37"/>
                  </a:lnTo>
                  <a:lnTo>
                    <a:pt x="253" y="25"/>
                  </a:lnTo>
                  <a:lnTo>
                    <a:pt x="254" y="16"/>
                  </a:lnTo>
                  <a:lnTo>
                    <a:pt x="267" y="5"/>
                  </a:lnTo>
                  <a:lnTo>
                    <a:pt x="273" y="0"/>
                  </a:lnTo>
                  <a:lnTo>
                    <a:pt x="284" y="0"/>
                  </a:lnTo>
                  <a:lnTo>
                    <a:pt x="286" y="8"/>
                  </a:lnTo>
                  <a:lnTo>
                    <a:pt x="302" y="5"/>
                  </a:lnTo>
                  <a:lnTo>
                    <a:pt x="310" y="8"/>
                  </a:lnTo>
                  <a:lnTo>
                    <a:pt x="313" y="15"/>
                  </a:lnTo>
                  <a:lnTo>
                    <a:pt x="329" y="13"/>
                  </a:lnTo>
                  <a:lnTo>
                    <a:pt x="338" y="14"/>
                  </a:lnTo>
                  <a:lnTo>
                    <a:pt x="350" y="24"/>
                  </a:lnTo>
                  <a:lnTo>
                    <a:pt x="348" y="43"/>
                  </a:lnTo>
                  <a:lnTo>
                    <a:pt x="363" y="35"/>
                  </a:lnTo>
                  <a:lnTo>
                    <a:pt x="370" y="34"/>
                  </a:lnTo>
                  <a:lnTo>
                    <a:pt x="376" y="29"/>
                  </a:lnTo>
                  <a:lnTo>
                    <a:pt x="392" y="27"/>
                  </a:lnTo>
                  <a:lnTo>
                    <a:pt x="399" y="29"/>
                  </a:lnTo>
                  <a:lnTo>
                    <a:pt x="407" y="34"/>
                  </a:lnTo>
                  <a:lnTo>
                    <a:pt x="413" y="39"/>
                  </a:lnTo>
                  <a:lnTo>
                    <a:pt x="422" y="52"/>
                  </a:lnTo>
                  <a:lnTo>
                    <a:pt x="430" y="53"/>
                  </a:lnTo>
                  <a:lnTo>
                    <a:pt x="431" y="64"/>
                  </a:lnTo>
                  <a:lnTo>
                    <a:pt x="429" y="73"/>
                  </a:lnTo>
                  <a:lnTo>
                    <a:pt x="429" y="80"/>
                  </a:lnTo>
                  <a:lnTo>
                    <a:pt x="434" y="88"/>
                  </a:lnTo>
                  <a:lnTo>
                    <a:pt x="436" y="95"/>
                  </a:lnTo>
                  <a:lnTo>
                    <a:pt x="435" y="102"/>
                  </a:lnTo>
                  <a:lnTo>
                    <a:pt x="433" y="110"/>
                  </a:lnTo>
                  <a:lnTo>
                    <a:pt x="426" y="116"/>
                  </a:lnTo>
                  <a:lnTo>
                    <a:pt x="424" y="123"/>
                  </a:lnTo>
                  <a:lnTo>
                    <a:pt x="426" y="131"/>
                  </a:lnTo>
                  <a:lnTo>
                    <a:pt x="437" y="143"/>
                  </a:lnTo>
                  <a:lnTo>
                    <a:pt x="442" y="158"/>
                  </a:lnTo>
                  <a:lnTo>
                    <a:pt x="453" y="180"/>
                  </a:lnTo>
                  <a:lnTo>
                    <a:pt x="458" y="186"/>
                  </a:lnTo>
                  <a:lnTo>
                    <a:pt x="473" y="195"/>
                  </a:lnTo>
                  <a:lnTo>
                    <a:pt x="478" y="201"/>
                  </a:lnTo>
                  <a:lnTo>
                    <a:pt x="479" y="209"/>
                  </a:lnTo>
                  <a:lnTo>
                    <a:pt x="478" y="217"/>
                  </a:lnTo>
                  <a:lnTo>
                    <a:pt x="482" y="224"/>
                  </a:lnTo>
                  <a:lnTo>
                    <a:pt x="505" y="222"/>
                  </a:lnTo>
                  <a:lnTo>
                    <a:pt x="511" y="226"/>
                  </a:lnTo>
                  <a:lnTo>
                    <a:pt x="519" y="229"/>
                  </a:lnTo>
                  <a:lnTo>
                    <a:pt x="516" y="236"/>
                  </a:lnTo>
                  <a:lnTo>
                    <a:pt x="521" y="242"/>
                  </a:lnTo>
                  <a:lnTo>
                    <a:pt x="531" y="244"/>
                  </a:lnTo>
                  <a:lnTo>
                    <a:pt x="532" y="257"/>
                  </a:lnTo>
                  <a:lnTo>
                    <a:pt x="525" y="263"/>
                  </a:lnTo>
                  <a:lnTo>
                    <a:pt x="521" y="269"/>
                  </a:lnTo>
                  <a:lnTo>
                    <a:pt x="509" y="279"/>
                  </a:lnTo>
                  <a:lnTo>
                    <a:pt x="501" y="284"/>
                  </a:lnTo>
                  <a:lnTo>
                    <a:pt x="484" y="282"/>
                  </a:lnTo>
                  <a:lnTo>
                    <a:pt x="472" y="272"/>
                  </a:lnTo>
                  <a:lnTo>
                    <a:pt x="465" y="271"/>
                  </a:lnTo>
                  <a:lnTo>
                    <a:pt x="457" y="274"/>
                  </a:lnTo>
                  <a:lnTo>
                    <a:pt x="456" y="282"/>
                  </a:lnTo>
                  <a:lnTo>
                    <a:pt x="449" y="285"/>
                  </a:lnTo>
                  <a:lnTo>
                    <a:pt x="450" y="294"/>
                  </a:lnTo>
                  <a:lnTo>
                    <a:pt x="461" y="304"/>
                  </a:lnTo>
                  <a:lnTo>
                    <a:pt x="463" y="311"/>
                  </a:lnTo>
                  <a:lnTo>
                    <a:pt x="461" y="320"/>
                  </a:lnTo>
                  <a:lnTo>
                    <a:pt x="466" y="325"/>
                  </a:lnTo>
                  <a:lnTo>
                    <a:pt x="465" y="333"/>
                  </a:lnTo>
                  <a:lnTo>
                    <a:pt x="472" y="337"/>
                  </a:lnTo>
                  <a:lnTo>
                    <a:pt x="474" y="344"/>
                  </a:lnTo>
                  <a:lnTo>
                    <a:pt x="473" y="353"/>
                  </a:lnTo>
                  <a:lnTo>
                    <a:pt x="478" y="375"/>
                  </a:lnTo>
                  <a:lnTo>
                    <a:pt x="458" y="375"/>
                  </a:lnTo>
                  <a:lnTo>
                    <a:pt x="451" y="380"/>
                  </a:lnTo>
                  <a:lnTo>
                    <a:pt x="442" y="380"/>
                  </a:lnTo>
                  <a:lnTo>
                    <a:pt x="435" y="384"/>
                  </a:lnTo>
                  <a:lnTo>
                    <a:pt x="417" y="401"/>
                  </a:lnTo>
                  <a:lnTo>
                    <a:pt x="414" y="409"/>
                  </a:lnTo>
                  <a:lnTo>
                    <a:pt x="414" y="418"/>
                  </a:lnTo>
                  <a:lnTo>
                    <a:pt x="412" y="427"/>
                  </a:lnTo>
                  <a:lnTo>
                    <a:pt x="414" y="443"/>
                  </a:lnTo>
                  <a:lnTo>
                    <a:pt x="410" y="450"/>
                  </a:lnTo>
                  <a:lnTo>
                    <a:pt x="402" y="452"/>
                  </a:lnTo>
                  <a:lnTo>
                    <a:pt x="397" y="446"/>
                  </a:lnTo>
                  <a:lnTo>
                    <a:pt x="390" y="443"/>
                  </a:lnTo>
                  <a:lnTo>
                    <a:pt x="381" y="443"/>
                  </a:lnTo>
                  <a:lnTo>
                    <a:pt x="365" y="445"/>
                  </a:lnTo>
                  <a:lnTo>
                    <a:pt x="356" y="445"/>
                  </a:lnTo>
                  <a:lnTo>
                    <a:pt x="349" y="450"/>
                  </a:lnTo>
                  <a:lnTo>
                    <a:pt x="343" y="444"/>
                  </a:lnTo>
                  <a:lnTo>
                    <a:pt x="339" y="436"/>
                  </a:lnTo>
                  <a:lnTo>
                    <a:pt x="327" y="427"/>
                  </a:lnTo>
                  <a:lnTo>
                    <a:pt x="310" y="445"/>
                  </a:lnTo>
                  <a:lnTo>
                    <a:pt x="302" y="440"/>
                  </a:lnTo>
                  <a:lnTo>
                    <a:pt x="297" y="433"/>
                  </a:lnTo>
                  <a:lnTo>
                    <a:pt x="290" y="435"/>
                  </a:lnTo>
                  <a:lnTo>
                    <a:pt x="281" y="433"/>
                  </a:lnTo>
                  <a:lnTo>
                    <a:pt x="275" y="428"/>
                  </a:lnTo>
                  <a:lnTo>
                    <a:pt x="269" y="434"/>
                  </a:lnTo>
                  <a:lnTo>
                    <a:pt x="261" y="434"/>
                  </a:lnTo>
                  <a:lnTo>
                    <a:pt x="253" y="436"/>
                  </a:lnTo>
                  <a:lnTo>
                    <a:pt x="247" y="443"/>
                  </a:lnTo>
                  <a:lnTo>
                    <a:pt x="240" y="436"/>
                  </a:lnTo>
                  <a:lnTo>
                    <a:pt x="238" y="428"/>
                  </a:lnTo>
                  <a:lnTo>
                    <a:pt x="223" y="429"/>
                  </a:lnTo>
                  <a:lnTo>
                    <a:pt x="216" y="424"/>
                  </a:lnTo>
                  <a:lnTo>
                    <a:pt x="215" y="416"/>
                  </a:lnTo>
                  <a:lnTo>
                    <a:pt x="208" y="412"/>
                  </a:lnTo>
                  <a:lnTo>
                    <a:pt x="199" y="409"/>
                  </a:lnTo>
                  <a:lnTo>
                    <a:pt x="193" y="406"/>
                  </a:lnTo>
                  <a:lnTo>
                    <a:pt x="184" y="407"/>
                  </a:lnTo>
                  <a:lnTo>
                    <a:pt x="176" y="406"/>
                  </a:lnTo>
                  <a:lnTo>
                    <a:pt x="160" y="401"/>
                  </a:lnTo>
                  <a:lnTo>
                    <a:pt x="146" y="392"/>
                  </a:lnTo>
                  <a:lnTo>
                    <a:pt x="138" y="395"/>
                  </a:lnTo>
                  <a:lnTo>
                    <a:pt x="121" y="394"/>
                  </a:lnTo>
                  <a:lnTo>
                    <a:pt x="113" y="391"/>
                  </a:lnTo>
                  <a:lnTo>
                    <a:pt x="71" y="397"/>
                  </a:lnTo>
                  <a:lnTo>
                    <a:pt x="64" y="401"/>
                  </a:lnTo>
                  <a:lnTo>
                    <a:pt x="62" y="408"/>
                  </a:lnTo>
                  <a:lnTo>
                    <a:pt x="55" y="414"/>
                  </a:lnTo>
                  <a:lnTo>
                    <a:pt x="41" y="422"/>
                  </a:lnTo>
                  <a:lnTo>
                    <a:pt x="32" y="421"/>
                  </a:lnTo>
                  <a:lnTo>
                    <a:pt x="24" y="422"/>
                  </a:lnTo>
                  <a:lnTo>
                    <a:pt x="17" y="428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grpSp>
          <p:nvGrpSpPr>
            <p:cNvPr id="50" name="Group 204">
              <a:extLst>
                <a:ext uri="{FF2B5EF4-FFF2-40B4-BE49-F238E27FC236}">
                  <a16:creationId xmlns:a16="http://schemas.microsoft.com/office/drawing/2014/main" id="{B06D0F9E-E95D-E1B6-3F41-50DB22F960D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660526" y="2046575"/>
              <a:ext cx="76597" cy="76101"/>
              <a:chOff x="2688" y="1930"/>
              <a:chExt cx="43" cy="43"/>
            </a:xfrm>
            <a:grpFill/>
          </p:grpSpPr>
          <p:sp>
            <p:nvSpPr>
              <p:cNvPr id="75" name="Freeform 205">
                <a:extLst>
                  <a:ext uri="{FF2B5EF4-FFF2-40B4-BE49-F238E27FC236}">
                    <a16:creationId xmlns:a16="http://schemas.microsoft.com/office/drawing/2014/main" id="{0E0DCBE9-310F-761B-5D0E-3C756B4D665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688" y="1930"/>
                <a:ext cx="43" cy="43"/>
              </a:xfrm>
              <a:custGeom>
                <a:avLst/>
                <a:gdLst>
                  <a:gd name="T0" fmla="*/ 6 w 215"/>
                  <a:gd name="T1" fmla="*/ 8 h 216"/>
                  <a:gd name="T2" fmla="*/ 5 w 215"/>
                  <a:gd name="T3" fmla="*/ 8 h 216"/>
                  <a:gd name="T4" fmla="*/ 5 w 215"/>
                  <a:gd name="T5" fmla="*/ 7 h 216"/>
                  <a:gd name="T6" fmla="*/ 4 w 215"/>
                  <a:gd name="T7" fmla="*/ 7 h 216"/>
                  <a:gd name="T8" fmla="*/ 3 w 215"/>
                  <a:gd name="T9" fmla="*/ 6 h 216"/>
                  <a:gd name="T10" fmla="*/ 2 w 215"/>
                  <a:gd name="T11" fmla="*/ 5 h 216"/>
                  <a:gd name="T12" fmla="*/ 1 w 215"/>
                  <a:gd name="T13" fmla="*/ 4 h 216"/>
                  <a:gd name="T14" fmla="*/ 1 w 215"/>
                  <a:gd name="T15" fmla="*/ 3 h 216"/>
                  <a:gd name="T16" fmla="*/ 1 w 215"/>
                  <a:gd name="T17" fmla="*/ 2 h 216"/>
                  <a:gd name="T18" fmla="*/ 0 w 215"/>
                  <a:gd name="T19" fmla="*/ 2 h 216"/>
                  <a:gd name="T20" fmla="*/ 0 w 215"/>
                  <a:gd name="T21" fmla="*/ 1 h 216"/>
                  <a:gd name="T22" fmla="*/ 0 w 215"/>
                  <a:gd name="T23" fmla="*/ 0 h 216"/>
                  <a:gd name="T24" fmla="*/ 1 w 215"/>
                  <a:gd name="T25" fmla="*/ 1 h 216"/>
                  <a:gd name="T26" fmla="*/ 2 w 215"/>
                  <a:gd name="T27" fmla="*/ 0 h 216"/>
                  <a:gd name="T28" fmla="*/ 3 w 215"/>
                  <a:gd name="T29" fmla="*/ 0 h 216"/>
                  <a:gd name="T30" fmla="*/ 4 w 215"/>
                  <a:gd name="T31" fmla="*/ 0 h 216"/>
                  <a:gd name="T32" fmla="*/ 4 w 215"/>
                  <a:gd name="T33" fmla="*/ 0 h 216"/>
                  <a:gd name="T34" fmla="*/ 5 w 215"/>
                  <a:gd name="T35" fmla="*/ 0 h 216"/>
                  <a:gd name="T36" fmla="*/ 5 w 215"/>
                  <a:gd name="T37" fmla="*/ 1 h 216"/>
                  <a:gd name="T38" fmla="*/ 6 w 215"/>
                  <a:gd name="T39" fmla="*/ 1 h 216"/>
                  <a:gd name="T40" fmla="*/ 6 w 215"/>
                  <a:gd name="T41" fmla="*/ 1 h 216"/>
                  <a:gd name="T42" fmla="*/ 7 w 215"/>
                  <a:gd name="T43" fmla="*/ 1 h 216"/>
                  <a:gd name="T44" fmla="*/ 7 w 215"/>
                  <a:gd name="T45" fmla="*/ 1 h 216"/>
                  <a:gd name="T46" fmla="*/ 8 w 215"/>
                  <a:gd name="T47" fmla="*/ 1 h 216"/>
                  <a:gd name="T48" fmla="*/ 8 w 215"/>
                  <a:gd name="T49" fmla="*/ 2 h 216"/>
                  <a:gd name="T50" fmla="*/ 8 w 215"/>
                  <a:gd name="T51" fmla="*/ 3 h 216"/>
                  <a:gd name="T52" fmla="*/ 8 w 215"/>
                  <a:gd name="T53" fmla="*/ 3 h 216"/>
                  <a:gd name="T54" fmla="*/ 8 w 215"/>
                  <a:gd name="T55" fmla="*/ 3 h 216"/>
                  <a:gd name="T56" fmla="*/ 8 w 215"/>
                  <a:gd name="T57" fmla="*/ 3 h 216"/>
                  <a:gd name="T58" fmla="*/ 8 w 215"/>
                  <a:gd name="T59" fmla="*/ 4 h 216"/>
                  <a:gd name="T60" fmla="*/ 8 w 215"/>
                  <a:gd name="T61" fmla="*/ 4 h 216"/>
                  <a:gd name="T62" fmla="*/ 8 w 215"/>
                  <a:gd name="T63" fmla="*/ 4 h 216"/>
                  <a:gd name="T64" fmla="*/ 8 w 215"/>
                  <a:gd name="T65" fmla="*/ 4 h 216"/>
                  <a:gd name="T66" fmla="*/ 8 w 215"/>
                  <a:gd name="T67" fmla="*/ 5 h 216"/>
                  <a:gd name="T68" fmla="*/ 8 w 215"/>
                  <a:gd name="T69" fmla="*/ 5 h 216"/>
                  <a:gd name="T70" fmla="*/ 8 w 215"/>
                  <a:gd name="T71" fmla="*/ 5 h 216"/>
                  <a:gd name="T72" fmla="*/ 7 w 215"/>
                  <a:gd name="T73" fmla="*/ 5 h 216"/>
                  <a:gd name="T74" fmla="*/ 7 w 215"/>
                  <a:gd name="T75" fmla="*/ 5 h 216"/>
                  <a:gd name="T76" fmla="*/ 7 w 215"/>
                  <a:gd name="T77" fmla="*/ 6 h 216"/>
                  <a:gd name="T78" fmla="*/ 7 w 215"/>
                  <a:gd name="T79" fmla="*/ 6 h 216"/>
                  <a:gd name="T80" fmla="*/ 7 w 215"/>
                  <a:gd name="T81" fmla="*/ 6 h 216"/>
                  <a:gd name="T82" fmla="*/ 7 w 215"/>
                  <a:gd name="T83" fmla="*/ 6 h 216"/>
                  <a:gd name="T84" fmla="*/ 6 w 215"/>
                  <a:gd name="T85" fmla="*/ 7 h 216"/>
                  <a:gd name="T86" fmla="*/ 6 w 215"/>
                  <a:gd name="T87" fmla="*/ 7 h 216"/>
                  <a:gd name="T88" fmla="*/ 6 w 215"/>
                  <a:gd name="T89" fmla="*/ 8 h 216"/>
                  <a:gd name="T90" fmla="*/ 6 w 215"/>
                  <a:gd name="T91" fmla="*/ 8 h 21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215"/>
                  <a:gd name="T139" fmla="*/ 0 h 216"/>
                  <a:gd name="T140" fmla="*/ 215 w 215"/>
                  <a:gd name="T141" fmla="*/ 216 h 21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215" h="216">
                    <a:moveTo>
                      <a:pt x="149" y="216"/>
                    </a:moveTo>
                    <a:lnTo>
                      <a:pt x="149" y="208"/>
                    </a:lnTo>
                    <a:lnTo>
                      <a:pt x="145" y="208"/>
                    </a:lnTo>
                    <a:lnTo>
                      <a:pt x="146" y="203"/>
                    </a:lnTo>
                    <a:lnTo>
                      <a:pt x="137" y="202"/>
                    </a:lnTo>
                    <a:lnTo>
                      <a:pt x="129" y="192"/>
                    </a:lnTo>
                    <a:lnTo>
                      <a:pt x="122" y="191"/>
                    </a:lnTo>
                    <a:lnTo>
                      <a:pt x="114" y="185"/>
                    </a:lnTo>
                    <a:lnTo>
                      <a:pt x="114" y="180"/>
                    </a:lnTo>
                    <a:lnTo>
                      <a:pt x="106" y="179"/>
                    </a:lnTo>
                    <a:lnTo>
                      <a:pt x="99" y="184"/>
                    </a:lnTo>
                    <a:lnTo>
                      <a:pt x="98" y="179"/>
                    </a:lnTo>
                    <a:lnTo>
                      <a:pt x="105" y="175"/>
                    </a:lnTo>
                    <a:lnTo>
                      <a:pt x="83" y="151"/>
                    </a:lnTo>
                    <a:lnTo>
                      <a:pt x="82" y="140"/>
                    </a:lnTo>
                    <a:lnTo>
                      <a:pt x="77" y="136"/>
                    </a:lnTo>
                    <a:lnTo>
                      <a:pt x="72" y="133"/>
                    </a:lnTo>
                    <a:lnTo>
                      <a:pt x="52" y="114"/>
                    </a:lnTo>
                    <a:lnTo>
                      <a:pt x="51" y="109"/>
                    </a:lnTo>
                    <a:lnTo>
                      <a:pt x="41" y="95"/>
                    </a:lnTo>
                    <a:lnTo>
                      <a:pt x="35" y="93"/>
                    </a:lnTo>
                    <a:lnTo>
                      <a:pt x="27" y="81"/>
                    </a:lnTo>
                    <a:lnTo>
                      <a:pt x="22" y="79"/>
                    </a:lnTo>
                    <a:lnTo>
                      <a:pt x="23" y="73"/>
                    </a:lnTo>
                    <a:lnTo>
                      <a:pt x="25" y="71"/>
                    </a:lnTo>
                    <a:lnTo>
                      <a:pt x="22" y="65"/>
                    </a:lnTo>
                    <a:lnTo>
                      <a:pt x="22" y="60"/>
                    </a:lnTo>
                    <a:lnTo>
                      <a:pt x="16" y="54"/>
                    </a:lnTo>
                    <a:lnTo>
                      <a:pt x="12" y="41"/>
                    </a:lnTo>
                    <a:lnTo>
                      <a:pt x="7" y="40"/>
                    </a:lnTo>
                    <a:lnTo>
                      <a:pt x="0" y="34"/>
                    </a:lnTo>
                    <a:lnTo>
                      <a:pt x="0" y="31"/>
                    </a:lnTo>
                    <a:lnTo>
                      <a:pt x="3" y="29"/>
                    </a:lnTo>
                    <a:lnTo>
                      <a:pt x="2" y="25"/>
                    </a:lnTo>
                    <a:lnTo>
                      <a:pt x="2" y="6"/>
                    </a:lnTo>
                    <a:lnTo>
                      <a:pt x="8" y="0"/>
                    </a:lnTo>
                    <a:lnTo>
                      <a:pt x="17" y="2"/>
                    </a:lnTo>
                    <a:lnTo>
                      <a:pt x="17" y="4"/>
                    </a:lnTo>
                    <a:lnTo>
                      <a:pt x="30" y="19"/>
                    </a:lnTo>
                    <a:lnTo>
                      <a:pt x="34" y="19"/>
                    </a:lnTo>
                    <a:lnTo>
                      <a:pt x="43" y="2"/>
                    </a:lnTo>
                    <a:lnTo>
                      <a:pt x="61" y="4"/>
                    </a:lnTo>
                    <a:lnTo>
                      <a:pt x="65" y="0"/>
                    </a:lnTo>
                    <a:lnTo>
                      <a:pt x="67" y="0"/>
                    </a:lnTo>
                    <a:lnTo>
                      <a:pt x="79" y="8"/>
                    </a:lnTo>
                    <a:lnTo>
                      <a:pt x="83" y="8"/>
                    </a:lnTo>
                    <a:lnTo>
                      <a:pt x="86" y="6"/>
                    </a:lnTo>
                    <a:lnTo>
                      <a:pt x="89" y="9"/>
                    </a:lnTo>
                    <a:lnTo>
                      <a:pt x="104" y="12"/>
                    </a:lnTo>
                    <a:lnTo>
                      <a:pt x="105" y="9"/>
                    </a:lnTo>
                    <a:lnTo>
                      <a:pt x="108" y="9"/>
                    </a:lnTo>
                    <a:lnTo>
                      <a:pt x="116" y="17"/>
                    </a:lnTo>
                    <a:lnTo>
                      <a:pt x="119" y="17"/>
                    </a:lnTo>
                    <a:lnTo>
                      <a:pt x="125" y="9"/>
                    </a:lnTo>
                    <a:lnTo>
                      <a:pt x="129" y="9"/>
                    </a:lnTo>
                    <a:lnTo>
                      <a:pt x="132" y="14"/>
                    </a:lnTo>
                    <a:lnTo>
                      <a:pt x="135" y="16"/>
                    </a:lnTo>
                    <a:lnTo>
                      <a:pt x="137" y="11"/>
                    </a:lnTo>
                    <a:lnTo>
                      <a:pt x="148" y="12"/>
                    </a:lnTo>
                    <a:lnTo>
                      <a:pt x="152" y="18"/>
                    </a:lnTo>
                    <a:lnTo>
                      <a:pt x="154" y="17"/>
                    </a:lnTo>
                    <a:lnTo>
                      <a:pt x="154" y="14"/>
                    </a:lnTo>
                    <a:lnTo>
                      <a:pt x="162" y="14"/>
                    </a:lnTo>
                    <a:lnTo>
                      <a:pt x="168" y="22"/>
                    </a:lnTo>
                    <a:lnTo>
                      <a:pt x="167" y="27"/>
                    </a:lnTo>
                    <a:lnTo>
                      <a:pt x="167" y="28"/>
                    </a:lnTo>
                    <a:lnTo>
                      <a:pt x="173" y="33"/>
                    </a:lnTo>
                    <a:lnTo>
                      <a:pt x="180" y="33"/>
                    </a:lnTo>
                    <a:lnTo>
                      <a:pt x="186" y="28"/>
                    </a:lnTo>
                    <a:lnTo>
                      <a:pt x="199" y="28"/>
                    </a:lnTo>
                    <a:lnTo>
                      <a:pt x="201" y="31"/>
                    </a:lnTo>
                    <a:lnTo>
                      <a:pt x="200" y="35"/>
                    </a:lnTo>
                    <a:lnTo>
                      <a:pt x="200" y="39"/>
                    </a:lnTo>
                    <a:lnTo>
                      <a:pt x="195" y="46"/>
                    </a:lnTo>
                    <a:lnTo>
                      <a:pt x="190" y="57"/>
                    </a:lnTo>
                    <a:lnTo>
                      <a:pt x="188" y="59"/>
                    </a:lnTo>
                    <a:lnTo>
                      <a:pt x="188" y="61"/>
                    </a:lnTo>
                    <a:lnTo>
                      <a:pt x="189" y="63"/>
                    </a:lnTo>
                    <a:lnTo>
                      <a:pt x="185" y="68"/>
                    </a:lnTo>
                    <a:lnTo>
                      <a:pt x="188" y="76"/>
                    </a:lnTo>
                    <a:lnTo>
                      <a:pt x="191" y="76"/>
                    </a:lnTo>
                    <a:lnTo>
                      <a:pt x="194" y="78"/>
                    </a:lnTo>
                    <a:lnTo>
                      <a:pt x="197" y="77"/>
                    </a:lnTo>
                    <a:lnTo>
                      <a:pt x="199" y="79"/>
                    </a:lnTo>
                    <a:lnTo>
                      <a:pt x="200" y="83"/>
                    </a:lnTo>
                    <a:lnTo>
                      <a:pt x="203" y="87"/>
                    </a:lnTo>
                    <a:lnTo>
                      <a:pt x="207" y="87"/>
                    </a:lnTo>
                    <a:lnTo>
                      <a:pt x="207" y="88"/>
                    </a:lnTo>
                    <a:lnTo>
                      <a:pt x="207" y="90"/>
                    </a:lnTo>
                    <a:lnTo>
                      <a:pt x="212" y="93"/>
                    </a:lnTo>
                    <a:lnTo>
                      <a:pt x="215" y="94"/>
                    </a:lnTo>
                    <a:lnTo>
                      <a:pt x="215" y="97"/>
                    </a:lnTo>
                    <a:lnTo>
                      <a:pt x="211" y="102"/>
                    </a:lnTo>
                    <a:lnTo>
                      <a:pt x="202" y="102"/>
                    </a:lnTo>
                    <a:lnTo>
                      <a:pt x="197" y="98"/>
                    </a:lnTo>
                    <a:lnTo>
                      <a:pt x="195" y="98"/>
                    </a:lnTo>
                    <a:lnTo>
                      <a:pt x="194" y="100"/>
                    </a:lnTo>
                    <a:lnTo>
                      <a:pt x="195" y="102"/>
                    </a:lnTo>
                    <a:lnTo>
                      <a:pt x="201" y="109"/>
                    </a:lnTo>
                    <a:lnTo>
                      <a:pt x="207" y="117"/>
                    </a:lnTo>
                    <a:lnTo>
                      <a:pt x="210" y="119"/>
                    </a:lnTo>
                    <a:lnTo>
                      <a:pt x="208" y="126"/>
                    </a:lnTo>
                    <a:lnTo>
                      <a:pt x="207" y="129"/>
                    </a:lnTo>
                    <a:lnTo>
                      <a:pt x="205" y="130"/>
                    </a:lnTo>
                    <a:lnTo>
                      <a:pt x="202" y="129"/>
                    </a:lnTo>
                    <a:lnTo>
                      <a:pt x="200" y="129"/>
                    </a:lnTo>
                    <a:lnTo>
                      <a:pt x="197" y="132"/>
                    </a:lnTo>
                    <a:lnTo>
                      <a:pt x="192" y="135"/>
                    </a:lnTo>
                    <a:lnTo>
                      <a:pt x="189" y="135"/>
                    </a:lnTo>
                    <a:lnTo>
                      <a:pt x="186" y="136"/>
                    </a:lnTo>
                    <a:lnTo>
                      <a:pt x="184" y="136"/>
                    </a:lnTo>
                    <a:lnTo>
                      <a:pt x="183" y="133"/>
                    </a:lnTo>
                    <a:lnTo>
                      <a:pt x="180" y="133"/>
                    </a:lnTo>
                    <a:lnTo>
                      <a:pt x="176" y="137"/>
                    </a:lnTo>
                    <a:lnTo>
                      <a:pt x="178" y="140"/>
                    </a:lnTo>
                    <a:lnTo>
                      <a:pt x="181" y="141"/>
                    </a:lnTo>
                    <a:lnTo>
                      <a:pt x="183" y="146"/>
                    </a:lnTo>
                    <a:lnTo>
                      <a:pt x="184" y="149"/>
                    </a:lnTo>
                    <a:lnTo>
                      <a:pt x="184" y="154"/>
                    </a:lnTo>
                    <a:lnTo>
                      <a:pt x="183" y="157"/>
                    </a:lnTo>
                    <a:lnTo>
                      <a:pt x="180" y="157"/>
                    </a:lnTo>
                    <a:lnTo>
                      <a:pt x="179" y="154"/>
                    </a:lnTo>
                    <a:lnTo>
                      <a:pt x="178" y="149"/>
                    </a:lnTo>
                    <a:lnTo>
                      <a:pt x="175" y="148"/>
                    </a:lnTo>
                    <a:lnTo>
                      <a:pt x="172" y="148"/>
                    </a:lnTo>
                    <a:lnTo>
                      <a:pt x="163" y="156"/>
                    </a:lnTo>
                    <a:lnTo>
                      <a:pt x="162" y="160"/>
                    </a:lnTo>
                    <a:lnTo>
                      <a:pt x="160" y="163"/>
                    </a:lnTo>
                    <a:lnTo>
                      <a:pt x="160" y="170"/>
                    </a:lnTo>
                    <a:lnTo>
                      <a:pt x="158" y="173"/>
                    </a:lnTo>
                    <a:lnTo>
                      <a:pt x="153" y="173"/>
                    </a:lnTo>
                    <a:lnTo>
                      <a:pt x="151" y="175"/>
                    </a:lnTo>
                    <a:lnTo>
                      <a:pt x="151" y="184"/>
                    </a:lnTo>
                    <a:lnTo>
                      <a:pt x="149" y="185"/>
                    </a:lnTo>
                    <a:lnTo>
                      <a:pt x="149" y="189"/>
                    </a:lnTo>
                    <a:lnTo>
                      <a:pt x="152" y="194"/>
                    </a:lnTo>
                    <a:lnTo>
                      <a:pt x="154" y="196"/>
                    </a:lnTo>
                    <a:lnTo>
                      <a:pt x="154" y="201"/>
                    </a:lnTo>
                    <a:lnTo>
                      <a:pt x="149" y="208"/>
                    </a:lnTo>
                    <a:lnTo>
                      <a:pt x="149" y="21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76" name="Freeform 206">
                <a:extLst>
                  <a:ext uri="{FF2B5EF4-FFF2-40B4-BE49-F238E27FC236}">
                    <a16:creationId xmlns:a16="http://schemas.microsoft.com/office/drawing/2014/main" id="{DC200E50-A1C6-72F4-BA9A-87A201F6EB0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703" y="1965"/>
                <a:ext cx="15" cy="8"/>
              </a:xfrm>
              <a:custGeom>
                <a:avLst/>
                <a:gdLst>
                  <a:gd name="T0" fmla="*/ 3 w 75"/>
                  <a:gd name="T1" fmla="*/ 2 h 42"/>
                  <a:gd name="T2" fmla="*/ 2 w 75"/>
                  <a:gd name="T3" fmla="*/ 1 h 42"/>
                  <a:gd name="T4" fmla="*/ 1 w 75"/>
                  <a:gd name="T5" fmla="*/ 1 h 42"/>
                  <a:gd name="T6" fmla="*/ 1 w 75"/>
                  <a:gd name="T7" fmla="*/ 0 h 42"/>
                  <a:gd name="T8" fmla="*/ 0 w 75"/>
                  <a:gd name="T9" fmla="*/ 0 h 42"/>
                  <a:gd name="T10" fmla="*/ 0 w 75"/>
                  <a:gd name="T11" fmla="*/ 0 h 42"/>
                  <a:gd name="T12" fmla="*/ 1 w 75"/>
                  <a:gd name="T13" fmla="*/ 0 h 42"/>
                  <a:gd name="T14" fmla="*/ 1 w 75"/>
                  <a:gd name="T15" fmla="*/ 0 h 42"/>
                  <a:gd name="T16" fmla="*/ 1 w 75"/>
                  <a:gd name="T17" fmla="*/ 0 h 42"/>
                  <a:gd name="T18" fmla="*/ 1 w 75"/>
                  <a:gd name="T19" fmla="*/ 0 h 42"/>
                  <a:gd name="T20" fmla="*/ 2 w 75"/>
                  <a:gd name="T21" fmla="*/ 0 h 42"/>
                  <a:gd name="T22" fmla="*/ 2 w 75"/>
                  <a:gd name="T23" fmla="*/ 0 h 42"/>
                  <a:gd name="T24" fmla="*/ 2 w 75"/>
                  <a:gd name="T25" fmla="*/ 1 h 42"/>
                  <a:gd name="T26" fmla="*/ 2 w 75"/>
                  <a:gd name="T27" fmla="*/ 1 h 42"/>
                  <a:gd name="T28" fmla="*/ 3 w 75"/>
                  <a:gd name="T29" fmla="*/ 1 h 42"/>
                  <a:gd name="T30" fmla="*/ 3 w 75"/>
                  <a:gd name="T31" fmla="*/ 1 h 42"/>
                  <a:gd name="T32" fmla="*/ 3 w 75"/>
                  <a:gd name="T33" fmla="*/ 1 h 42"/>
                  <a:gd name="T34" fmla="*/ 3 w 75"/>
                  <a:gd name="T35" fmla="*/ 1 h 42"/>
                  <a:gd name="T36" fmla="*/ 3 w 75"/>
                  <a:gd name="T37" fmla="*/ 2 h 4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75"/>
                  <a:gd name="T58" fmla="*/ 0 h 42"/>
                  <a:gd name="T59" fmla="*/ 75 w 75"/>
                  <a:gd name="T60" fmla="*/ 42 h 42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75" h="42">
                    <a:moveTo>
                      <a:pt x="75" y="42"/>
                    </a:moveTo>
                    <a:lnTo>
                      <a:pt x="45" y="20"/>
                    </a:lnTo>
                    <a:lnTo>
                      <a:pt x="29" y="17"/>
                    </a:lnTo>
                    <a:lnTo>
                      <a:pt x="13" y="7"/>
                    </a:lnTo>
                    <a:lnTo>
                      <a:pt x="0" y="5"/>
                    </a:lnTo>
                    <a:lnTo>
                      <a:pt x="4" y="0"/>
                    </a:lnTo>
                    <a:lnTo>
                      <a:pt x="15" y="2"/>
                    </a:lnTo>
                    <a:lnTo>
                      <a:pt x="20" y="10"/>
                    </a:lnTo>
                    <a:lnTo>
                      <a:pt x="25" y="10"/>
                    </a:lnTo>
                    <a:lnTo>
                      <a:pt x="32" y="5"/>
                    </a:lnTo>
                    <a:lnTo>
                      <a:pt x="40" y="6"/>
                    </a:lnTo>
                    <a:lnTo>
                      <a:pt x="40" y="11"/>
                    </a:lnTo>
                    <a:lnTo>
                      <a:pt x="48" y="17"/>
                    </a:lnTo>
                    <a:lnTo>
                      <a:pt x="55" y="18"/>
                    </a:lnTo>
                    <a:lnTo>
                      <a:pt x="63" y="28"/>
                    </a:lnTo>
                    <a:lnTo>
                      <a:pt x="72" y="29"/>
                    </a:lnTo>
                    <a:lnTo>
                      <a:pt x="71" y="34"/>
                    </a:lnTo>
                    <a:lnTo>
                      <a:pt x="75" y="34"/>
                    </a:lnTo>
                    <a:lnTo>
                      <a:pt x="75" y="4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rgbClr val="77E2C3">
                    <a:lumMod val="40000"/>
                    <a:lumOff val="6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7789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sp>
          <p:nvSpPr>
            <p:cNvPr id="51" name="Freeform 207">
              <a:extLst>
                <a:ext uri="{FF2B5EF4-FFF2-40B4-BE49-F238E27FC236}">
                  <a16:creationId xmlns:a16="http://schemas.microsoft.com/office/drawing/2014/main" id="{4892314B-DBEE-5F95-A0EB-AF2A7DC8AD78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7261" y="2230034"/>
              <a:ext cx="43950" cy="46205"/>
            </a:xfrm>
            <a:custGeom>
              <a:avLst/>
              <a:gdLst>
                <a:gd name="T0" fmla="*/ 4350 w 128"/>
                <a:gd name="T1" fmla="*/ 0 h 131"/>
                <a:gd name="T2" fmla="*/ 3045 w 128"/>
                <a:gd name="T3" fmla="*/ 0 h 131"/>
                <a:gd name="T4" fmla="*/ 1740 w 128"/>
                <a:gd name="T5" fmla="*/ 816 h 131"/>
                <a:gd name="T6" fmla="*/ 1305 w 128"/>
                <a:gd name="T7" fmla="*/ 816 h 131"/>
                <a:gd name="T8" fmla="*/ 0 w 128"/>
                <a:gd name="T9" fmla="*/ 2448 h 131"/>
                <a:gd name="T10" fmla="*/ 0 w 128"/>
                <a:gd name="T11" fmla="*/ 2856 h 131"/>
                <a:gd name="T12" fmla="*/ 435 w 128"/>
                <a:gd name="T13" fmla="*/ 4081 h 131"/>
                <a:gd name="T14" fmla="*/ 1740 w 128"/>
                <a:gd name="T15" fmla="*/ 4897 h 131"/>
                <a:gd name="T16" fmla="*/ 2175 w 128"/>
                <a:gd name="T17" fmla="*/ 5713 h 131"/>
                <a:gd name="T18" fmla="*/ 1740 w 128"/>
                <a:gd name="T19" fmla="*/ 6937 h 131"/>
                <a:gd name="T20" fmla="*/ 2175 w 128"/>
                <a:gd name="T21" fmla="*/ 8161 h 131"/>
                <a:gd name="T22" fmla="*/ 2610 w 128"/>
                <a:gd name="T23" fmla="*/ 8569 h 131"/>
                <a:gd name="T24" fmla="*/ 3480 w 128"/>
                <a:gd name="T25" fmla="*/ 8569 h 131"/>
                <a:gd name="T26" fmla="*/ 3480 w 128"/>
                <a:gd name="T27" fmla="*/ 7753 h 131"/>
                <a:gd name="T28" fmla="*/ 4350 w 128"/>
                <a:gd name="T29" fmla="*/ 7345 h 131"/>
                <a:gd name="T30" fmla="*/ 4350 w 128"/>
                <a:gd name="T31" fmla="*/ 7753 h 131"/>
                <a:gd name="T32" fmla="*/ 5220 w 128"/>
                <a:gd name="T33" fmla="*/ 8161 h 131"/>
                <a:gd name="T34" fmla="*/ 5655 w 128"/>
                <a:gd name="T35" fmla="*/ 9793 h 131"/>
                <a:gd name="T36" fmla="*/ 5655 w 128"/>
                <a:gd name="T37" fmla="*/ 10610 h 131"/>
                <a:gd name="T38" fmla="*/ 6090 w 128"/>
                <a:gd name="T39" fmla="*/ 10610 h 131"/>
                <a:gd name="T40" fmla="*/ 6525 w 128"/>
                <a:gd name="T41" fmla="*/ 8977 h 131"/>
                <a:gd name="T42" fmla="*/ 7395 w 128"/>
                <a:gd name="T43" fmla="*/ 8569 h 131"/>
                <a:gd name="T44" fmla="*/ 7830 w 128"/>
                <a:gd name="T45" fmla="*/ 9385 h 131"/>
                <a:gd name="T46" fmla="*/ 8265 w 128"/>
                <a:gd name="T47" fmla="*/ 10202 h 131"/>
                <a:gd name="T48" fmla="*/ 9135 w 128"/>
                <a:gd name="T49" fmla="*/ 10610 h 131"/>
                <a:gd name="T50" fmla="*/ 9135 w 128"/>
                <a:gd name="T51" fmla="*/ 8569 h 131"/>
                <a:gd name="T52" fmla="*/ 8265 w 128"/>
                <a:gd name="T53" fmla="*/ 6121 h 131"/>
                <a:gd name="T54" fmla="*/ 7830 w 128"/>
                <a:gd name="T55" fmla="*/ 5305 h 131"/>
                <a:gd name="T56" fmla="*/ 7395 w 128"/>
                <a:gd name="T57" fmla="*/ 4489 h 131"/>
                <a:gd name="T58" fmla="*/ 9135 w 128"/>
                <a:gd name="T59" fmla="*/ 5305 h 131"/>
                <a:gd name="T60" fmla="*/ 9135 w 128"/>
                <a:gd name="T61" fmla="*/ 5713 h 131"/>
                <a:gd name="T62" fmla="*/ 9570 w 128"/>
                <a:gd name="T63" fmla="*/ 5713 h 131"/>
                <a:gd name="T64" fmla="*/ 10005 w 128"/>
                <a:gd name="T65" fmla="*/ 5305 h 131"/>
                <a:gd name="T66" fmla="*/ 10875 w 128"/>
                <a:gd name="T67" fmla="*/ 5305 h 131"/>
                <a:gd name="T68" fmla="*/ 10875 w 128"/>
                <a:gd name="T69" fmla="*/ 4489 h 131"/>
                <a:gd name="T70" fmla="*/ 9570 w 128"/>
                <a:gd name="T71" fmla="*/ 4081 h 131"/>
                <a:gd name="T72" fmla="*/ 9135 w 128"/>
                <a:gd name="T73" fmla="*/ 2856 h 131"/>
                <a:gd name="T74" fmla="*/ 9135 w 128"/>
                <a:gd name="T75" fmla="*/ 2040 h 131"/>
                <a:gd name="T76" fmla="*/ 8265 w 128"/>
                <a:gd name="T77" fmla="*/ 1632 h 131"/>
                <a:gd name="T78" fmla="*/ 6090 w 128"/>
                <a:gd name="T79" fmla="*/ 816 h 131"/>
                <a:gd name="T80" fmla="*/ 5220 w 128"/>
                <a:gd name="T81" fmla="*/ 816 h 131"/>
                <a:gd name="T82" fmla="*/ 4785 w 128"/>
                <a:gd name="T83" fmla="*/ 816 h 131"/>
                <a:gd name="T84" fmla="*/ 4350 w 128"/>
                <a:gd name="T85" fmla="*/ 0 h 13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28"/>
                <a:gd name="T130" fmla="*/ 0 h 131"/>
                <a:gd name="T131" fmla="*/ 128 w 128"/>
                <a:gd name="T132" fmla="*/ 131 h 13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28" h="131">
                  <a:moveTo>
                    <a:pt x="49" y="0"/>
                  </a:moveTo>
                  <a:lnTo>
                    <a:pt x="35" y="2"/>
                  </a:lnTo>
                  <a:lnTo>
                    <a:pt x="21" y="12"/>
                  </a:lnTo>
                  <a:lnTo>
                    <a:pt x="13" y="8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6" y="50"/>
                  </a:lnTo>
                  <a:lnTo>
                    <a:pt x="21" y="58"/>
                  </a:lnTo>
                  <a:lnTo>
                    <a:pt x="28" y="70"/>
                  </a:lnTo>
                  <a:lnTo>
                    <a:pt x="23" y="86"/>
                  </a:lnTo>
                  <a:lnTo>
                    <a:pt x="26" y="99"/>
                  </a:lnTo>
                  <a:lnTo>
                    <a:pt x="32" y="106"/>
                  </a:lnTo>
                  <a:lnTo>
                    <a:pt x="39" y="108"/>
                  </a:lnTo>
                  <a:lnTo>
                    <a:pt x="42" y="98"/>
                  </a:lnTo>
                  <a:lnTo>
                    <a:pt x="49" y="90"/>
                  </a:lnTo>
                  <a:lnTo>
                    <a:pt x="53" y="96"/>
                  </a:lnTo>
                  <a:lnTo>
                    <a:pt x="60" y="103"/>
                  </a:lnTo>
                  <a:lnTo>
                    <a:pt x="65" y="119"/>
                  </a:lnTo>
                  <a:lnTo>
                    <a:pt x="66" y="130"/>
                  </a:lnTo>
                  <a:lnTo>
                    <a:pt x="71" y="131"/>
                  </a:lnTo>
                  <a:lnTo>
                    <a:pt x="76" y="110"/>
                  </a:lnTo>
                  <a:lnTo>
                    <a:pt x="85" y="107"/>
                  </a:lnTo>
                  <a:lnTo>
                    <a:pt x="91" y="117"/>
                  </a:lnTo>
                  <a:lnTo>
                    <a:pt x="98" y="124"/>
                  </a:lnTo>
                  <a:lnTo>
                    <a:pt x="107" y="129"/>
                  </a:lnTo>
                  <a:lnTo>
                    <a:pt x="105" y="107"/>
                  </a:lnTo>
                  <a:lnTo>
                    <a:pt x="98" y="77"/>
                  </a:lnTo>
                  <a:lnTo>
                    <a:pt x="91" y="66"/>
                  </a:lnTo>
                  <a:lnTo>
                    <a:pt x="88" y="54"/>
                  </a:lnTo>
                  <a:lnTo>
                    <a:pt x="105" y="66"/>
                  </a:lnTo>
                  <a:lnTo>
                    <a:pt x="108" y="71"/>
                  </a:lnTo>
                  <a:lnTo>
                    <a:pt x="113" y="71"/>
                  </a:lnTo>
                  <a:lnTo>
                    <a:pt x="119" y="65"/>
                  </a:lnTo>
                  <a:lnTo>
                    <a:pt x="128" y="64"/>
                  </a:lnTo>
                  <a:lnTo>
                    <a:pt x="126" y="56"/>
                  </a:lnTo>
                  <a:lnTo>
                    <a:pt x="114" y="48"/>
                  </a:lnTo>
                  <a:lnTo>
                    <a:pt x="107" y="33"/>
                  </a:lnTo>
                  <a:lnTo>
                    <a:pt x="107" y="26"/>
                  </a:lnTo>
                  <a:lnTo>
                    <a:pt x="98" y="21"/>
                  </a:lnTo>
                  <a:lnTo>
                    <a:pt x="74" y="12"/>
                  </a:lnTo>
                  <a:lnTo>
                    <a:pt x="61" y="8"/>
                  </a:lnTo>
                  <a:lnTo>
                    <a:pt x="55" y="8"/>
                  </a:lnTo>
                  <a:lnTo>
                    <a:pt x="49" y="0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52" name="Freeform 208">
              <a:extLst>
                <a:ext uri="{FF2B5EF4-FFF2-40B4-BE49-F238E27FC236}">
                  <a16:creationId xmlns:a16="http://schemas.microsoft.com/office/drawing/2014/main" id="{048EBE4E-0506-82A3-5A61-587EFEB69BD7}"/>
                </a:ext>
              </a:extLst>
            </p:cNvPr>
            <p:cNvSpPr>
              <a:spLocks/>
            </p:cNvSpPr>
            <p:nvPr/>
          </p:nvSpPr>
          <p:spPr bwMode="gray">
            <a:xfrm>
              <a:off x="4668061" y="1956883"/>
              <a:ext cx="130593" cy="77460"/>
            </a:xfrm>
            <a:custGeom>
              <a:avLst/>
              <a:gdLst>
                <a:gd name="T0" fmla="*/ 6253 w 369"/>
                <a:gd name="T1" fmla="*/ 3651 h 223"/>
                <a:gd name="T2" fmla="*/ 11613 w 369"/>
                <a:gd name="T3" fmla="*/ 5274 h 223"/>
                <a:gd name="T4" fmla="*/ 12953 w 369"/>
                <a:gd name="T5" fmla="*/ 3651 h 223"/>
                <a:gd name="T6" fmla="*/ 17419 w 369"/>
                <a:gd name="T7" fmla="*/ 2028 h 223"/>
                <a:gd name="T8" fmla="*/ 20099 w 369"/>
                <a:gd name="T9" fmla="*/ 2028 h 223"/>
                <a:gd name="T10" fmla="*/ 21439 w 369"/>
                <a:gd name="T11" fmla="*/ 811 h 223"/>
                <a:gd name="T12" fmla="*/ 24565 w 369"/>
                <a:gd name="T13" fmla="*/ 0 h 223"/>
                <a:gd name="T14" fmla="*/ 26799 w 369"/>
                <a:gd name="T15" fmla="*/ 406 h 223"/>
                <a:gd name="T16" fmla="*/ 29479 w 369"/>
                <a:gd name="T17" fmla="*/ 811 h 223"/>
                <a:gd name="T18" fmla="*/ 31712 w 369"/>
                <a:gd name="T19" fmla="*/ 2434 h 223"/>
                <a:gd name="T20" fmla="*/ 33052 w 369"/>
                <a:gd name="T21" fmla="*/ 3651 h 223"/>
                <a:gd name="T22" fmla="*/ 32158 w 369"/>
                <a:gd name="T23" fmla="*/ 4868 h 223"/>
                <a:gd name="T24" fmla="*/ 29925 w 369"/>
                <a:gd name="T25" fmla="*/ 5679 h 223"/>
                <a:gd name="T26" fmla="*/ 29032 w 369"/>
                <a:gd name="T27" fmla="*/ 6896 h 223"/>
                <a:gd name="T28" fmla="*/ 28139 w 369"/>
                <a:gd name="T29" fmla="*/ 8519 h 223"/>
                <a:gd name="T30" fmla="*/ 26799 w 369"/>
                <a:gd name="T31" fmla="*/ 10953 h 223"/>
                <a:gd name="T32" fmla="*/ 25459 w 369"/>
                <a:gd name="T33" fmla="*/ 12981 h 223"/>
                <a:gd name="T34" fmla="*/ 23226 w 369"/>
                <a:gd name="T35" fmla="*/ 15010 h 223"/>
                <a:gd name="T36" fmla="*/ 20099 w 369"/>
                <a:gd name="T37" fmla="*/ 15415 h 223"/>
                <a:gd name="T38" fmla="*/ 18759 w 369"/>
                <a:gd name="T39" fmla="*/ 15415 h 223"/>
                <a:gd name="T40" fmla="*/ 16079 w 369"/>
                <a:gd name="T41" fmla="*/ 16227 h 223"/>
                <a:gd name="T42" fmla="*/ 14293 w 369"/>
                <a:gd name="T43" fmla="*/ 16632 h 223"/>
                <a:gd name="T44" fmla="*/ 12059 w 369"/>
                <a:gd name="T45" fmla="*/ 17444 h 223"/>
                <a:gd name="T46" fmla="*/ 8933 w 369"/>
                <a:gd name="T47" fmla="*/ 17849 h 223"/>
                <a:gd name="T48" fmla="*/ 6700 w 369"/>
                <a:gd name="T49" fmla="*/ 16632 h 223"/>
                <a:gd name="T50" fmla="*/ 4466 w 369"/>
                <a:gd name="T51" fmla="*/ 15010 h 223"/>
                <a:gd name="T52" fmla="*/ 2680 w 369"/>
                <a:gd name="T53" fmla="*/ 13387 h 223"/>
                <a:gd name="T54" fmla="*/ 1340 w 369"/>
                <a:gd name="T55" fmla="*/ 11359 h 223"/>
                <a:gd name="T56" fmla="*/ 0 w 369"/>
                <a:gd name="T57" fmla="*/ 10953 h 223"/>
                <a:gd name="T58" fmla="*/ 1787 w 369"/>
                <a:gd name="T59" fmla="*/ 9736 h 223"/>
                <a:gd name="T60" fmla="*/ 1787 w 369"/>
                <a:gd name="T61" fmla="*/ 8113 h 223"/>
                <a:gd name="T62" fmla="*/ 1787 w 369"/>
                <a:gd name="T63" fmla="*/ 6085 h 223"/>
                <a:gd name="T64" fmla="*/ 4913 w 369"/>
                <a:gd name="T65" fmla="*/ 5274 h 223"/>
                <a:gd name="T66" fmla="*/ 5360 w 369"/>
                <a:gd name="T67" fmla="*/ 3245 h 22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369"/>
                <a:gd name="T103" fmla="*/ 0 h 223"/>
                <a:gd name="T104" fmla="*/ 369 w 369"/>
                <a:gd name="T105" fmla="*/ 223 h 223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369" h="223">
                  <a:moveTo>
                    <a:pt x="58" y="39"/>
                  </a:moveTo>
                  <a:lnTo>
                    <a:pt x="71" y="47"/>
                  </a:lnTo>
                  <a:lnTo>
                    <a:pt x="95" y="65"/>
                  </a:lnTo>
                  <a:lnTo>
                    <a:pt x="128" y="64"/>
                  </a:lnTo>
                  <a:lnTo>
                    <a:pt x="134" y="64"/>
                  </a:lnTo>
                  <a:lnTo>
                    <a:pt x="147" y="44"/>
                  </a:lnTo>
                  <a:lnTo>
                    <a:pt x="178" y="35"/>
                  </a:lnTo>
                  <a:lnTo>
                    <a:pt x="194" y="26"/>
                  </a:lnTo>
                  <a:lnTo>
                    <a:pt x="211" y="32"/>
                  </a:lnTo>
                  <a:lnTo>
                    <a:pt x="225" y="24"/>
                  </a:lnTo>
                  <a:lnTo>
                    <a:pt x="235" y="22"/>
                  </a:lnTo>
                  <a:lnTo>
                    <a:pt x="240" y="10"/>
                  </a:lnTo>
                  <a:lnTo>
                    <a:pt x="255" y="1"/>
                  </a:lnTo>
                  <a:lnTo>
                    <a:pt x="273" y="2"/>
                  </a:lnTo>
                  <a:lnTo>
                    <a:pt x="285" y="0"/>
                  </a:lnTo>
                  <a:lnTo>
                    <a:pt x="300" y="5"/>
                  </a:lnTo>
                  <a:lnTo>
                    <a:pt x="317" y="15"/>
                  </a:lnTo>
                  <a:lnTo>
                    <a:pt x="329" y="12"/>
                  </a:lnTo>
                  <a:lnTo>
                    <a:pt x="344" y="19"/>
                  </a:lnTo>
                  <a:lnTo>
                    <a:pt x="356" y="29"/>
                  </a:lnTo>
                  <a:lnTo>
                    <a:pt x="365" y="38"/>
                  </a:lnTo>
                  <a:lnTo>
                    <a:pt x="369" y="48"/>
                  </a:lnTo>
                  <a:lnTo>
                    <a:pt x="365" y="55"/>
                  </a:lnTo>
                  <a:lnTo>
                    <a:pt x="357" y="62"/>
                  </a:lnTo>
                  <a:lnTo>
                    <a:pt x="350" y="62"/>
                  </a:lnTo>
                  <a:lnTo>
                    <a:pt x="335" y="69"/>
                  </a:lnTo>
                  <a:lnTo>
                    <a:pt x="326" y="78"/>
                  </a:lnTo>
                  <a:lnTo>
                    <a:pt x="324" y="86"/>
                  </a:lnTo>
                  <a:lnTo>
                    <a:pt x="318" y="97"/>
                  </a:lnTo>
                  <a:lnTo>
                    <a:pt x="316" y="108"/>
                  </a:lnTo>
                  <a:lnTo>
                    <a:pt x="303" y="121"/>
                  </a:lnTo>
                  <a:lnTo>
                    <a:pt x="298" y="135"/>
                  </a:lnTo>
                  <a:lnTo>
                    <a:pt x="291" y="151"/>
                  </a:lnTo>
                  <a:lnTo>
                    <a:pt x="284" y="161"/>
                  </a:lnTo>
                  <a:lnTo>
                    <a:pt x="276" y="178"/>
                  </a:lnTo>
                  <a:lnTo>
                    <a:pt x="260" y="185"/>
                  </a:lnTo>
                  <a:lnTo>
                    <a:pt x="228" y="195"/>
                  </a:lnTo>
                  <a:lnTo>
                    <a:pt x="225" y="195"/>
                  </a:lnTo>
                  <a:lnTo>
                    <a:pt x="221" y="188"/>
                  </a:lnTo>
                  <a:lnTo>
                    <a:pt x="209" y="193"/>
                  </a:lnTo>
                  <a:lnTo>
                    <a:pt x="197" y="193"/>
                  </a:lnTo>
                  <a:lnTo>
                    <a:pt x="181" y="204"/>
                  </a:lnTo>
                  <a:lnTo>
                    <a:pt x="166" y="204"/>
                  </a:lnTo>
                  <a:lnTo>
                    <a:pt x="160" y="209"/>
                  </a:lnTo>
                  <a:lnTo>
                    <a:pt x="145" y="210"/>
                  </a:lnTo>
                  <a:lnTo>
                    <a:pt x="133" y="218"/>
                  </a:lnTo>
                  <a:lnTo>
                    <a:pt x="119" y="222"/>
                  </a:lnTo>
                  <a:lnTo>
                    <a:pt x="102" y="223"/>
                  </a:lnTo>
                  <a:lnTo>
                    <a:pt x="87" y="214"/>
                  </a:lnTo>
                  <a:lnTo>
                    <a:pt x="76" y="210"/>
                  </a:lnTo>
                  <a:lnTo>
                    <a:pt x="65" y="195"/>
                  </a:lnTo>
                  <a:lnTo>
                    <a:pt x="50" y="188"/>
                  </a:lnTo>
                  <a:lnTo>
                    <a:pt x="41" y="172"/>
                  </a:lnTo>
                  <a:lnTo>
                    <a:pt x="28" y="167"/>
                  </a:lnTo>
                  <a:lnTo>
                    <a:pt x="20" y="153"/>
                  </a:lnTo>
                  <a:lnTo>
                    <a:pt x="15" y="140"/>
                  </a:lnTo>
                  <a:lnTo>
                    <a:pt x="7" y="136"/>
                  </a:lnTo>
                  <a:lnTo>
                    <a:pt x="0" y="136"/>
                  </a:lnTo>
                  <a:lnTo>
                    <a:pt x="10" y="125"/>
                  </a:lnTo>
                  <a:lnTo>
                    <a:pt x="21" y="123"/>
                  </a:lnTo>
                  <a:lnTo>
                    <a:pt x="20" y="112"/>
                  </a:lnTo>
                  <a:lnTo>
                    <a:pt x="20" y="102"/>
                  </a:lnTo>
                  <a:lnTo>
                    <a:pt x="28" y="83"/>
                  </a:lnTo>
                  <a:lnTo>
                    <a:pt x="22" y="75"/>
                  </a:lnTo>
                  <a:lnTo>
                    <a:pt x="26" y="67"/>
                  </a:lnTo>
                  <a:lnTo>
                    <a:pt x="53" y="67"/>
                  </a:lnTo>
                  <a:lnTo>
                    <a:pt x="58" y="59"/>
                  </a:lnTo>
                  <a:lnTo>
                    <a:pt x="58" y="39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53" name="Freeform 209">
              <a:extLst>
                <a:ext uri="{FF2B5EF4-FFF2-40B4-BE49-F238E27FC236}">
                  <a16:creationId xmlns:a16="http://schemas.microsoft.com/office/drawing/2014/main" id="{94E14736-AAAF-8010-5A6F-EC58A3556A82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0983" y="1649759"/>
              <a:ext cx="143150" cy="84256"/>
            </a:xfrm>
            <a:custGeom>
              <a:avLst/>
              <a:gdLst>
                <a:gd name="T0" fmla="*/ 0 w 406"/>
                <a:gd name="T1" fmla="*/ 15214 h 240"/>
                <a:gd name="T2" fmla="*/ 889 w 406"/>
                <a:gd name="T3" fmla="*/ 9869 h 240"/>
                <a:gd name="T4" fmla="*/ 2222 w 406"/>
                <a:gd name="T5" fmla="*/ 7813 h 240"/>
                <a:gd name="T6" fmla="*/ 3110 w 406"/>
                <a:gd name="T7" fmla="*/ 5346 h 240"/>
                <a:gd name="T8" fmla="*/ 4443 w 406"/>
                <a:gd name="T9" fmla="*/ 3701 h 240"/>
                <a:gd name="T10" fmla="*/ 7554 w 406"/>
                <a:gd name="T11" fmla="*/ 2878 h 240"/>
                <a:gd name="T12" fmla="*/ 10220 w 406"/>
                <a:gd name="T13" fmla="*/ 5757 h 240"/>
                <a:gd name="T14" fmla="*/ 10664 w 406"/>
                <a:gd name="T15" fmla="*/ 6990 h 240"/>
                <a:gd name="T16" fmla="*/ 11108 w 406"/>
                <a:gd name="T17" fmla="*/ 7402 h 240"/>
                <a:gd name="T18" fmla="*/ 12886 w 406"/>
                <a:gd name="T19" fmla="*/ 9046 h 240"/>
                <a:gd name="T20" fmla="*/ 15108 w 406"/>
                <a:gd name="T21" fmla="*/ 8224 h 240"/>
                <a:gd name="T22" fmla="*/ 15552 w 406"/>
                <a:gd name="T23" fmla="*/ 9458 h 240"/>
                <a:gd name="T24" fmla="*/ 15996 w 406"/>
                <a:gd name="T25" fmla="*/ 7402 h 240"/>
                <a:gd name="T26" fmla="*/ 16441 w 406"/>
                <a:gd name="T27" fmla="*/ 1645 h 240"/>
                <a:gd name="T28" fmla="*/ 17774 w 406"/>
                <a:gd name="T29" fmla="*/ 1234 h 240"/>
                <a:gd name="T30" fmla="*/ 21328 w 406"/>
                <a:gd name="T31" fmla="*/ 0 h 240"/>
                <a:gd name="T32" fmla="*/ 23994 w 406"/>
                <a:gd name="T33" fmla="*/ 1234 h 240"/>
                <a:gd name="T34" fmla="*/ 25327 w 406"/>
                <a:gd name="T35" fmla="*/ 2467 h 240"/>
                <a:gd name="T36" fmla="*/ 27993 w 406"/>
                <a:gd name="T37" fmla="*/ 4112 h 240"/>
                <a:gd name="T38" fmla="*/ 30215 w 406"/>
                <a:gd name="T39" fmla="*/ 3701 h 240"/>
                <a:gd name="T40" fmla="*/ 31992 w 406"/>
                <a:gd name="T41" fmla="*/ 4112 h 240"/>
                <a:gd name="T42" fmla="*/ 32437 w 406"/>
                <a:gd name="T43" fmla="*/ 5346 h 240"/>
                <a:gd name="T44" fmla="*/ 33770 w 406"/>
                <a:gd name="T45" fmla="*/ 6168 h 240"/>
                <a:gd name="T46" fmla="*/ 33325 w 406"/>
                <a:gd name="T47" fmla="*/ 8635 h 240"/>
                <a:gd name="T48" fmla="*/ 33770 w 406"/>
                <a:gd name="T49" fmla="*/ 9458 h 240"/>
                <a:gd name="T50" fmla="*/ 34214 w 406"/>
                <a:gd name="T51" fmla="*/ 10691 h 240"/>
                <a:gd name="T52" fmla="*/ 35547 w 406"/>
                <a:gd name="T53" fmla="*/ 13158 h 240"/>
                <a:gd name="T54" fmla="*/ 35992 w 406"/>
                <a:gd name="T55" fmla="*/ 14803 h 240"/>
                <a:gd name="T56" fmla="*/ 35103 w 406"/>
                <a:gd name="T57" fmla="*/ 15625 h 240"/>
                <a:gd name="T58" fmla="*/ 33325 w 406"/>
                <a:gd name="T59" fmla="*/ 16859 h 240"/>
                <a:gd name="T60" fmla="*/ 31992 w 406"/>
                <a:gd name="T61" fmla="*/ 18504 h 240"/>
                <a:gd name="T62" fmla="*/ 30215 w 406"/>
                <a:gd name="T63" fmla="*/ 18093 h 240"/>
                <a:gd name="T64" fmla="*/ 29326 w 406"/>
                <a:gd name="T65" fmla="*/ 19326 h 240"/>
                <a:gd name="T66" fmla="*/ 27993 w 406"/>
                <a:gd name="T67" fmla="*/ 19737 h 240"/>
                <a:gd name="T68" fmla="*/ 26660 w 406"/>
                <a:gd name="T69" fmla="*/ 18915 h 240"/>
                <a:gd name="T70" fmla="*/ 22661 w 406"/>
                <a:gd name="T71" fmla="*/ 15625 h 240"/>
                <a:gd name="T72" fmla="*/ 20884 w 406"/>
                <a:gd name="T73" fmla="*/ 15625 h 240"/>
                <a:gd name="T74" fmla="*/ 19107 w 406"/>
                <a:gd name="T75" fmla="*/ 13158 h 240"/>
                <a:gd name="T76" fmla="*/ 17774 w 406"/>
                <a:gd name="T77" fmla="*/ 14392 h 240"/>
                <a:gd name="T78" fmla="*/ 13775 w 406"/>
                <a:gd name="T79" fmla="*/ 13569 h 240"/>
                <a:gd name="T80" fmla="*/ 11553 w 406"/>
                <a:gd name="T81" fmla="*/ 13569 h 240"/>
                <a:gd name="T82" fmla="*/ 10220 w 406"/>
                <a:gd name="T83" fmla="*/ 13569 h 240"/>
                <a:gd name="T84" fmla="*/ 8887 w 406"/>
                <a:gd name="T85" fmla="*/ 13569 h 240"/>
                <a:gd name="T86" fmla="*/ 7554 w 406"/>
                <a:gd name="T87" fmla="*/ 13158 h 240"/>
                <a:gd name="T88" fmla="*/ 3999 w 406"/>
                <a:gd name="T89" fmla="*/ 13981 h 240"/>
                <a:gd name="T90" fmla="*/ 1777 w 406"/>
                <a:gd name="T91" fmla="*/ 16037 h 240"/>
                <a:gd name="T92" fmla="*/ 444 w 406"/>
                <a:gd name="T93" fmla="*/ 16037 h 24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406"/>
                <a:gd name="T142" fmla="*/ 0 h 240"/>
                <a:gd name="T143" fmla="*/ 406 w 406"/>
                <a:gd name="T144" fmla="*/ 240 h 24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406" h="240">
                  <a:moveTo>
                    <a:pt x="3" y="195"/>
                  </a:moveTo>
                  <a:lnTo>
                    <a:pt x="0" y="184"/>
                  </a:lnTo>
                  <a:lnTo>
                    <a:pt x="4" y="134"/>
                  </a:lnTo>
                  <a:lnTo>
                    <a:pt x="12" y="118"/>
                  </a:lnTo>
                  <a:lnTo>
                    <a:pt x="20" y="107"/>
                  </a:lnTo>
                  <a:lnTo>
                    <a:pt x="24" y="93"/>
                  </a:lnTo>
                  <a:lnTo>
                    <a:pt x="27" y="77"/>
                  </a:lnTo>
                  <a:lnTo>
                    <a:pt x="33" y="64"/>
                  </a:lnTo>
                  <a:lnTo>
                    <a:pt x="43" y="52"/>
                  </a:lnTo>
                  <a:lnTo>
                    <a:pt x="51" y="44"/>
                  </a:lnTo>
                  <a:lnTo>
                    <a:pt x="63" y="42"/>
                  </a:lnTo>
                  <a:lnTo>
                    <a:pt x="86" y="33"/>
                  </a:lnTo>
                  <a:lnTo>
                    <a:pt x="94" y="47"/>
                  </a:lnTo>
                  <a:lnTo>
                    <a:pt x="113" y="68"/>
                  </a:lnTo>
                  <a:lnTo>
                    <a:pt x="115" y="79"/>
                  </a:lnTo>
                  <a:lnTo>
                    <a:pt x="119" y="86"/>
                  </a:lnTo>
                  <a:lnTo>
                    <a:pt x="120" y="75"/>
                  </a:lnTo>
                  <a:lnTo>
                    <a:pt x="125" y="92"/>
                  </a:lnTo>
                  <a:lnTo>
                    <a:pt x="131" y="100"/>
                  </a:lnTo>
                  <a:lnTo>
                    <a:pt x="147" y="108"/>
                  </a:lnTo>
                  <a:lnTo>
                    <a:pt x="153" y="108"/>
                  </a:lnTo>
                  <a:lnTo>
                    <a:pt x="169" y="102"/>
                  </a:lnTo>
                  <a:lnTo>
                    <a:pt x="169" y="107"/>
                  </a:lnTo>
                  <a:lnTo>
                    <a:pt x="174" y="113"/>
                  </a:lnTo>
                  <a:lnTo>
                    <a:pt x="175" y="98"/>
                  </a:lnTo>
                  <a:lnTo>
                    <a:pt x="181" y="92"/>
                  </a:lnTo>
                  <a:lnTo>
                    <a:pt x="185" y="85"/>
                  </a:lnTo>
                  <a:lnTo>
                    <a:pt x="185" y="21"/>
                  </a:lnTo>
                  <a:lnTo>
                    <a:pt x="191" y="15"/>
                  </a:lnTo>
                  <a:lnTo>
                    <a:pt x="200" y="14"/>
                  </a:lnTo>
                  <a:lnTo>
                    <a:pt x="213" y="4"/>
                  </a:lnTo>
                  <a:lnTo>
                    <a:pt x="239" y="0"/>
                  </a:lnTo>
                  <a:lnTo>
                    <a:pt x="255" y="4"/>
                  </a:lnTo>
                  <a:lnTo>
                    <a:pt x="269" y="15"/>
                  </a:lnTo>
                  <a:lnTo>
                    <a:pt x="283" y="20"/>
                  </a:lnTo>
                  <a:lnTo>
                    <a:pt x="288" y="30"/>
                  </a:lnTo>
                  <a:lnTo>
                    <a:pt x="310" y="49"/>
                  </a:lnTo>
                  <a:lnTo>
                    <a:pt x="318" y="49"/>
                  </a:lnTo>
                  <a:lnTo>
                    <a:pt x="326" y="46"/>
                  </a:lnTo>
                  <a:lnTo>
                    <a:pt x="341" y="44"/>
                  </a:lnTo>
                  <a:lnTo>
                    <a:pt x="358" y="48"/>
                  </a:lnTo>
                  <a:lnTo>
                    <a:pt x="359" y="49"/>
                  </a:lnTo>
                  <a:lnTo>
                    <a:pt x="364" y="55"/>
                  </a:lnTo>
                  <a:lnTo>
                    <a:pt x="368" y="63"/>
                  </a:lnTo>
                  <a:lnTo>
                    <a:pt x="375" y="66"/>
                  </a:lnTo>
                  <a:lnTo>
                    <a:pt x="379" y="74"/>
                  </a:lnTo>
                  <a:lnTo>
                    <a:pt x="380" y="82"/>
                  </a:lnTo>
                  <a:lnTo>
                    <a:pt x="375" y="106"/>
                  </a:lnTo>
                  <a:lnTo>
                    <a:pt x="372" y="113"/>
                  </a:lnTo>
                  <a:lnTo>
                    <a:pt x="380" y="116"/>
                  </a:lnTo>
                  <a:lnTo>
                    <a:pt x="387" y="120"/>
                  </a:lnTo>
                  <a:lnTo>
                    <a:pt x="387" y="128"/>
                  </a:lnTo>
                  <a:lnTo>
                    <a:pt x="400" y="150"/>
                  </a:lnTo>
                  <a:lnTo>
                    <a:pt x="402" y="159"/>
                  </a:lnTo>
                  <a:lnTo>
                    <a:pt x="406" y="166"/>
                  </a:lnTo>
                  <a:lnTo>
                    <a:pt x="406" y="182"/>
                  </a:lnTo>
                  <a:lnTo>
                    <a:pt x="405" y="189"/>
                  </a:lnTo>
                  <a:lnTo>
                    <a:pt x="395" y="190"/>
                  </a:lnTo>
                  <a:lnTo>
                    <a:pt x="388" y="194"/>
                  </a:lnTo>
                  <a:lnTo>
                    <a:pt x="375" y="206"/>
                  </a:lnTo>
                  <a:lnTo>
                    <a:pt x="374" y="214"/>
                  </a:lnTo>
                  <a:lnTo>
                    <a:pt x="363" y="227"/>
                  </a:lnTo>
                  <a:lnTo>
                    <a:pt x="356" y="229"/>
                  </a:lnTo>
                  <a:lnTo>
                    <a:pt x="340" y="222"/>
                  </a:lnTo>
                  <a:lnTo>
                    <a:pt x="334" y="227"/>
                  </a:lnTo>
                  <a:lnTo>
                    <a:pt x="331" y="236"/>
                  </a:lnTo>
                  <a:lnTo>
                    <a:pt x="325" y="240"/>
                  </a:lnTo>
                  <a:lnTo>
                    <a:pt x="316" y="238"/>
                  </a:lnTo>
                  <a:lnTo>
                    <a:pt x="310" y="233"/>
                  </a:lnTo>
                  <a:lnTo>
                    <a:pt x="303" y="231"/>
                  </a:lnTo>
                  <a:lnTo>
                    <a:pt x="285" y="208"/>
                  </a:lnTo>
                  <a:lnTo>
                    <a:pt x="258" y="189"/>
                  </a:lnTo>
                  <a:lnTo>
                    <a:pt x="242" y="190"/>
                  </a:lnTo>
                  <a:lnTo>
                    <a:pt x="234" y="188"/>
                  </a:lnTo>
                  <a:lnTo>
                    <a:pt x="224" y="165"/>
                  </a:lnTo>
                  <a:lnTo>
                    <a:pt x="218" y="160"/>
                  </a:lnTo>
                  <a:lnTo>
                    <a:pt x="211" y="162"/>
                  </a:lnTo>
                  <a:lnTo>
                    <a:pt x="200" y="173"/>
                  </a:lnTo>
                  <a:lnTo>
                    <a:pt x="184" y="177"/>
                  </a:lnTo>
                  <a:lnTo>
                    <a:pt x="153" y="166"/>
                  </a:lnTo>
                  <a:lnTo>
                    <a:pt x="146" y="166"/>
                  </a:lnTo>
                  <a:lnTo>
                    <a:pt x="129" y="163"/>
                  </a:lnTo>
                  <a:lnTo>
                    <a:pt x="121" y="166"/>
                  </a:lnTo>
                  <a:lnTo>
                    <a:pt x="114" y="163"/>
                  </a:lnTo>
                  <a:lnTo>
                    <a:pt x="106" y="167"/>
                  </a:lnTo>
                  <a:lnTo>
                    <a:pt x="98" y="167"/>
                  </a:lnTo>
                  <a:lnTo>
                    <a:pt x="92" y="163"/>
                  </a:lnTo>
                  <a:lnTo>
                    <a:pt x="83" y="162"/>
                  </a:lnTo>
                  <a:lnTo>
                    <a:pt x="67" y="163"/>
                  </a:lnTo>
                  <a:lnTo>
                    <a:pt x="44" y="171"/>
                  </a:lnTo>
                  <a:lnTo>
                    <a:pt x="29" y="179"/>
                  </a:lnTo>
                  <a:lnTo>
                    <a:pt x="20" y="193"/>
                  </a:lnTo>
                  <a:lnTo>
                    <a:pt x="13" y="198"/>
                  </a:lnTo>
                  <a:lnTo>
                    <a:pt x="3" y="195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54" name="Freeform 210">
              <a:extLst>
                <a:ext uri="{FF2B5EF4-FFF2-40B4-BE49-F238E27FC236}">
                  <a16:creationId xmlns:a16="http://schemas.microsoft.com/office/drawing/2014/main" id="{FC63FAF8-4FA3-B4F5-C530-CE38740C7B8C}"/>
                </a:ext>
              </a:extLst>
            </p:cNvPr>
            <p:cNvSpPr>
              <a:spLocks/>
            </p:cNvSpPr>
            <p:nvPr/>
          </p:nvSpPr>
          <p:spPr bwMode="gray">
            <a:xfrm>
              <a:off x="4586440" y="1879423"/>
              <a:ext cx="134360" cy="80179"/>
            </a:xfrm>
            <a:custGeom>
              <a:avLst/>
              <a:gdLst>
                <a:gd name="T0" fmla="*/ 33585 w 378"/>
                <a:gd name="T1" fmla="*/ 12086 h 222"/>
                <a:gd name="T2" fmla="*/ 31793 w 378"/>
                <a:gd name="T3" fmla="*/ 12503 h 222"/>
                <a:gd name="T4" fmla="*/ 30898 w 378"/>
                <a:gd name="T5" fmla="*/ 13336 h 222"/>
                <a:gd name="T6" fmla="*/ 30450 w 378"/>
                <a:gd name="T7" fmla="*/ 15003 h 222"/>
                <a:gd name="T8" fmla="*/ 29107 w 378"/>
                <a:gd name="T9" fmla="*/ 15837 h 222"/>
                <a:gd name="T10" fmla="*/ 28211 w 378"/>
                <a:gd name="T11" fmla="*/ 17087 h 222"/>
                <a:gd name="T12" fmla="*/ 26420 w 378"/>
                <a:gd name="T13" fmla="*/ 17087 h 222"/>
                <a:gd name="T14" fmla="*/ 24629 w 378"/>
                <a:gd name="T15" fmla="*/ 17921 h 222"/>
                <a:gd name="T16" fmla="*/ 24181 w 378"/>
                <a:gd name="T17" fmla="*/ 17504 h 222"/>
                <a:gd name="T18" fmla="*/ 20599 w 378"/>
                <a:gd name="T19" fmla="*/ 17087 h 222"/>
                <a:gd name="T20" fmla="*/ 18360 w 378"/>
                <a:gd name="T21" fmla="*/ 15420 h 222"/>
                <a:gd name="T22" fmla="*/ 14777 w 378"/>
                <a:gd name="T23" fmla="*/ 16254 h 222"/>
                <a:gd name="T24" fmla="*/ 13882 w 378"/>
                <a:gd name="T25" fmla="*/ 17504 h 222"/>
                <a:gd name="T26" fmla="*/ 12090 w 378"/>
                <a:gd name="T27" fmla="*/ 17921 h 222"/>
                <a:gd name="T28" fmla="*/ 10299 w 378"/>
                <a:gd name="T29" fmla="*/ 17504 h 222"/>
                <a:gd name="T30" fmla="*/ 8956 w 378"/>
                <a:gd name="T31" fmla="*/ 16670 h 222"/>
                <a:gd name="T32" fmla="*/ 5374 w 378"/>
                <a:gd name="T33" fmla="*/ 13753 h 222"/>
                <a:gd name="T34" fmla="*/ 2239 w 378"/>
                <a:gd name="T35" fmla="*/ 10836 h 222"/>
                <a:gd name="T36" fmla="*/ 1791 w 378"/>
                <a:gd name="T37" fmla="*/ 8335 h 222"/>
                <a:gd name="T38" fmla="*/ 0 w 378"/>
                <a:gd name="T39" fmla="*/ 7085 h 222"/>
                <a:gd name="T40" fmla="*/ 0 w 378"/>
                <a:gd name="T41" fmla="*/ 5835 h 222"/>
                <a:gd name="T42" fmla="*/ 1791 w 378"/>
                <a:gd name="T43" fmla="*/ 7085 h 222"/>
                <a:gd name="T44" fmla="*/ 3582 w 378"/>
                <a:gd name="T45" fmla="*/ 5418 h 222"/>
                <a:gd name="T46" fmla="*/ 6717 w 378"/>
                <a:gd name="T47" fmla="*/ 4168 h 222"/>
                <a:gd name="T48" fmla="*/ 10747 w 378"/>
                <a:gd name="T49" fmla="*/ 2084 h 222"/>
                <a:gd name="T50" fmla="*/ 12090 w 378"/>
                <a:gd name="T51" fmla="*/ 417 h 222"/>
                <a:gd name="T52" fmla="*/ 12986 w 378"/>
                <a:gd name="T53" fmla="*/ 2084 h 222"/>
                <a:gd name="T54" fmla="*/ 14329 w 378"/>
                <a:gd name="T55" fmla="*/ 2084 h 222"/>
                <a:gd name="T56" fmla="*/ 16568 w 378"/>
                <a:gd name="T57" fmla="*/ 1667 h 222"/>
                <a:gd name="T58" fmla="*/ 17912 w 378"/>
                <a:gd name="T59" fmla="*/ 2084 h 222"/>
                <a:gd name="T60" fmla="*/ 20599 w 378"/>
                <a:gd name="T61" fmla="*/ 3751 h 222"/>
                <a:gd name="T62" fmla="*/ 21494 w 378"/>
                <a:gd name="T63" fmla="*/ 4168 h 222"/>
                <a:gd name="T64" fmla="*/ 21046 w 378"/>
                <a:gd name="T65" fmla="*/ 5001 h 222"/>
                <a:gd name="T66" fmla="*/ 23733 w 378"/>
                <a:gd name="T67" fmla="*/ 7085 h 222"/>
                <a:gd name="T68" fmla="*/ 24181 w 378"/>
                <a:gd name="T69" fmla="*/ 5835 h 222"/>
                <a:gd name="T70" fmla="*/ 26868 w 378"/>
                <a:gd name="T71" fmla="*/ 5835 h 222"/>
                <a:gd name="T72" fmla="*/ 28659 w 378"/>
                <a:gd name="T73" fmla="*/ 7502 h 222"/>
                <a:gd name="T74" fmla="*/ 30002 w 378"/>
                <a:gd name="T75" fmla="*/ 7918 h 222"/>
                <a:gd name="T76" fmla="*/ 32241 w 378"/>
                <a:gd name="T77" fmla="*/ 10836 h 22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78"/>
                <a:gd name="T118" fmla="*/ 0 h 222"/>
                <a:gd name="T119" fmla="*/ 378 w 378"/>
                <a:gd name="T120" fmla="*/ 222 h 222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78" h="222">
                  <a:moveTo>
                    <a:pt x="378" y="136"/>
                  </a:moveTo>
                  <a:lnTo>
                    <a:pt x="371" y="143"/>
                  </a:lnTo>
                  <a:lnTo>
                    <a:pt x="360" y="142"/>
                  </a:lnTo>
                  <a:lnTo>
                    <a:pt x="355" y="149"/>
                  </a:lnTo>
                  <a:lnTo>
                    <a:pt x="350" y="156"/>
                  </a:lnTo>
                  <a:lnTo>
                    <a:pt x="341" y="159"/>
                  </a:lnTo>
                  <a:lnTo>
                    <a:pt x="339" y="164"/>
                  </a:lnTo>
                  <a:lnTo>
                    <a:pt x="338" y="176"/>
                  </a:lnTo>
                  <a:lnTo>
                    <a:pt x="333" y="185"/>
                  </a:lnTo>
                  <a:lnTo>
                    <a:pt x="324" y="187"/>
                  </a:lnTo>
                  <a:lnTo>
                    <a:pt x="324" y="193"/>
                  </a:lnTo>
                  <a:lnTo>
                    <a:pt x="311" y="203"/>
                  </a:lnTo>
                  <a:lnTo>
                    <a:pt x="296" y="206"/>
                  </a:lnTo>
                  <a:lnTo>
                    <a:pt x="291" y="201"/>
                  </a:lnTo>
                  <a:lnTo>
                    <a:pt x="283" y="201"/>
                  </a:lnTo>
                  <a:lnTo>
                    <a:pt x="276" y="210"/>
                  </a:lnTo>
                  <a:lnTo>
                    <a:pt x="271" y="222"/>
                  </a:lnTo>
                  <a:lnTo>
                    <a:pt x="271" y="208"/>
                  </a:lnTo>
                  <a:lnTo>
                    <a:pt x="263" y="197"/>
                  </a:lnTo>
                  <a:lnTo>
                    <a:pt x="227" y="201"/>
                  </a:lnTo>
                  <a:lnTo>
                    <a:pt x="213" y="188"/>
                  </a:lnTo>
                  <a:lnTo>
                    <a:pt x="205" y="183"/>
                  </a:lnTo>
                  <a:lnTo>
                    <a:pt x="172" y="182"/>
                  </a:lnTo>
                  <a:lnTo>
                    <a:pt x="166" y="192"/>
                  </a:lnTo>
                  <a:lnTo>
                    <a:pt x="162" y="201"/>
                  </a:lnTo>
                  <a:lnTo>
                    <a:pt x="152" y="209"/>
                  </a:lnTo>
                  <a:lnTo>
                    <a:pt x="143" y="213"/>
                  </a:lnTo>
                  <a:lnTo>
                    <a:pt x="132" y="214"/>
                  </a:lnTo>
                  <a:lnTo>
                    <a:pt x="121" y="213"/>
                  </a:lnTo>
                  <a:lnTo>
                    <a:pt x="114" y="207"/>
                  </a:lnTo>
                  <a:lnTo>
                    <a:pt x="100" y="202"/>
                  </a:lnTo>
                  <a:lnTo>
                    <a:pt x="97" y="196"/>
                  </a:lnTo>
                  <a:lnTo>
                    <a:pt x="71" y="176"/>
                  </a:lnTo>
                  <a:lnTo>
                    <a:pt x="61" y="164"/>
                  </a:lnTo>
                  <a:lnTo>
                    <a:pt x="33" y="140"/>
                  </a:lnTo>
                  <a:lnTo>
                    <a:pt x="23" y="127"/>
                  </a:lnTo>
                  <a:lnTo>
                    <a:pt x="23" y="110"/>
                  </a:lnTo>
                  <a:lnTo>
                    <a:pt x="21" y="97"/>
                  </a:lnTo>
                  <a:lnTo>
                    <a:pt x="8" y="91"/>
                  </a:lnTo>
                  <a:lnTo>
                    <a:pt x="0" y="82"/>
                  </a:lnTo>
                  <a:lnTo>
                    <a:pt x="0" y="73"/>
                  </a:lnTo>
                  <a:lnTo>
                    <a:pt x="1" y="68"/>
                  </a:lnTo>
                  <a:lnTo>
                    <a:pt x="17" y="83"/>
                  </a:lnTo>
                  <a:lnTo>
                    <a:pt x="19" y="83"/>
                  </a:lnTo>
                  <a:lnTo>
                    <a:pt x="24" y="69"/>
                  </a:lnTo>
                  <a:lnTo>
                    <a:pt x="40" y="62"/>
                  </a:lnTo>
                  <a:lnTo>
                    <a:pt x="57" y="57"/>
                  </a:lnTo>
                  <a:lnTo>
                    <a:pt x="75" y="48"/>
                  </a:lnTo>
                  <a:lnTo>
                    <a:pt x="81" y="36"/>
                  </a:lnTo>
                  <a:lnTo>
                    <a:pt x="119" y="23"/>
                  </a:lnTo>
                  <a:lnTo>
                    <a:pt x="123" y="0"/>
                  </a:lnTo>
                  <a:lnTo>
                    <a:pt x="132" y="3"/>
                  </a:lnTo>
                  <a:lnTo>
                    <a:pt x="140" y="15"/>
                  </a:lnTo>
                  <a:lnTo>
                    <a:pt x="146" y="24"/>
                  </a:lnTo>
                  <a:lnTo>
                    <a:pt x="153" y="24"/>
                  </a:lnTo>
                  <a:lnTo>
                    <a:pt x="159" y="27"/>
                  </a:lnTo>
                  <a:lnTo>
                    <a:pt x="174" y="13"/>
                  </a:lnTo>
                  <a:lnTo>
                    <a:pt x="184" y="18"/>
                  </a:lnTo>
                  <a:lnTo>
                    <a:pt x="190" y="27"/>
                  </a:lnTo>
                  <a:lnTo>
                    <a:pt x="198" y="27"/>
                  </a:lnTo>
                  <a:lnTo>
                    <a:pt x="218" y="31"/>
                  </a:lnTo>
                  <a:lnTo>
                    <a:pt x="228" y="43"/>
                  </a:lnTo>
                  <a:lnTo>
                    <a:pt x="239" y="45"/>
                  </a:lnTo>
                  <a:lnTo>
                    <a:pt x="240" y="47"/>
                  </a:lnTo>
                  <a:lnTo>
                    <a:pt x="240" y="50"/>
                  </a:lnTo>
                  <a:lnTo>
                    <a:pt x="236" y="61"/>
                  </a:lnTo>
                  <a:lnTo>
                    <a:pt x="255" y="79"/>
                  </a:lnTo>
                  <a:lnTo>
                    <a:pt x="263" y="82"/>
                  </a:lnTo>
                  <a:lnTo>
                    <a:pt x="274" y="74"/>
                  </a:lnTo>
                  <a:lnTo>
                    <a:pt x="271" y="68"/>
                  </a:lnTo>
                  <a:lnTo>
                    <a:pt x="272" y="62"/>
                  </a:lnTo>
                  <a:lnTo>
                    <a:pt x="297" y="70"/>
                  </a:lnTo>
                  <a:lnTo>
                    <a:pt x="317" y="73"/>
                  </a:lnTo>
                  <a:lnTo>
                    <a:pt x="317" y="89"/>
                  </a:lnTo>
                  <a:lnTo>
                    <a:pt x="326" y="96"/>
                  </a:lnTo>
                  <a:lnTo>
                    <a:pt x="331" y="94"/>
                  </a:lnTo>
                  <a:lnTo>
                    <a:pt x="340" y="99"/>
                  </a:lnTo>
                  <a:lnTo>
                    <a:pt x="360" y="127"/>
                  </a:lnTo>
                  <a:lnTo>
                    <a:pt x="378" y="136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55" name="Freeform 211">
              <a:extLst>
                <a:ext uri="{FF2B5EF4-FFF2-40B4-BE49-F238E27FC236}">
                  <a16:creationId xmlns:a16="http://schemas.microsoft.com/office/drawing/2014/main" id="{2C247B96-CA5D-4083-E5EB-8025E08F6D20}"/>
                </a:ext>
              </a:extLst>
            </p:cNvPr>
            <p:cNvSpPr>
              <a:spLocks/>
            </p:cNvSpPr>
            <p:nvPr/>
          </p:nvSpPr>
          <p:spPr bwMode="gray">
            <a:xfrm>
              <a:off x="4789863" y="2079190"/>
              <a:ext cx="121804" cy="74742"/>
            </a:xfrm>
            <a:custGeom>
              <a:avLst/>
              <a:gdLst>
                <a:gd name="T0" fmla="*/ 2665 w 346"/>
                <a:gd name="T1" fmla="*/ 17270 h 215"/>
                <a:gd name="T2" fmla="*/ 2665 w 346"/>
                <a:gd name="T3" fmla="*/ 15626 h 215"/>
                <a:gd name="T4" fmla="*/ 2221 w 346"/>
                <a:gd name="T5" fmla="*/ 13570 h 215"/>
                <a:gd name="T6" fmla="*/ 444 w 346"/>
                <a:gd name="T7" fmla="*/ 11925 h 215"/>
                <a:gd name="T8" fmla="*/ 444 w 346"/>
                <a:gd name="T9" fmla="*/ 9869 h 215"/>
                <a:gd name="T10" fmla="*/ 1332 w 346"/>
                <a:gd name="T11" fmla="*/ 7813 h 215"/>
                <a:gd name="T12" fmla="*/ 2221 w 346"/>
                <a:gd name="T13" fmla="*/ 6579 h 215"/>
                <a:gd name="T14" fmla="*/ 888 w 346"/>
                <a:gd name="T15" fmla="*/ 5346 h 215"/>
                <a:gd name="T16" fmla="*/ 444 w 346"/>
                <a:gd name="T17" fmla="*/ 4112 h 215"/>
                <a:gd name="T18" fmla="*/ 0 w 346"/>
                <a:gd name="T19" fmla="*/ 2467 h 215"/>
                <a:gd name="T20" fmla="*/ 444 w 346"/>
                <a:gd name="T21" fmla="*/ 822 h 215"/>
                <a:gd name="T22" fmla="*/ 1777 w 346"/>
                <a:gd name="T23" fmla="*/ 0 h 215"/>
                <a:gd name="T24" fmla="*/ 2665 w 346"/>
                <a:gd name="T25" fmla="*/ 411 h 215"/>
                <a:gd name="T26" fmla="*/ 2221 w 346"/>
                <a:gd name="T27" fmla="*/ 1645 h 215"/>
                <a:gd name="T28" fmla="*/ 3109 w 346"/>
                <a:gd name="T29" fmla="*/ 2056 h 215"/>
                <a:gd name="T30" fmla="*/ 4442 w 346"/>
                <a:gd name="T31" fmla="*/ 2056 h 215"/>
                <a:gd name="T32" fmla="*/ 7551 w 346"/>
                <a:gd name="T33" fmla="*/ 2467 h 215"/>
                <a:gd name="T34" fmla="*/ 11104 w 346"/>
                <a:gd name="T35" fmla="*/ 2467 h 215"/>
                <a:gd name="T36" fmla="*/ 15101 w 346"/>
                <a:gd name="T37" fmla="*/ 3290 h 215"/>
                <a:gd name="T38" fmla="*/ 16434 w 346"/>
                <a:gd name="T39" fmla="*/ 2878 h 215"/>
                <a:gd name="T40" fmla="*/ 18210 w 346"/>
                <a:gd name="T41" fmla="*/ 2056 h 215"/>
                <a:gd name="T42" fmla="*/ 19987 w 346"/>
                <a:gd name="T43" fmla="*/ 1234 h 215"/>
                <a:gd name="T44" fmla="*/ 22208 w 346"/>
                <a:gd name="T45" fmla="*/ 411 h 215"/>
                <a:gd name="T46" fmla="*/ 23984 w 346"/>
                <a:gd name="T47" fmla="*/ 411 h 215"/>
                <a:gd name="T48" fmla="*/ 24428 w 346"/>
                <a:gd name="T49" fmla="*/ 822 h 215"/>
                <a:gd name="T50" fmla="*/ 27093 w 346"/>
                <a:gd name="T51" fmla="*/ 1645 h 215"/>
                <a:gd name="T52" fmla="*/ 28870 w 346"/>
                <a:gd name="T53" fmla="*/ 2467 h 215"/>
                <a:gd name="T54" fmla="*/ 30646 w 346"/>
                <a:gd name="T55" fmla="*/ 2467 h 215"/>
                <a:gd name="T56" fmla="*/ 30202 w 346"/>
                <a:gd name="T57" fmla="*/ 3701 h 215"/>
                <a:gd name="T58" fmla="*/ 29758 w 346"/>
                <a:gd name="T59" fmla="*/ 4934 h 215"/>
                <a:gd name="T60" fmla="*/ 28426 w 346"/>
                <a:gd name="T61" fmla="*/ 5346 h 215"/>
                <a:gd name="T62" fmla="*/ 27093 w 346"/>
                <a:gd name="T63" fmla="*/ 6579 h 215"/>
                <a:gd name="T64" fmla="*/ 27093 w 346"/>
                <a:gd name="T65" fmla="*/ 8635 h 215"/>
                <a:gd name="T66" fmla="*/ 26205 w 346"/>
                <a:gd name="T67" fmla="*/ 9046 h 215"/>
                <a:gd name="T68" fmla="*/ 26205 w 346"/>
                <a:gd name="T69" fmla="*/ 9458 h 215"/>
                <a:gd name="T70" fmla="*/ 25317 w 346"/>
                <a:gd name="T71" fmla="*/ 10280 h 215"/>
                <a:gd name="T72" fmla="*/ 25317 w 346"/>
                <a:gd name="T73" fmla="*/ 10691 h 215"/>
                <a:gd name="T74" fmla="*/ 25761 w 346"/>
                <a:gd name="T75" fmla="*/ 10691 h 215"/>
                <a:gd name="T76" fmla="*/ 26205 w 346"/>
                <a:gd name="T77" fmla="*/ 11514 h 215"/>
                <a:gd name="T78" fmla="*/ 26649 w 346"/>
                <a:gd name="T79" fmla="*/ 12336 h 215"/>
                <a:gd name="T80" fmla="*/ 27537 w 346"/>
                <a:gd name="T81" fmla="*/ 13570 h 215"/>
                <a:gd name="T82" fmla="*/ 27537 w 346"/>
                <a:gd name="T83" fmla="*/ 13981 h 215"/>
                <a:gd name="T84" fmla="*/ 26649 w 346"/>
                <a:gd name="T85" fmla="*/ 13570 h 215"/>
                <a:gd name="T86" fmla="*/ 24872 w 346"/>
                <a:gd name="T87" fmla="*/ 13981 h 215"/>
                <a:gd name="T88" fmla="*/ 23096 w 346"/>
                <a:gd name="T89" fmla="*/ 13158 h 215"/>
                <a:gd name="T90" fmla="*/ 21319 w 346"/>
                <a:gd name="T91" fmla="*/ 13981 h 215"/>
                <a:gd name="T92" fmla="*/ 19987 w 346"/>
                <a:gd name="T93" fmla="*/ 13981 h 215"/>
                <a:gd name="T94" fmla="*/ 19543 w 346"/>
                <a:gd name="T95" fmla="*/ 14803 h 215"/>
                <a:gd name="T96" fmla="*/ 18210 w 346"/>
                <a:gd name="T97" fmla="*/ 14803 h 215"/>
                <a:gd name="T98" fmla="*/ 18210 w 346"/>
                <a:gd name="T99" fmla="*/ 16448 h 215"/>
                <a:gd name="T100" fmla="*/ 16878 w 346"/>
                <a:gd name="T101" fmla="*/ 17270 h 215"/>
                <a:gd name="T102" fmla="*/ 15101 w 346"/>
                <a:gd name="T103" fmla="*/ 17682 h 215"/>
                <a:gd name="T104" fmla="*/ 11992 w 346"/>
                <a:gd name="T105" fmla="*/ 16859 h 215"/>
                <a:gd name="T106" fmla="*/ 11104 w 346"/>
                <a:gd name="T107" fmla="*/ 16037 h 215"/>
                <a:gd name="T108" fmla="*/ 10215 w 346"/>
                <a:gd name="T109" fmla="*/ 16037 h 215"/>
                <a:gd name="T110" fmla="*/ 7551 w 346"/>
                <a:gd name="T111" fmla="*/ 16859 h 215"/>
                <a:gd name="T112" fmla="*/ 5330 w 346"/>
                <a:gd name="T113" fmla="*/ 16859 h 215"/>
                <a:gd name="T114" fmla="*/ 3997 w 346"/>
                <a:gd name="T115" fmla="*/ 17270 h 215"/>
                <a:gd name="T116" fmla="*/ 2665 w 346"/>
                <a:gd name="T117" fmla="*/ 17270 h 215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46"/>
                <a:gd name="T178" fmla="*/ 0 h 215"/>
                <a:gd name="T179" fmla="*/ 346 w 346"/>
                <a:gd name="T180" fmla="*/ 215 h 215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46" h="215">
                  <a:moveTo>
                    <a:pt x="32" y="208"/>
                  </a:moveTo>
                  <a:lnTo>
                    <a:pt x="31" y="192"/>
                  </a:lnTo>
                  <a:lnTo>
                    <a:pt x="26" y="163"/>
                  </a:lnTo>
                  <a:lnTo>
                    <a:pt x="3" y="143"/>
                  </a:lnTo>
                  <a:lnTo>
                    <a:pt x="3" y="118"/>
                  </a:lnTo>
                  <a:lnTo>
                    <a:pt x="15" y="94"/>
                  </a:lnTo>
                  <a:lnTo>
                    <a:pt x="26" y="82"/>
                  </a:lnTo>
                  <a:lnTo>
                    <a:pt x="11" y="66"/>
                  </a:lnTo>
                  <a:lnTo>
                    <a:pt x="3" y="51"/>
                  </a:lnTo>
                  <a:lnTo>
                    <a:pt x="0" y="29"/>
                  </a:lnTo>
                  <a:lnTo>
                    <a:pt x="3" y="8"/>
                  </a:lnTo>
                  <a:lnTo>
                    <a:pt x="20" y="0"/>
                  </a:lnTo>
                  <a:lnTo>
                    <a:pt x="32" y="4"/>
                  </a:lnTo>
                  <a:lnTo>
                    <a:pt x="26" y="19"/>
                  </a:lnTo>
                  <a:lnTo>
                    <a:pt x="37" y="27"/>
                  </a:lnTo>
                  <a:lnTo>
                    <a:pt x="51" y="27"/>
                  </a:lnTo>
                  <a:lnTo>
                    <a:pt x="85" y="31"/>
                  </a:lnTo>
                  <a:lnTo>
                    <a:pt x="126" y="32"/>
                  </a:lnTo>
                  <a:lnTo>
                    <a:pt x="170" y="40"/>
                  </a:lnTo>
                  <a:lnTo>
                    <a:pt x="187" y="35"/>
                  </a:lnTo>
                  <a:lnTo>
                    <a:pt x="206" y="23"/>
                  </a:lnTo>
                  <a:lnTo>
                    <a:pt x="226" y="13"/>
                  </a:lnTo>
                  <a:lnTo>
                    <a:pt x="252" y="4"/>
                  </a:lnTo>
                  <a:lnTo>
                    <a:pt x="272" y="5"/>
                  </a:lnTo>
                  <a:lnTo>
                    <a:pt x="278" y="10"/>
                  </a:lnTo>
                  <a:lnTo>
                    <a:pt x="308" y="19"/>
                  </a:lnTo>
                  <a:lnTo>
                    <a:pt x="328" y="32"/>
                  </a:lnTo>
                  <a:lnTo>
                    <a:pt x="346" y="31"/>
                  </a:lnTo>
                  <a:lnTo>
                    <a:pt x="343" y="47"/>
                  </a:lnTo>
                  <a:lnTo>
                    <a:pt x="338" y="58"/>
                  </a:lnTo>
                  <a:lnTo>
                    <a:pt x="319" y="63"/>
                  </a:lnTo>
                  <a:lnTo>
                    <a:pt x="306" y="78"/>
                  </a:lnTo>
                  <a:lnTo>
                    <a:pt x="306" y="107"/>
                  </a:lnTo>
                  <a:lnTo>
                    <a:pt x="298" y="110"/>
                  </a:lnTo>
                  <a:lnTo>
                    <a:pt x="295" y="116"/>
                  </a:lnTo>
                  <a:lnTo>
                    <a:pt x="284" y="126"/>
                  </a:lnTo>
                  <a:lnTo>
                    <a:pt x="287" y="129"/>
                  </a:lnTo>
                  <a:lnTo>
                    <a:pt x="292" y="131"/>
                  </a:lnTo>
                  <a:lnTo>
                    <a:pt x="296" y="138"/>
                  </a:lnTo>
                  <a:lnTo>
                    <a:pt x="299" y="148"/>
                  </a:lnTo>
                  <a:lnTo>
                    <a:pt x="310" y="163"/>
                  </a:lnTo>
                  <a:lnTo>
                    <a:pt x="311" y="169"/>
                  </a:lnTo>
                  <a:lnTo>
                    <a:pt x="303" y="167"/>
                  </a:lnTo>
                  <a:lnTo>
                    <a:pt x="280" y="171"/>
                  </a:lnTo>
                  <a:lnTo>
                    <a:pt x="262" y="161"/>
                  </a:lnTo>
                  <a:lnTo>
                    <a:pt x="242" y="169"/>
                  </a:lnTo>
                  <a:lnTo>
                    <a:pt x="228" y="171"/>
                  </a:lnTo>
                  <a:lnTo>
                    <a:pt x="219" y="179"/>
                  </a:lnTo>
                  <a:lnTo>
                    <a:pt x="208" y="180"/>
                  </a:lnTo>
                  <a:lnTo>
                    <a:pt x="206" y="199"/>
                  </a:lnTo>
                  <a:lnTo>
                    <a:pt x="192" y="212"/>
                  </a:lnTo>
                  <a:lnTo>
                    <a:pt x="172" y="215"/>
                  </a:lnTo>
                  <a:lnTo>
                    <a:pt x="137" y="203"/>
                  </a:lnTo>
                  <a:lnTo>
                    <a:pt x="127" y="195"/>
                  </a:lnTo>
                  <a:lnTo>
                    <a:pt x="115" y="195"/>
                  </a:lnTo>
                  <a:lnTo>
                    <a:pt x="84" y="204"/>
                  </a:lnTo>
                  <a:lnTo>
                    <a:pt x="62" y="204"/>
                  </a:lnTo>
                  <a:lnTo>
                    <a:pt x="45" y="208"/>
                  </a:lnTo>
                  <a:lnTo>
                    <a:pt x="32" y="208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56" name="Freeform 212">
              <a:extLst>
                <a:ext uri="{FF2B5EF4-FFF2-40B4-BE49-F238E27FC236}">
                  <a16:creationId xmlns:a16="http://schemas.microsoft.com/office/drawing/2014/main" id="{5F54B393-342A-2426-9C9F-19C44C2C3D3B}"/>
                </a:ext>
              </a:extLst>
            </p:cNvPr>
            <p:cNvSpPr>
              <a:spLocks/>
            </p:cNvSpPr>
            <p:nvPr/>
          </p:nvSpPr>
          <p:spPr bwMode="gray">
            <a:xfrm>
              <a:off x="4619088" y="2013960"/>
              <a:ext cx="111758" cy="96486"/>
            </a:xfrm>
            <a:custGeom>
              <a:avLst/>
              <a:gdLst>
                <a:gd name="T0" fmla="*/ 22576 w 322"/>
                <a:gd name="T1" fmla="*/ 4916 h 276"/>
                <a:gd name="T2" fmla="*/ 19035 w 322"/>
                <a:gd name="T3" fmla="*/ 4097 h 276"/>
                <a:gd name="T4" fmla="*/ 15936 w 322"/>
                <a:gd name="T5" fmla="*/ 819 h 276"/>
                <a:gd name="T6" fmla="*/ 14608 w 322"/>
                <a:gd name="T7" fmla="*/ 410 h 276"/>
                <a:gd name="T8" fmla="*/ 12837 w 322"/>
                <a:gd name="T9" fmla="*/ 410 h 276"/>
                <a:gd name="T10" fmla="*/ 13280 w 322"/>
                <a:gd name="T11" fmla="*/ 1229 h 276"/>
                <a:gd name="T12" fmla="*/ 11952 w 322"/>
                <a:gd name="T13" fmla="*/ 1639 h 276"/>
                <a:gd name="T14" fmla="*/ 9739 w 322"/>
                <a:gd name="T15" fmla="*/ 2868 h 276"/>
                <a:gd name="T16" fmla="*/ 10181 w 322"/>
                <a:gd name="T17" fmla="*/ 4507 h 276"/>
                <a:gd name="T18" fmla="*/ 8411 w 322"/>
                <a:gd name="T19" fmla="*/ 6146 h 276"/>
                <a:gd name="T20" fmla="*/ 8411 w 322"/>
                <a:gd name="T21" fmla="*/ 7784 h 276"/>
                <a:gd name="T22" fmla="*/ 7083 w 322"/>
                <a:gd name="T23" fmla="*/ 7784 h 276"/>
                <a:gd name="T24" fmla="*/ 6640 w 322"/>
                <a:gd name="T25" fmla="*/ 7375 h 276"/>
                <a:gd name="T26" fmla="*/ 4869 w 322"/>
                <a:gd name="T27" fmla="*/ 6146 h 276"/>
                <a:gd name="T28" fmla="*/ 2656 w 322"/>
                <a:gd name="T29" fmla="*/ 7375 h 276"/>
                <a:gd name="T30" fmla="*/ 885 w 322"/>
                <a:gd name="T31" fmla="*/ 7784 h 276"/>
                <a:gd name="T32" fmla="*/ 1328 w 322"/>
                <a:gd name="T33" fmla="*/ 11062 h 276"/>
                <a:gd name="T34" fmla="*/ 3541 w 322"/>
                <a:gd name="T35" fmla="*/ 9423 h 276"/>
                <a:gd name="T36" fmla="*/ 5755 w 322"/>
                <a:gd name="T37" fmla="*/ 9423 h 276"/>
                <a:gd name="T38" fmla="*/ 6640 w 322"/>
                <a:gd name="T39" fmla="*/ 10652 h 276"/>
                <a:gd name="T40" fmla="*/ 8853 w 322"/>
                <a:gd name="T41" fmla="*/ 14340 h 276"/>
                <a:gd name="T42" fmla="*/ 7968 w 322"/>
                <a:gd name="T43" fmla="*/ 15159 h 276"/>
                <a:gd name="T44" fmla="*/ 10624 w 322"/>
                <a:gd name="T45" fmla="*/ 17617 h 276"/>
                <a:gd name="T46" fmla="*/ 11952 w 322"/>
                <a:gd name="T47" fmla="*/ 19256 h 276"/>
                <a:gd name="T48" fmla="*/ 15936 w 322"/>
                <a:gd name="T49" fmla="*/ 20076 h 276"/>
                <a:gd name="T50" fmla="*/ 19478 w 322"/>
                <a:gd name="T51" fmla="*/ 22534 h 276"/>
                <a:gd name="T52" fmla="*/ 17707 w 322"/>
                <a:gd name="T53" fmla="*/ 19256 h 276"/>
                <a:gd name="T54" fmla="*/ 15051 w 322"/>
                <a:gd name="T55" fmla="*/ 17208 h 276"/>
                <a:gd name="T56" fmla="*/ 13723 w 322"/>
                <a:gd name="T57" fmla="*/ 15569 h 276"/>
                <a:gd name="T58" fmla="*/ 12837 w 322"/>
                <a:gd name="T59" fmla="*/ 13930 h 276"/>
                <a:gd name="T60" fmla="*/ 12395 w 322"/>
                <a:gd name="T61" fmla="*/ 12701 h 276"/>
                <a:gd name="T62" fmla="*/ 11067 w 322"/>
                <a:gd name="T63" fmla="*/ 11062 h 276"/>
                <a:gd name="T64" fmla="*/ 11067 w 322"/>
                <a:gd name="T65" fmla="*/ 10243 h 276"/>
                <a:gd name="T66" fmla="*/ 11509 w 322"/>
                <a:gd name="T67" fmla="*/ 7784 h 276"/>
                <a:gd name="T68" fmla="*/ 13280 w 322"/>
                <a:gd name="T69" fmla="*/ 9423 h 276"/>
                <a:gd name="T70" fmla="*/ 15936 w 322"/>
                <a:gd name="T71" fmla="*/ 8194 h 276"/>
                <a:gd name="T72" fmla="*/ 17707 w 322"/>
                <a:gd name="T73" fmla="*/ 8604 h 276"/>
                <a:gd name="T74" fmla="*/ 18592 w 322"/>
                <a:gd name="T75" fmla="*/ 8604 h 276"/>
                <a:gd name="T76" fmla="*/ 20363 w 322"/>
                <a:gd name="T77" fmla="*/ 8604 h 276"/>
                <a:gd name="T78" fmla="*/ 21691 w 322"/>
                <a:gd name="T79" fmla="*/ 8604 h 276"/>
                <a:gd name="T80" fmla="*/ 22576 w 322"/>
                <a:gd name="T81" fmla="*/ 9423 h 276"/>
                <a:gd name="T82" fmla="*/ 23904 w 322"/>
                <a:gd name="T83" fmla="*/ 9423 h 276"/>
                <a:gd name="T84" fmla="*/ 24790 w 322"/>
                <a:gd name="T85" fmla="*/ 9014 h 276"/>
                <a:gd name="T86" fmla="*/ 25232 w 322"/>
                <a:gd name="T87" fmla="*/ 10243 h 276"/>
                <a:gd name="T88" fmla="*/ 27003 w 322"/>
                <a:gd name="T89" fmla="*/ 10243 h 276"/>
                <a:gd name="T90" fmla="*/ 27003 w 322"/>
                <a:gd name="T91" fmla="*/ 9014 h 276"/>
                <a:gd name="T92" fmla="*/ 27446 w 322"/>
                <a:gd name="T93" fmla="*/ 8194 h 276"/>
                <a:gd name="T94" fmla="*/ 28331 w 322"/>
                <a:gd name="T95" fmla="*/ 8194 h 276"/>
                <a:gd name="T96" fmla="*/ 27888 w 322"/>
                <a:gd name="T97" fmla="*/ 8194 h 276"/>
                <a:gd name="T98" fmla="*/ 26560 w 322"/>
                <a:gd name="T99" fmla="*/ 7784 h 276"/>
                <a:gd name="T100" fmla="*/ 26118 w 322"/>
                <a:gd name="T101" fmla="*/ 7375 h 276"/>
                <a:gd name="T102" fmla="*/ 26118 w 322"/>
                <a:gd name="T103" fmla="*/ 6965 h 276"/>
                <a:gd name="T104" fmla="*/ 26560 w 322"/>
                <a:gd name="T105" fmla="*/ 6555 h 276"/>
                <a:gd name="T106" fmla="*/ 26118 w 322"/>
                <a:gd name="T107" fmla="*/ 6146 h 276"/>
                <a:gd name="T108" fmla="*/ 25675 w 322"/>
                <a:gd name="T109" fmla="*/ 6146 h 276"/>
                <a:gd name="T110" fmla="*/ 25675 w 322"/>
                <a:gd name="T111" fmla="*/ 5326 h 276"/>
                <a:gd name="T112" fmla="*/ 24790 w 322"/>
                <a:gd name="T113" fmla="*/ 4097 h 27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22"/>
                <a:gd name="T172" fmla="*/ 0 h 276"/>
                <a:gd name="T173" fmla="*/ 322 w 322"/>
                <a:gd name="T174" fmla="*/ 276 h 27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22" h="276">
                  <a:moveTo>
                    <a:pt x="284" y="50"/>
                  </a:moveTo>
                  <a:lnTo>
                    <a:pt x="272" y="58"/>
                  </a:lnTo>
                  <a:lnTo>
                    <a:pt x="258" y="62"/>
                  </a:lnTo>
                  <a:lnTo>
                    <a:pt x="241" y="63"/>
                  </a:lnTo>
                  <a:lnTo>
                    <a:pt x="226" y="54"/>
                  </a:lnTo>
                  <a:lnTo>
                    <a:pt x="215" y="50"/>
                  </a:lnTo>
                  <a:lnTo>
                    <a:pt x="204" y="35"/>
                  </a:lnTo>
                  <a:lnTo>
                    <a:pt x="189" y="28"/>
                  </a:lnTo>
                  <a:lnTo>
                    <a:pt x="180" y="12"/>
                  </a:lnTo>
                  <a:lnTo>
                    <a:pt x="167" y="7"/>
                  </a:lnTo>
                  <a:lnTo>
                    <a:pt x="167" y="4"/>
                  </a:lnTo>
                  <a:lnTo>
                    <a:pt x="164" y="7"/>
                  </a:lnTo>
                  <a:lnTo>
                    <a:pt x="155" y="1"/>
                  </a:lnTo>
                  <a:lnTo>
                    <a:pt x="151" y="0"/>
                  </a:lnTo>
                  <a:lnTo>
                    <a:pt x="148" y="3"/>
                  </a:lnTo>
                  <a:lnTo>
                    <a:pt x="148" y="8"/>
                  </a:lnTo>
                  <a:lnTo>
                    <a:pt x="149" y="14"/>
                  </a:lnTo>
                  <a:lnTo>
                    <a:pt x="149" y="15"/>
                  </a:lnTo>
                  <a:lnTo>
                    <a:pt x="145" y="14"/>
                  </a:lnTo>
                  <a:lnTo>
                    <a:pt x="138" y="14"/>
                  </a:lnTo>
                  <a:lnTo>
                    <a:pt x="138" y="19"/>
                  </a:lnTo>
                  <a:lnTo>
                    <a:pt x="134" y="22"/>
                  </a:lnTo>
                  <a:lnTo>
                    <a:pt x="114" y="29"/>
                  </a:lnTo>
                  <a:lnTo>
                    <a:pt x="111" y="34"/>
                  </a:lnTo>
                  <a:lnTo>
                    <a:pt x="112" y="38"/>
                  </a:lnTo>
                  <a:lnTo>
                    <a:pt x="118" y="45"/>
                  </a:lnTo>
                  <a:lnTo>
                    <a:pt x="118" y="56"/>
                  </a:lnTo>
                  <a:lnTo>
                    <a:pt x="113" y="63"/>
                  </a:lnTo>
                  <a:lnTo>
                    <a:pt x="105" y="65"/>
                  </a:lnTo>
                  <a:lnTo>
                    <a:pt x="94" y="73"/>
                  </a:lnTo>
                  <a:lnTo>
                    <a:pt x="97" y="78"/>
                  </a:lnTo>
                  <a:lnTo>
                    <a:pt x="94" y="83"/>
                  </a:lnTo>
                  <a:lnTo>
                    <a:pt x="95" y="95"/>
                  </a:lnTo>
                  <a:lnTo>
                    <a:pt x="90" y="99"/>
                  </a:lnTo>
                  <a:lnTo>
                    <a:pt x="86" y="99"/>
                  </a:lnTo>
                  <a:lnTo>
                    <a:pt x="81" y="93"/>
                  </a:lnTo>
                  <a:lnTo>
                    <a:pt x="78" y="93"/>
                  </a:lnTo>
                  <a:lnTo>
                    <a:pt x="75" y="90"/>
                  </a:lnTo>
                  <a:lnTo>
                    <a:pt x="73" y="90"/>
                  </a:lnTo>
                  <a:lnTo>
                    <a:pt x="73" y="94"/>
                  </a:lnTo>
                  <a:lnTo>
                    <a:pt x="68" y="95"/>
                  </a:lnTo>
                  <a:lnTo>
                    <a:pt x="57" y="76"/>
                  </a:lnTo>
                  <a:lnTo>
                    <a:pt x="54" y="76"/>
                  </a:lnTo>
                  <a:lnTo>
                    <a:pt x="47" y="92"/>
                  </a:lnTo>
                  <a:lnTo>
                    <a:pt x="30" y="92"/>
                  </a:lnTo>
                  <a:lnTo>
                    <a:pt x="24" y="87"/>
                  </a:lnTo>
                  <a:lnTo>
                    <a:pt x="21" y="92"/>
                  </a:lnTo>
                  <a:lnTo>
                    <a:pt x="8" y="93"/>
                  </a:lnTo>
                  <a:lnTo>
                    <a:pt x="0" y="87"/>
                  </a:lnTo>
                  <a:lnTo>
                    <a:pt x="4" y="108"/>
                  </a:lnTo>
                  <a:lnTo>
                    <a:pt x="16" y="135"/>
                  </a:lnTo>
                  <a:lnTo>
                    <a:pt x="21" y="138"/>
                  </a:lnTo>
                  <a:lnTo>
                    <a:pt x="27" y="137"/>
                  </a:lnTo>
                  <a:lnTo>
                    <a:pt x="38" y="116"/>
                  </a:lnTo>
                  <a:lnTo>
                    <a:pt x="44" y="99"/>
                  </a:lnTo>
                  <a:lnTo>
                    <a:pt x="57" y="103"/>
                  </a:lnTo>
                  <a:lnTo>
                    <a:pt x="65" y="113"/>
                  </a:lnTo>
                  <a:lnTo>
                    <a:pt x="68" y="113"/>
                  </a:lnTo>
                  <a:lnTo>
                    <a:pt x="73" y="119"/>
                  </a:lnTo>
                  <a:lnTo>
                    <a:pt x="75" y="128"/>
                  </a:lnTo>
                  <a:lnTo>
                    <a:pt x="75" y="143"/>
                  </a:lnTo>
                  <a:lnTo>
                    <a:pt x="84" y="159"/>
                  </a:lnTo>
                  <a:lnTo>
                    <a:pt x="103" y="175"/>
                  </a:lnTo>
                  <a:lnTo>
                    <a:pt x="94" y="178"/>
                  </a:lnTo>
                  <a:lnTo>
                    <a:pt x="90" y="183"/>
                  </a:lnTo>
                  <a:lnTo>
                    <a:pt x="91" y="187"/>
                  </a:lnTo>
                  <a:lnTo>
                    <a:pt x="102" y="202"/>
                  </a:lnTo>
                  <a:lnTo>
                    <a:pt x="112" y="210"/>
                  </a:lnTo>
                  <a:lnTo>
                    <a:pt x="119" y="216"/>
                  </a:lnTo>
                  <a:lnTo>
                    <a:pt x="129" y="221"/>
                  </a:lnTo>
                  <a:lnTo>
                    <a:pt x="134" y="230"/>
                  </a:lnTo>
                  <a:lnTo>
                    <a:pt x="135" y="238"/>
                  </a:lnTo>
                  <a:lnTo>
                    <a:pt x="154" y="237"/>
                  </a:lnTo>
                  <a:lnTo>
                    <a:pt x="166" y="238"/>
                  </a:lnTo>
                  <a:lnTo>
                    <a:pt x="183" y="245"/>
                  </a:lnTo>
                  <a:lnTo>
                    <a:pt x="198" y="256"/>
                  </a:lnTo>
                  <a:lnTo>
                    <a:pt x="211" y="270"/>
                  </a:lnTo>
                  <a:lnTo>
                    <a:pt x="219" y="276"/>
                  </a:lnTo>
                  <a:lnTo>
                    <a:pt x="226" y="272"/>
                  </a:lnTo>
                  <a:lnTo>
                    <a:pt x="204" y="248"/>
                  </a:lnTo>
                  <a:lnTo>
                    <a:pt x="203" y="237"/>
                  </a:lnTo>
                  <a:lnTo>
                    <a:pt x="198" y="233"/>
                  </a:lnTo>
                  <a:lnTo>
                    <a:pt x="193" y="230"/>
                  </a:lnTo>
                  <a:lnTo>
                    <a:pt x="173" y="211"/>
                  </a:lnTo>
                  <a:lnTo>
                    <a:pt x="172" y="206"/>
                  </a:lnTo>
                  <a:lnTo>
                    <a:pt x="162" y="192"/>
                  </a:lnTo>
                  <a:lnTo>
                    <a:pt x="156" y="190"/>
                  </a:lnTo>
                  <a:lnTo>
                    <a:pt x="148" y="178"/>
                  </a:lnTo>
                  <a:lnTo>
                    <a:pt x="143" y="176"/>
                  </a:lnTo>
                  <a:lnTo>
                    <a:pt x="144" y="170"/>
                  </a:lnTo>
                  <a:lnTo>
                    <a:pt x="146" y="168"/>
                  </a:lnTo>
                  <a:lnTo>
                    <a:pt x="143" y="162"/>
                  </a:lnTo>
                  <a:lnTo>
                    <a:pt x="143" y="157"/>
                  </a:lnTo>
                  <a:lnTo>
                    <a:pt x="137" y="151"/>
                  </a:lnTo>
                  <a:lnTo>
                    <a:pt x="133" y="138"/>
                  </a:lnTo>
                  <a:lnTo>
                    <a:pt x="128" y="137"/>
                  </a:lnTo>
                  <a:lnTo>
                    <a:pt x="121" y="131"/>
                  </a:lnTo>
                  <a:lnTo>
                    <a:pt x="121" y="128"/>
                  </a:lnTo>
                  <a:lnTo>
                    <a:pt x="124" y="126"/>
                  </a:lnTo>
                  <a:lnTo>
                    <a:pt x="123" y="122"/>
                  </a:lnTo>
                  <a:lnTo>
                    <a:pt x="123" y="103"/>
                  </a:lnTo>
                  <a:lnTo>
                    <a:pt x="129" y="97"/>
                  </a:lnTo>
                  <a:lnTo>
                    <a:pt x="138" y="99"/>
                  </a:lnTo>
                  <a:lnTo>
                    <a:pt x="138" y="101"/>
                  </a:lnTo>
                  <a:lnTo>
                    <a:pt x="151" y="116"/>
                  </a:lnTo>
                  <a:lnTo>
                    <a:pt x="155" y="116"/>
                  </a:lnTo>
                  <a:lnTo>
                    <a:pt x="164" y="99"/>
                  </a:lnTo>
                  <a:lnTo>
                    <a:pt x="182" y="101"/>
                  </a:lnTo>
                  <a:lnTo>
                    <a:pt x="186" y="97"/>
                  </a:lnTo>
                  <a:lnTo>
                    <a:pt x="188" y="97"/>
                  </a:lnTo>
                  <a:lnTo>
                    <a:pt x="200" y="105"/>
                  </a:lnTo>
                  <a:lnTo>
                    <a:pt x="204" y="105"/>
                  </a:lnTo>
                  <a:lnTo>
                    <a:pt x="207" y="103"/>
                  </a:lnTo>
                  <a:lnTo>
                    <a:pt x="210" y="106"/>
                  </a:lnTo>
                  <a:lnTo>
                    <a:pt x="225" y="109"/>
                  </a:lnTo>
                  <a:lnTo>
                    <a:pt x="226" y="106"/>
                  </a:lnTo>
                  <a:lnTo>
                    <a:pt x="229" y="106"/>
                  </a:lnTo>
                  <a:lnTo>
                    <a:pt x="237" y="114"/>
                  </a:lnTo>
                  <a:lnTo>
                    <a:pt x="240" y="114"/>
                  </a:lnTo>
                  <a:lnTo>
                    <a:pt x="246" y="106"/>
                  </a:lnTo>
                  <a:lnTo>
                    <a:pt x="250" y="106"/>
                  </a:lnTo>
                  <a:lnTo>
                    <a:pt x="253" y="111"/>
                  </a:lnTo>
                  <a:lnTo>
                    <a:pt x="256" y="113"/>
                  </a:lnTo>
                  <a:lnTo>
                    <a:pt x="258" y="108"/>
                  </a:lnTo>
                  <a:lnTo>
                    <a:pt x="269" y="109"/>
                  </a:lnTo>
                  <a:lnTo>
                    <a:pt x="273" y="115"/>
                  </a:lnTo>
                  <a:lnTo>
                    <a:pt x="275" y="114"/>
                  </a:lnTo>
                  <a:lnTo>
                    <a:pt x="275" y="111"/>
                  </a:lnTo>
                  <a:lnTo>
                    <a:pt x="283" y="111"/>
                  </a:lnTo>
                  <a:lnTo>
                    <a:pt x="289" y="119"/>
                  </a:lnTo>
                  <a:lnTo>
                    <a:pt x="288" y="124"/>
                  </a:lnTo>
                  <a:lnTo>
                    <a:pt x="288" y="125"/>
                  </a:lnTo>
                  <a:lnTo>
                    <a:pt x="294" y="130"/>
                  </a:lnTo>
                  <a:lnTo>
                    <a:pt x="301" y="130"/>
                  </a:lnTo>
                  <a:lnTo>
                    <a:pt x="307" y="125"/>
                  </a:lnTo>
                  <a:lnTo>
                    <a:pt x="309" y="120"/>
                  </a:lnTo>
                  <a:lnTo>
                    <a:pt x="307" y="119"/>
                  </a:lnTo>
                  <a:lnTo>
                    <a:pt x="305" y="109"/>
                  </a:lnTo>
                  <a:lnTo>
                    <a:pt x="307" y="106"/>
                  </a:lnTo>
                  <a:lnTo>
                    <a:pt x="309" y="101"/>
                  </a:lnTo>
                  <a:lnTo>
                    <a:pt x="311" y="100"/>
                  </a:lnTo>
                  <a:lnTo>
                    <a:pt x="315" y="101"/>
                  </a:lnTo>
                  <a:lnTo>
                    <a:pt x="318" y="103"/>
                  </a:lnTo>
                  <a:lnTo>
                    <a:pt x="322" y="100"/>
                  </a:lnTo>
                  <a:lnTo>
                    <a:pt x="322" y="98"/>
                  </a:lnTo>
                  <a:lnTo>
                    <a:pt x="320" y="97"/>
                  </a:lnTo>
                  <a:lnTo>
                    <a:pt x="316" y="98"/>
                  </a:lnTo>
                  <a:lnTo>
                    <a:pt x="312" y="95"/>
                  </a:lnTo>
                  <a:lnTo>
                    <a:pt x="307" y="95"/>
                  </a:lnTo>
                  <a:lnTo>
                    <a:pt x="304" y="93"/>
                  </a:lnTo>
                  <a:lnTo>
                    <a:pt x="302" y="92"/>
                  </a:lnTo>
                  <a:lnTo>
                    <a:pt x="299" y="92"/>
                  </a:lnTo>
                  <a:lnTo>
                    <a:pt x="297" y="89"/>
                  </a:lnTo>
                  <a:lnTo>
                    <a:pt x="297" y="88"/>
                  </a:lnTo>
                  <a:lnTo>
                    <a:pt x="299" y="84"/>
                  </a:lnTo>
                  <a:lnTo>
                    <a:pt x="297" y="83"/>
                  </a:lnTo>
                  <a:lnTo>
                    <a:pt x="299" y="81"/>
                  </a:lnTo>
                  <a:lnTo>
                    <a:pt x="300" y="81"/>
                  </a:lnTo>
                  <a:lnTo>
                    <a:pt x="302" y="79"/>
                  </a:lnTo>
                  <a:lnTo>
                    <a:pt x="302" y="77"/>
                  </a:lnTo>
                  <a:lnTo>
                    <a:pt x="299" y="74"/>
                  </a:lnTo>
                  <a:lnTo>
                    <a:pt x="297" y="74"/>
                  </a:lnTo>
                  <a:lnTo>
                    <a:pt x="295" y="77"/>
                  </a:lnTo>
                  <a:lnTo>
                    <a:pt x="291" y="76"/>
                  </a:lnTo>
                  <a:lnTo>
                    <a:pt x="291" y="73"/>
                  </a:lnTo>
                  <a:lnTo>
                    <a:pt x="294" y="70"/>
                  </a:lnTo>
                  <a:lnTo>
                    <a:pt x="294" y="66"/>
                  </a:lnTo>
                  <a:lnTo>
                    <a:pt x="291" y="63"/>
                  </a:lnTo>
                  <a:lnTo>
                    <a:pt x="293" y="61"/>
                  </a:lnTo>
                  <a:lnTo>
                    <a:pt x="293" y="57"/>
                  </a:lnTo>
                  <a:lnTo>
                    <a:pt x="284" y="50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57" name="Freeform 213">
              <a:extLst>
                <a:ext uri="{FF2B5EF4-FFF2-40B4-BE49-F238E27FC236}">
                  <a16:creationId xmlns:a16="http://schemas.microsoft.com/office/drawing/2014/main" id="{0BB47A54-F1EE-1836-AA36-524FBA7AB420}"/>
                </a:ext>
              </a:extLst>
            </p:cNvPr>
            <p:cNvSpPr>
              <a:spLocks/>
            </p:cNvSpPr>
            <p:nvPr/>
          </p:nvSpPr>
          <p:spPr bwMode="gray">
            <a:xfrm>
              <a:off x="4729589" y="2118599"/>
              <a:ext cx="35160" cy="76101"/>
            </a:xfrm>
            <a:custGeom>
              <a:avLst/>
              <a:gdLst>
                <a:gd name="T0" fmla="*/ 4592 w 97"/>
                <a:gd name="T1" fmla="*/ 17682 h 215"/>
                <a:gd name="T2" fmla="*/ 3674 w 97"/>
                <a:gd name="T3" fmla="*/ 17270 h 215"/>
                <a:gd name="T4" fmla="*/ 3674 w 97"/>
                <a:gd name="T5" fmla="*/ 16448 h 215"/>
                <a:gd name="T6" fmla="*/ 2755 w 97"/>
                <a:gd name="T7" fmla="*/ 15626 h 215"/>
                <a:gd name="T8" fmla="*/ 1378 w 97"/>
                <a:gd name="T9" fmla="*/ 15214 h 215"/>
                <a:gd name="T10" fmla="*/ 459 w 97"/>
                <a:gd name="T11" fmla="*/ 13981 h 215"/>
                <a:gd name="T12" fmla="*/ 0 w 97"/>
                <a:gd name="T13" fmla="*/ 13158 h 215"/>
                <a:gd name="T14" fmla="*/ 459 w 97"/>
                <a:gd name="T15" fmla="*/ 13158 h 215"/>
                <a:gd name="T16" fmla="*/ 459 w 97"/>
                <a:gd name="T17" fmla="*/ 12336 h 215"/>
                <a:gd name="T18" fmla="*/ 459 w 97"/>
                <a:gd name="T19" fmla="*/ 11514 h 215"/>
                <a:gd name="T20" fmla="*/ 459 w 97"/>
                <a:gd name="T21" fmla="*/ 10280 h 215"/>
                <a:gd name="T22" fmla="*/ 918 w 97"/>
                <a:gd name="T23" fmla="*/ 10280 h 215"/>
                <a:gd name="T24" fmla="*/ 918 w 97"/>
                <a:gd name="T25" fmla="*/ 9458 h 215"/>
                <a:gd name="T26" fmla="*/ 918 w 97"/>
                <a:gd name="T27" fmla="*/ 8635 h 215"/>
                <a:gd name="T28" fmla="*/ 459 w 97"/>
                <a:gd name="T29" fmla="*/ 7813 h 215"/>
                <a:gd name="T30" fmla="*/ 1378 w 97"/>
                <a:gd name="T31" fmla="*/ 5346 h 215"/>
                <a:gd name="T32" fmla="*/ 918 w 97"/>
                <a:gd name="T33" fmla="*/ 4934 h 215"/>
                <a:gd name="T34" fmla="*/ 0 w 97"/>
                <a:gd name="T35" fmla="*/ 4523 h 215"/>
                <a:gd name="T36" fmla="*/ 459 w 97"/>
                <a:gd name="T37" fmla="*/ 3290 h 215"/>
                <a:gd name="T38" fmla="*/ 459 w 97"/>
                <a:gd name="T39" fmla="*/ 2467 h 215"/>
                <a:gd name="T40" fmla="*/ 918 w 97"/>
                <a:gd name="T41" fmla="*/ 1234 h 215"/>
                <a:gd name="T42" fmla="*/ 1837 w 97"/>
                <a:gd name="T43" fmla="*/ 822 h 215"/>
                <a:gd name="T44" fmla="*/ 2296 w 97"/>
                <a:gd name="T45" fmla="*/ 0 h 215"/>
                <a:gd name="T46" fmla="*/ 2755 w 97"/>
                <a:gd name="T47" fmla="*/ 411 h 215"/>
                <a:gd name="T48" fmla="*/ 4133 w 97"/>
                <a:gd name="T49" fmla="*/ 822 h 215"/>
                <a:gd name="T50" fmla="*/ 5051 w 97"/>
                <a:gd name="T51" fmla="*/ 1645 h 215"/>
                <a:gd name="T52" fmla="*/ 5970 w 97"/>
                <a:gd name="T53" fmla="*/ 2056 h 215"/>
                <a:gd name="T54" fmla="*/ 6888 w 97"/>
                <a:gd name="T55" fmla="*/ 3290 h 215"/>
                <a:gd name="T56" fmla="*/ 6429 w 97"/>
                <a:gd name="T57" fmla="*/ 6168 h 215"/>
                <a:gd name="T58" fmla="*/ 6429 w 97"/>
                <a:gd name="T59" fmla="*/ 7813 h 215"/>
                <a:gd name="T60" fmla="*/ 7347 w 97"/>
                <a:gd name="T61" fmla="*/ 9458 h 215"/>
                <a:gd name="T62" fmla="*/ 8725 w 97"/>
                <a:gd name="T63" fmla="*/ 10691 h 215"/>
                <a:gd name="T64" fmla="*/ 9184 w 97"/>
                <a:gd name="T65" fmla="*/ 11514 h 215"/>
                <a:gd name="T66" fmla="*/ 9184 w 97"/>
                <a:gd name="T67" fmla="*/ 12747 h 215"/>
                <a:gd name="T68" fmla="*/ 7807 w 97"/>
                <a:gd name="T69" fmla="*/ 13570 h 215"/>
                <a:gd name="T70" fmla="*/ 6888 w 97"/>
                <a:gd name="T71" fmla="*/ 15214 h 215"/>
                <a:gd name="T72" fmla="*/ 5970 w 97"/>
                <a:gd name="T73" fmla="*/ 15626 h 215"/>
                <a:gd name="T74" fmla="*/ 5970 w 97"/>
                <a:gd name="T75" fmla="*/ 16859 h 215"/>
                <a:gd name="T76" fmla="*/ 5511 w 97"/>
                <a:gd name="T77" fmla="*/ 17270 h 215"/>
                <a:gd name="T78" fmla="*/ 4592 w 97"/>
                <a:gd name="T79" fmla="*/ 17682 h 215"/>
                <a:gd name="T80" fmla="*/ 4592 w 97"/>
                <a:gd name="T81" fmla="*/ 17682 h 21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97"/>
                <a:gd name="T124" fmla="*/ 0 h 215"/>
                <a:gd name="T125" fmla="*/ 97 w 97"/>
                <a:gd name="T126" fmla="*/ 215 h 21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97" h="215">
                  <a:moveTo>
                    <a:pt x="48" y="215"/>
                  </a:moveTo>
                  <a:lnTo>
                    <a:pt x="39" y="210"/>
                  </a:lnTo>
                  <a:lnTo>
                    <a:pt x="38" y="200"/>
                  </a:lnTo>
                  <a:lnTo>
                    <a:pt x="31" y="190"/>
                  </a:lnTo>
                  <a:lnTo>
                    <a:pt x="13" y="183"/>
                  </a:lnTo>
                  <a:lnTo>
                    <a:pt x="4" y="168"/>
                  </a:lnTo>
                  <a:lnTo>
                    <a:pt x="0" y="160"/>
                  </a:lnTo>
                  <a:lnTo>
                    <a:pt x="7" y="161"/>
                  </a:lnTo>
                  <a:lnTo>
                    <a:pt x="7" y="152"/>
                  </a:lnTo>
                  <a:lnTo>
                    <a:pt x="4" y="139"/>
                  </a:lnTo>
                  <a:lnTo>
                    <a:pt x="7" y="125"/>
                  </a:lnTo>
                  <a:lnTo>
                    <a:pt x="8" y="123"/>
                  </a:lnTo>
                  <a:lnTo>
                    <a:pt x="8" y="114"/>
                  </a:lnTo>
                  <a:lnTo>
                    <a:pt x="10" y="106"/>
                  </a:lnTo>
                  <a:lnTo>
                    <a:pt x="6" y="94"/>
                  </a:lnTo>
                  <a:lnTo>
                    <a:pt x="15" y="64"/>
                  </a:lnTo>
                  <a:lnTo>
                    <a:pt x="10" y="58"/>
                  </a:lnTo>
                  <a:lnTo>
                    <a:pt x="2" y="56"/>
                  </a:lnTo>
                  <a:lnTo>
                    <a:pt x="7" y="40"/>
                  </a:lnTo>
                  <a:lnTo>
                    <a:pt x="5" y="29"/>
                  </a:lnTo>
                  <a:lnTo>
                    <a:pt x="10" y="15"/>
                  </a:lnTo>
                  <a:lnTo>
                    <a:pt x="17" y="10"/>
                  </a:lnTo>
                  <a:lnTo>
                    <a:pt x="23" y="0"/>
                  </a:lnTo>
                  <a:lnTo>
                    <a:pt x="31" y="7"/>
                  </a:lnTo>
                  <a:lnTo>
                    <a:pt x="45" y="9"/>
                  </a:lnTo>
                  <a:lnTo>
                    <a:pt x="51" y="20"/>
                  </a:lnTo>
                  <a:lnTo>
                    <a:pt x="61" y="24"/>
                  </a:lnTo>
                  <a:lnTo>
                    <a:pt x="74" y="40"/>
                  </a:lnTo>
                  <a:lnTo>
                    <a:pt x="69" y="76"/>
                  </a:lnTo>
                  <a:lnTo>
                    <a:pt x="69" y="93"/>
                  </a:lnTo>
                  <a:lnTo>
                    <a:pt x="77" y="113"/>
                  </a:lnTo>
                  <a:lnTo>
                    <a:pt x="94" y="130"/>
                  </a:lnTo>
                  <a:lnTo>
                    <a:pt x="97" y="140"/>
                  </a:lnTo>
                  <a:lnTo>
                    <a:pt x="97" y="155"/>
                  </a:lnTo>
                  <a:lnTo>
                    <a:pt x="83" y="166"/>
                  </a:lnTo>
                  <a:lnTo>
                    <a:pt x="75" y="183"/>
                  </a:lnTo>
                  <a:lnTo>
                    <a:pt x="65" y="190"/>
                  </a:lnTo>
                  <a:lnTo>
                    <a:pt x="63" y="203"/>
                  </a:lnTo>
                  <a:lnTo>
                    <a:pt x="58" y="209"/>
                  </a:lnTo>
                  <a:lnTo>
                    <a:pt x="49" y="215"/>
                  </a:lnTo>
                  <a:lnTo>
                    <a:pt x="48" y="215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58" name="Freeform 214">
              <a:extLst>
                <a:ext uri="{FF2B5EF4-FFF2-40B4-BE49-F238E27FC236}">
                  <a16:creationId xmlns:a16="http://schemas.microsoft.com/office/drawing/2014/main" id="{805DA77A-CC7C-2E94-3170-164109096BF7}"/>
                </a:ext>
              </a:extLst>
            </p:cNvPr>
            <p:cNvSpPr>
              <a:spLocks/>
            </p:cNvSpPr>
            <p:nvPr/>
          </p:nvSpPr>
          <p:spPr bwMode="gray">
            <a:xfrm>
              <a:off x="4713266" y="2022114"/>
              <a:ext cx="85388" cy="118229"/>
            </a:xfrm>
            <a:custGeom>
              <a:avLst/>
              <a:gdLst>
                <a:gd name="T0" fmla="*/ 2218 w 241"/>
                <a:gd name="T1" fmla="*/ 2913 h 331"/>
                <a:gd name="T2" fmla="*/ 2218 w 241"/>
                <a:gd name="T3" fmla="*/ 3745 h 331"/>
                <a:gd name="T4" fmla="*/ 2218 w 241"/>
                <a:gd name="T5" fmla="*/ 4162 h 331"/>
                <a:gd name="T6" fmla="*/ 2662 w 241"/>
                <a:gd name="T7" fmla="*/ 4162 h 331"/>
                <a:gd name="T8" fmla="*/ 2662 w 241"/>
                <a:gd name="T9" fmla="*/ 4578 h 331"/>
                <a:gd name="T10" fmla="*/ 2218 w 241"/>
                <a:gd name="T11" fmla="*/ 4994 h 331"/>
                <a:gd name="T12" fmla="*/ 2662 w 241"/>
                <a:gd name="T13" fmla="*/ 5410 h 331"/>
                <a:gd name="T14" fmla="*/ 3549 w 241"/>
                <a:gd name="T15" fmla="*/ 5826 h 331"/>
                <a:gd name="T16" fmla="*/ 4436 w 241"/>
                <a:gd name="T17" fmla="*/ 5826 h 331"/>
                <a:gd name="T18" fmla="*/ 3992 w 241"/>
                <a:gd name="T19" fmla="*/ 6242 h 331"/>
                <a:gd name="T20" fmla="*/ 3105 w 241"/>
                <a:gd name="T21" fmla="*/ 6659 h 331"/>
                <a:gd name="T22" fmla="*/ 3549 w 241"/>
                <a:gd name="T23" fmla="*/ 7907 h 331"/>
                <a:gd name="T24" fmla="*/ 4436 w 241"/>
                <a:gd name="T25" fmla="*/ 8323 h 331"/>
                <a:gd name="T26" fmla="*/ 3992 w 241"/>
                <a:gd name="T27" fmla="*/ 9572 h 331"/>
                <a:gd name="T28" fmla="*/ 3549 w 241"/>
                <a:gd name="T29" fmla="*/ 10820 h 331"/>
                <a:gd name="T30" fmla="*/ 3549 w 241"/>
                <a:gd name="T31" fmla="*/ 12069 h 331"/>
                <a:gd name="T32" fmla="*/ 4436 w 241"/>
                <a:gd name="T33" fmla="*/ 12485 h 331"/>
                <a:gd name="T34" fmla="*/ 4879 w 241"/>
                <a:gd name="T35" fmla="*/ 13317 h 331"/>
                <a:gd name="T36" fmla="*/ 5323 w 241"/>
                <a:gd name="T37" fmla="*/ 13317 h 331"/>
                <a:gd name="T38" fmla="*/ 5767 w 241"/>
                <a:gd name="T39" fmla="*/ 14150 h 331"/>
                <a:gd name="T40" fmla="*/ 4436 w 241"/>
                <a:gd name="T41" fmla="*/ 14150 h 331"/>
                <a:gd name="T42" fmla="*/ 3992 w 241"/>
                <a:gd name="T43" fmla="*/ 14566 h 331"/>
                <a:gd name="T44" fmla="*/ 5323 w 241"/>
                <a:gd name="T45" fmla="*/ 15814 h 331"/>
                <a:gd name="T46" fmla="*/ 4879 w 241"/>
                <a:gd name="T47" fmla="*/ 16647 h 331"/>
                <a:gd name="T48" fmla="*/ 4436 w 241"/>
                <a:gd name="T49" fmla="*/ 17063 h 331"/>
                <a:gd name="T50" fmla="*/ 3105 w 241"/>
                <a:gd name="T51" fmla="*/ 17063 h 331"/>
                <a:gd name="T52" fmla="*/ 2662 w 241"/>
                <a:gd name="T53" fmla="*/ 17063 h 331"/>
                <a:gd name="T54" fmla="*/ 2662 w 241"/>
                <a:gd name="T55" fmla="*/ 17895 h 331"/>
                <a:gd name="T56" fmla="*/ 3105 w 241"/>
                <a:gd name="T57" fmla="*/ 18727 h 331"/>
                <a:gd name="T58" fmla="*/ 2662 w 241"/>
                <a:gd name="T59" fmla="*/ 18727 h 331"/>
                <a:gd name="T60" fmla="*/ 2218 w 241"/>
                <a:gd name="T61" fmla="*/ 18311 h 331"/>
                <a:gd name="T62" fmla="*/ 887 w 241"/>
                <a:gd name="T63" fmla="*/ 19560 h 331"/>
                <a:gd name="T64" fmla="*/ 444 w 241"/>
                <a:gd name="T65" fmla="*/ 20392 h 331"/>
                <a:gd name="T66" fmla="*/ 0 w 241"/>
                <a:gd name="T67" fmla="*/ 21224 h 331"/>
                <a:gd name="T68" fmla="*/ 444 w 241"/>
                <a:gd name="T69" fmla="*/ 22473 h 331"/>
                <a:gd name="T70" fmla="*/ 0 w 241"/>
                <a:gd name="T71" fmla="*/ 24138 h 331"/>
                <a:gd name="T72" fmla="*/ 3105 w 241"/>
                <a:gd name="T73" fmla="*/ 26635 h 331"/>
                <a:gd name="T74" fmla="*/ 4879 w 241"/>
                <a:gd name="T75" fmla="*/ 26635 h 331"/>
                <a:gd name="T76" fmla="*/ 5767 w 241"/>
                <a:gd name="T77" fmla="*/ 24138 h 331"/>
                <a:gd name="T78" fmla="*/ 7985 w 241"/>
                <a:gd name="T79" fmla="*/ 23721 h 331"/>
                <a:gd name="T80" fmla="*/ 10646 w 241"/>
                <a:gd name="T81" fmla="*/ 26635 h 331"/>
                <a:gd name="T82" fmla="*/ 11533 w 241"/>
                <a:gd name="T83" fmla="*/ 26635 h 331"/>
                <a:gd name="T84" fmla="*/ 13308 w 241"/>
                <a:gd name="T85" fmla="*/ 25386 h 331"/>
                <a:gd name="T86" fmla="*/ 14195 w 241"/>
                <a:gd name="T87" fmla="*/ 25386 h 331"/>
                <a:gd name="T88" fmla="*/ 16413 w 241"/>
                <a:gd name="T89" fmla="*/ 24970 h 331"/>
                <a:gd name="T90" fmla="*/ 19074 w 241"/>
                <a:gd name="T91" fmla="*/ 25386 h 331"/>
                <a:gd name="T92" fmla="*/ 21292 w 241"/>
                <a:gd name="T93" fmla="*/ 20392 h 331"/>
                <a:gd name="T94" fmla="*/ 19074 w 241"/>
                <a:gd name="T95" fmla="*/ 15814 h 331"/>
                <a:gd name="T96" fmla="*/ 19962 w 241"/>
                <a:gd name="T97" fmla="*/ 13317 h 331"/>
                <a:gd name="T98" fmla="*/ 19518 w 241"/>
                <a:gd name="T99" fmla="*/ 9988 h 331"/>
                <a:gd name="T100" fmla="*/ 14638 w 241"/>
                <a:gd name="T101" fmla="*/ 8739 h 331"/>
                <a:gd name="T102" fmla="*/ 13751 w 241"/>
                <a:gd name="T103" fmla="*/ 6242 h 331"/>
                <a:gd name="T104" fmla="*/ 11533 w 241"/>
                <a:gd name="T105" fmla="*/ 3745 h 331"/>
                <a:gd name="T106" fmla="*/ 8872 w 241"/>
                <a:gd name="T107" fmla="*/ 832 h 331"/>
                <a:gd name="T108" fmla="*/ 7097 w 241"/>
                <a:gd name="T109" fmla="*/ 416 h 331"/>
                <a:gd name="T110" fmla="*/ 3105 w 241"/>
                <a:gd name="T111" fmla="*/ 1248 h 33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41"/>
                <a:gd name="T169" fmla="*/ 0 h 331"/>
                <a:gd name="T170" fmla="*/ 241 w 241"/>
                <a:gd name="T171" fmla="*/ 331 h 331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41" h="331">
                  <a:moveTo>
                    <a:pt x="14" y="22"/>
                  </a:moveTo>
                  <a:lnTo>
                    <a:pt x="23" y="29"/>
                  </a:lnTo>
                  <a:lnTo>
                    <a:pt x="23" y="33"/>
                  </a:lnTo>
                  <a:lnTo>
                    <a:pt x="21" y="35"/>
                  </a:lnTo>
                  <a:lnTo>
                    <a:pt x="24" y="38"/>
                  </a:lnTo>
                  <a:lnTo>
                    <a:pt x="24" y="42"/>
                  </a:lnTo>
                  <a:lnTo>
                    <a:pt x="21" y="45"/>
                  </a:lnTo>
                  <a:lnTo>
                    <a:pt x="21" y="48"/>
                  </a:lnTo>
                  <a:lnTo>
                    <a:pt x="25" y="49"/>
                  </a:lnTo>
                  <a:lnTo>
                    <a:pt x="27" y="46"/>
                  </a:lnTo>
                  <a:lnTo>
                    <a:pt x="29" y="46"/>
                  </a:lnTo>
                  <a:lnTo>
                    <a:pt x="32" y="49"/>
                  </a:lnTo>
                  <a:lnTo>
                    <a:pt x="32" y="51"/>
                  </a:lnTo>
                  <a:lnTo>
                    <a:pt x="30" y="53"/>
                  </a:lnTo>
                  <a:lnTo>
                    <a:pt x="29" y="53"/>
                  </a:lnTo>
                  <a:lnTo>
                    <a:pt x="27" y="55"/>
                  </a:lnTo>
                  <a:lnTo>
                    <a:pt x="29" y="56"/>
                  </a:lnTo>
                  <a:lnTo>
                    <a:pt x="27" y="60"/>
                  </a:lnTo>
                  <a:lnTo>
                    <a:pt x="27" y="61"/>
                  </a:lnTo>
                  <a:lnTo>
                    <a:pt x="29" y="64"/>
                  </a:lnTo>
                  <a:lnTo>
                    <a:pt x="32" y="64"/>
                  </a:lnTo>
                  <a:lnTo>
                    <a:pt x="34" y="65"/>
                  </a:lnTo>
                  <a:lnTo>
                    <a:pt x="37" y="67"/>
                  </a:lnTo>
                  <a:lnTo>
                    <a:pt x="42" y="67"/>
                  </a:lnTo>
                  <a:lnTo>
                    <a:pt x="46" y="70"/>
                  </a:lnTo>
                  <a:lnTo>
                    <a:pt x="50" y="69"/>
                  </a:lnTo>
                  <a:lnTo>
                    <a:pt x="52" y="70"/>
                  </a:lnTo>
                  <a:lnTo>
                    <a:pt x="52" y="72"/>
                  </a:lnTo>
                  <a:lnTo>
                    <a:pt x="48" y="75"/>
                  </a:lnTo>
                  <a:lnTo>
                    <a:pt x="45" y="73"/>
                  </a:lnTo>
                  <a:lnTo>
                    <a:pt x="41" y="72"/>
                  </a:lnTo>
                  <a:lnTo>
                    <a:pt x="39" y="73"/>
                  </a:lnTo>
                  <a:lnTo>
                    <a:pt x="37" y="78"/>
                  </a:lnTo>
                  <a:lnTo>
                    <a:pt x="35" y="81"/>
                  </a:lnTo>
                  <a:lnTo>
                    <a:pt x="37" y="91"/>
                  </a:lnTo>
                  <a:lnTo>
                    <a:pt x="39" y="92"/>
                  </a:lnTo>
                  <a:lnTo>
                    <a:pt x="37" y="97"/>
                  </a:lnTo>
                  <a:lnTo>
                    <a:pt x="50" y="97"/>
                  </a:lnTo>
                  <a:lnTo>
                    <a:pt x="52" y="100"/>
                  </a:lnTo>
                  <a:lnTo>
                    <a:pt x="51" y="104"/>
                  </a:lnTo>
                  <a:lnTo>
                    <a:pt x="51" y="108"/>
                  </a:lnTo>
                  <a:lnTo>
                    <a:pt x="46" y="115"/>
                  </a:lnTo>
                  <a:lnTo>
                    <a:pt x="41" y="126"/>
                  </a:lnTo>
                  <a:lnTo>
                    <a:pt x="39" y="128"/>
                  </a:lnTo>
                  <a:lnTo>
                    <a:pt x="39" y="130"/>
                  </a:lnTo>
                  <a:lnTo>
                    <a:pt x="40" y="132"/>
                  </a:lnTo>
                  <a:lnTo>
                    <a:pt x="36" y="137"/>
                  </a:lnTo>
                  <a:lnTo>
                    <a:pt x="39" y="145"/>
                  </a:lnTo>
                  <a:lnTo>
                    <a:pt x="42" y="145"/>
                  </a:lnTo>
                  <a:lnTo>
                    <a:pt x="45" y="147"/>
                  </a:lnTo>
                  <a:lnTo>
                    <a:pt x="48" y="146"/>
                  </a:lnTo>
                  <a:lnTo>
                    <a:pt x="50" y="148"/>
                  </a:lnTo>
                  <a:lnTo>
                    <a:pt x="51" y="152"/>
                  </a:lnTo>
                  <a:lnTo>
                    <a:pt x="54" y="156"/>
                  </a:lnTo>
                  <a:lnTo>
                    <a:pt x="58" y="156"/>
                  </a:lnTo>
                  <a:lnTo>
                    <a:pt x="58" y="157"/>
                  </a:lnTo>
                  <a:lnTo>
                    <a:pt x="58" y="159"/>
                  </a:lnTo>
                  <a:lnTo>
                    <a:pt x="63" y="162"/>
                  </a:lnTo>
                  <a:lnTo>
                    <a:pt x="66" y="163"/>
                  </a:lnTo>
                  <a:lnTo>
                    <a:pt x="66" y="166"/>
                  </a:lnTo>
                  <a:lnTo>
                    <a:pt x="62" y="171"/>
                  </a:lnTo>
                  <a:lnTo>
                    <a:pt x="53" y="171"/>
                  </a:lnTo>
                  <a:lnTo>
                    <a:pt x="48" y="167"/>
                  </a:lnTo>
                  <a:lnTo>
                    <a:pt x="46" y="167"/>
                  </a:lnTo>
                  <a:lnTo>
                    <a:pt x="45" y="169"/>
                  </a:lnTo>
                  <a:lnTo>
                    <a:pt x="46" y="171"/>
                  </a:lnTo>
                  <a:lnTo>
                    <a:pt x="52" y="178"/>
                  </a:lnTo>
                  <a:lnTo>
                    <a:pt x="58" y="186"/>
                  </a:lnTo>
                  <a:lnTo>
                    <a:pt x="61" y="188"/>
                  </a:lnTo>
                  <a:lnTo>
                    <a:pt x="59" y="195"/>
                  </a:lnTo>
                  <a:lnTo>
                    <a:pt x="58" y="198"/>
                  </a:lnTo>
                  <a:lnTo>
                    <a:pt x="56" y="199"/>
                  </a:lnTo>
                  <a:lnTo>
                    <a:pt x="53" y="198"/>
                  </a:lnTo>
                  <a:lnTo>
                    <a:pt x="51" y="198"/>
                  </a:lnTo>
                  <a:lnTo>
                    <a:pt x="48" y="201"/>
                  </a:lnTo>
                  <a:lnTo>
                    <a:pt x="43" y="204"/>
                  </a:lnTo>
                  <a:lnTo>
                    <a:pt x="40" y="204"/>
                  </a:lnTo>
                  <a:lnTo>
                    <a:pt x="37" y="205"/>
                  </a:lnTo>
                  <a:lnTo>
                    <a:pt x="35" y="205"/>
                  </a:lnTo>
                  <a:lnTo>
                    <a:pt x="34" y="202"/>
                  </a:lnTo>
                  <a:lnTo>
                    <a:pt x="31" y="202"/>
                  </a:lnTo>
                  <a:lnTo>
                    <a:pt x="27" y="206"/>
                  </a:lnTo>
                  <a:lnTo>
                    <a:pt x="29" y="209"/>
                  </a:lnTo>
                  <a:lnTo>
                    <a:pt x="32" y="210"/>
                  </a:lnTo>
                  <a:lnTo>
                    <a:pt x="34" y="215"/>
                  </a:lnTo>
                  <a:lnTo>
                    <a:pt x="35" y="218"/>
                  </a:lnTo>
                  <a:lnTo>
                    <a:pt x="35" y="223"/>
                  </a:lnTo>
                  <a:lnTo>
                    <a:pt x="34" y="226"/>
                  </a:lnTo>
                  <a:lnTo>
                    <a:pt x="31" y="226"/>
                  </a:lnTo>
                  <a:lnTo>
                    <a:pt x="30" y="223"/>
                  </a:lnTo>
                  <a:lnTo>
                    <a:pt x="29" y="218"/>
                  </a:lnTo>
                  <a:lnTo>
                    <a:pt x="26" y="217"/>
                  </a:lnTo>
                  <a:lnTo>
                    <a:pt x="23" y="217"/>
                  </a:lnTo>
                  <a:lnTo>
                    <a:pt x="14" y="225"/>
                  </a:lnTo>
                  <a:lnTo>
                    <a:pt x="13" y="229"/>
                  </a:lnTo>
                  <a:lnTo>
                    <a:pt x="11" y="232"/>
                  </a:lnTo>
                  <a:lnTo>
                    <a:pt x="11" y="239"/>
                  </a:lnTo>
                  <a:lnTo>
                    <a:pt x="9" y="242"/>
                  </a:lnTo>
                  <a:lnTo>
                    <a:pt x="4" y="242"/>
                  </a:lnTo>
                  <a:lnTo>
                    <a:pt x="2" y="244"/>
                  </a:lnTo>
                  <a:lnTo>
                    <a:pt x="2" y="253"/>
                  </a:lnTo>
                  <a:lnTo>
                    <a:pt x="0" y="254"/>
                  </a:lnTo>
                  <a:lnTo>
                    <a:pt x="0" y="258"/>
                  </a:lnTo>
                  <a:lnTo>
                    <a:pt x="3" y="263"/>
                  </a:lnTo>
                  <a:lnTo>
                    <a:pt x="5" y="265"/>
                  </a:lnTo>
                  <a:lnTo>
                    <a:pt x="5" y="270"/>
                  </a:lnTo>
                  <a:lnTo>
                    <a:pt x="0" y="277"/>
                  </a:lnTo>
                  <a:lnTo>
                    <a:pt x="0" y="285"/>
                  </a:lnTo>
                  <a:lnTo>
                    <a:pt x="16" y="297"/>
                  </a:lnTo>
                  <a:lnTo>
                    <a:pt x="27" y="308"/>
                  </a:lnTo>
                  <a:lnTo>
                    <a:pt x="36" y="314"/>
                  </a:lnTo>
                  <a:lnTo>
                    <a:pt x="42" y="326"/>
                  </a:lnTo>
                  <a:lnTo>
                    <a:pt x="48" y="331"/>
                  </a:lnTo>
                  <a:lnTo>
                    <a:pt x="53" y="315"/>
                  </a:lnTo>
                  <a:lnTo>
                    <a:pt x="51" y="304"/>
                  </a:lnTo>
                  <a:lnTo>
                    <a:pt x="56" y="290"/>
                  </a:lnTo>
                  <a:lnTo>
                    <a:pt x="63" y="285"/>
                  </a:lnTo>
                  <a:lnTo>
                    <a:pt x="69" y="275"/>
                  </a:lnTo>
                  <a:lnTo>
                    <a:pt x="77" y="282"/>
                  </a:lnTo>
                  <a:lnTo>
                    <a:pt x="91" y="284"/>
                  </a:lnTo>
                  <a:lnTo>
                    <a:pt x="97" y="295"/>
                  </a:lnTo>
                  <a:lnTo>
                    <a:pt x="107" y="299"/>
                  </a:lnTo>
                  <a:lnTo>
                    <a:pt x="120" y="315"/>
                  </a:lnTo>
                  <a:lnTo>
                    <a:pt x="121" y="317"/>
                  </a:lnTo>
                  <a:lnTo>
                    <a:pt x="126" y="317"/>
                  </a:lnTo>
                  <a:lnTo>
                    <a:pt x="129" y="314"/>
                  </a:lnTo>
                  <a:lnTo>
                    <a:pt x="129" y="306"/>
                  </a:lnTo>
                  <a:lnTo>
                    <a:pt x="147" y="299"/>
                  </a:lnTo>
                  <a:lnTo>
                    <a:pt x="150" y="301"/>
                  </a:lnTo>
                  <a:lnTo>
                    <a:pt x="156" y="308"/>
                  </a:lnTo>
                  <a:lnTo>
                    <a:pt x="159" y="308"/>
                  </a:lnTo>
                  <a:lnTo>
                    <a:pt x="159" y="303"/>
                  </a:lnTo>
                  <a:lnTo>
                    <a:pt x="166" y="298"/>
                  </a:lnTo>
                  <a:lnTo>
                    <a:pt x="182" y="302"/>
                  </a:lnTo>
                  <a:lnTo>
                    <a:pt x="186" y="298"/>
                  </a:lnTo>
                  <a:lnTo>
                    <a:pt x="201" y="301"/>
                  </a:lnTo>
                  <a:lnTo>
                    <a:pt x="212" y="299"/>
                  </a:lnTo>
                  <a:lnTo>
                    <a:pt x="218" y="302"/>
                  </a:lnTo>
                  <a:lnTo>
                    <a:pt x="218" y="277"/>
                  </a:lnTo>
                  <a:lnTo>
                    <a:pt x="230" y="253"/>
                  </a:lnTo>
                  <a:lnTo>
                    <a:pt x="241" y="241"/>
                  </a:lnTo>
                  <a:lnTo>
                    <a:pt x="226" y="225"/>
                  </a:lnTo>
                  <a:lnTo>
                    <a:pt x="218" y="210"/>
                  </a:lnTo>
                  <a:lnTo>
                    <a:pt x="215" y="188"/>
                  </a:lnTo>
                  <a:lnTo>
                    <a:pt x="218" y="167"/>
                  </a:lnTo>
                  <a:lnTo>
                    <a:pt x="235" y="159"/>
                  </a:lnTo>
                  <a:lnTo>
                    <a:pt x="225" y="157"/>
                  </a:lnTo>
                  <a:lnTo>
                    <a:pt x="218" y="141"/>
                  </a:lnTo>
                  <a:lnTo>
                    <a:pt x="228" y="130"/>
                  </a:lnTo>
                  <a:lnTo>
                    <a:pt x="220" y="119"/>
                  </a:lnTo>
                  <a:lnTo>
                    <a:pt x="209" y="128"/>
                  </a:lnTo>
                  <a:lnTo>
                    <a:pt x="181" y="118"/>
                  </a:lnTo>
                  <a:lnTo>
                    <a:pt x="166" y="105"/>
                  </a:lnTo>
                  <a:lnTo>
                    <a:pt x="165" y="91"/>
                  </a:lnTo>
                  <a:lnTo>
                    <a:pt x="163" y="81"/>
                  </a:lnTo>
                  <a:lnTo>
                    <a:pt x="154" y="76"/>
                  </a:lnTo>
                  <a:lnTo>
                    <a:pt x="143" y="73"/>
                  </a:lnTo>
                  <a:lnTo>
                    <a:pt x="134" y="60"/>
                  </a:lnTo>
                  <a:lnTo>
                    <a:pt x="129" y="42"/>
                  </a:lnTo>
                  <a:lnTo>
                    <a:pt x="124" y="29"/>
                  </a:lnTo>
                  <a:lnTo>
                    <a:pt x="113" y="17"/>
                  </a:lnTo>
                  <a:lnTo>
                    <a:pt x="99" y="11"/>
                  </a:lnTo>
                  <a:lnTo>
                    <a:pt x="94" y="7"/>
                  </a:lnTo>
                  <a:lnTo>
                    <a:pt x="90" y="0"/>
                  </a:lnTo>
                  <a:lnTo>
                    <a:pt x="78" y="5"/>
                  </a:lnTo>
                  <a:lnTo>
                    <a:pt x="66" y="5"/>
                  </a:lnTo>
                  <a:lnTo>
                    <a:pt x="50" y="16"/>
                  </a:lnTo>
                  <a:lnTo>
                    <a:pt x="35" y="16"/>
                  </a:lnTo>
                  <a:lnTo>
                    <a:pt x="29" y="21"/>
                  </a:lnTo>
                  <a:lnTo>
                    <a:pt x="14" y="22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59" name="Freeform 215">
              <a:extLst>
                <a:ext uri="{FF2B5EF4-FFF2-40B4-BE49-F238E27FC236}">
                  <a16:creationId xmlns:a16="http://schemas.microsoft.com/office/drawing/2014/main" id="{A9C6512B-E1DD-818B-08F1-146A9F206E41}"/>
                </a:ext>
              </a:extLst>
            </p:cNvPr>
            <p:cNvSpPr>
              <a:spLocks/>
            </p:cNvSpPr>
            <p:nvPr/>
          </p:nvSpPr>
          <p:spPr bwMode="gray">
            <a:xfrm>
              <a:off x="4684385" y="1926987"/>
              <a:ext cx="105479" cy="52999"/>
            </a:xfrm>
            <a:custGeom>
              <a:avLst/>
              <a:gdLst>
                <a:gd name="T0" fmla="*/ 24616 w 304"/>
                <a:gd name="T1" fmla="*/ 7865 h 149"/>
                <a:gd name="T2" fmla="*/ 23737 w 304"/>
                <a:gd name="T3" fmla="*/ 8279 h 149"/>
                <a:gd name="T4" fmla="*/ 22418 w 304"/>
                <a:gd name="T5" fmla="*/ 7451 h 149"/>
                <a:gd name="T6" fmla="*/ 21100 w 304"/>
                <a:gd name="T7" fmla="*/ 7037 h 149"/>
                <a:gd name="T8" fmla="*/ 19781 w 304"/>
                <a:gd name="T9" fmla="*/ 7451 h 149"/>
                <a:gd name="T10" fmla="*/ 18462 w 304"/>
                <a:gd name="T11" fmla="*/ 7037 h 149"/>
                <a:gd name="T12" fmla="*/ 17143 w 304"/>
                <a:gd name="T13" fmla="*/ 7865 h 149"/>
                <a:gd name="T14" fmla="*/ 16704 w 304"/>
                <a:gd name="T15" fmla="*/ 8693 h 149"/>
                <a:gd name="T16" fmla="*/ 15825 w 304"/>
                <a:gd name="T17" fmla="*/ 9107 h 149"/>
                <a:gd name="T18" fmla="*/ 14506 w 304"/>
                <a:gd name="T19" fmla="*/ 9521 h 149"/>
                <a:gd name="T20" fmla="*/ 13187 w 304"/>
                <a:gd name="T21" fmla="*/ 9107 h 149"/>
                <a:gd name="T22" fmla="*/ 11429 w 304"/>
                <a:gd name="T23" fmla="*/ 9935 h 149"/>
                <a:gd name="T24" fmla="*/ 8792 w 304"/>
                <a:gd name="T25" fmla="*/ 10763 h 149"/>
                <a:gd name="T26" fmla="*/ 7912 w 304"/>
                <a:gd name="T27" fmla="*/ 12419 h 149"/>
                <a:gd name="T28" fmla="*/ 7473 w 304"/>
                <a:gd name="T29" fmla="*/ 12419 h 149"/>
                <a:gd name="T30" fmla="*/ 4396 w 304"/>
                <a:gd name="T31" fmla="*/ 12419 h 149"/>
                <a:gd name="T32" fmla="*/ 2198 w 304"/>
                <a:gd name="T33" fmla="*/ 10763 h 149"/>
                <a:gd name="T34" fmla="*/ 879 w 304"/>
                <a:gd name="T35" fmla="*/ 10349 h 149"/>
                <a:gd name="T36" fmla="*/ 440 w 304"/>
                <a:gd name="T37" fmla="*/ 9107 h 149"/>
                <a:gd name="T38" fmla="*/ 0 w 304"/>
                <a:gd name="T39" fmla="*/ 7451 h 149"/>
                <a:gd name="T40" fmla="*/ 440 w 304"/>
                <a:gd name="T41" fmla="*/ 6209 h 149"/>
                <a:gd name="T42" fmla="*/ 879 w 304"/>
                <a:gd name="T43" fmla="*/ 5381 h 149"/>
                <a:gd name="T44" fmla="*/ 1758 w 304"/>
                <a:gd name="T45" fmla="*/ 5381 h 149"/>
                <a:gd name="T46" fmla="*/ 2198 w 304"/>
                <a:gd name="T47" fmla="*/ 5795 h 149"/>
                <a:gd name="T48" fmla="*/ 3517 w 304"/>
                <a:gd name="T49" fmla="*/ 5795 h 149"/>
                <a:gd name="T50" fmla="*/ 4396 w 304"/>
                <a:gd name="T51" fmla="*/ 4968 h 149"/>
                <a:gd name="T52" fmla="*/ 4396 w 304"/>
                <a:gd name="T53" fmla="*/ 4554 h 149"/>
                <a:gd name="T54" fmla="*/ 5275 w 304"/>
                <a:gd name="T55" fmla="*/ 4140 h 149"/>
                <a:gd name="T56" fmla="*/ 5714 w 304"/>
                <a:gd name="T57" fmla="*/ 3312 h 149"/>
                <a:gd name="T58" fmla="*/ 5714 w 304"/>
                <a:gd name="T59" fmla="*/ 2484 h 149"/>
                <a:gd name="T60" fmla="*/ 6154 w 304"/>
                <a:gd name="T61" fmla="*/ 2070 h 149"/>
                <a:gd name="T62" fmla="*/ 7033 w 304"/>
                <a:gd name="T63" fmla="*/ 1656 h 149"/>
                <a:gd name="T64" fmla="*/ 7473 w 304"/>
                <a:gd name="T65" fmla="*/ 1242 h 149"/>
                <a:gd name="T66" fmla="*/ 7912 w 304"/>
                <a:gd name="T67" fmla="*/ 828 h 149"/>
                <a:gd name="T68" fmla="*/ 8792 w 304"/>
                <a:gd name="T69" fmla="*/ 828 h 149"/>
                <a:gd name="T70" fmla="*/ 9231 w 304"/>
                <a:gd name="T71" fmla="*/ 0 h 149"/>
                <a:gd name="T72" fmla="*/ 10110 w 304"/>
                <a:gd name="T73" fmla="*/ 828 h 149"/>
                <a:gd name="T74" fmla="*/ 10989 w 304"/>
                <a:gd name="T75" fmla="*/ 414 h 149"/>
                <a:gd name="T76" fmla="*/ 11869 w 304"/>
                <a:gd name="T77" fmla="*/ 0 h 149"/>
                <a:gd name="T78" fmla="*/ 12748 w 304"/>
                <a:gd name="T79" fmla="*/ 414 h 149"/>
                <a:gd name="T80" fmla="*/ 13627 w 304"/>
                <a:gd name="T81" fmla="*/ 1242 h 149"/>
                <a:gd name="T82" fmla="*/ 14506 w 304"/>
                <a:gd name="T83" fmla="*/ 2070 h 149"/>
                <a:gd name="T84" fmla="*/ 14946 w 304"/>
                <a:gd name="T85" fmla="*/ 2070 h 149"/>
                <a:gd name="T86" fmla="*/ 15825 w 304"/>
                <a:gd name="T87" fmla="*/ 1656 h 149"/>
                <a:gd name="T88" fmla="*/ 16704 w 304"/>
                <a:gd name="T89" fmla="*/ 1242 h 149"/>
                <a:gd name="T90" fmla="*/ 18023 w 304"/>
                <a:gd name="T91" fmla="*/ 1242 h 149"/>
                <a:gd name="T92" fmla="*/ 18902 w 304"/>
                <a:gd name="T93" fmla="*/ 1656 h 149"/>
                <a:gd name="T94" fmla="*/ 19781 w 304"/>
                <a:gd name="T95" fmla="*/ 1242 h 149"/>
                <a:gd name="T96" fmla="*/ 20660 w 304"/>
                <a:gd name="T97" fmla="*/ 828 h 149"/>
                <a:gd name="T98" fmla="*/ 21979 w 304"/>
                <a:gd name="T99" fmla="*/ 828 h 149"/>
                <a:gd name="T100" fmla="*/ 22858 w 304"/>
                <a:gd name="T101" fmla="*/ 828 h 149"/>
                <a:gd name="T102" fmla="*/ 23737 w 304"/>
                <a:gd name="T103" fmla="*/ 1656 h 149"/>
                <a:gd name="T104" fmla="*/ 24616 w 304"/>
                <a:gd name="T105" fmla="*/ 2070 h 149"/>
                <a:gd name="T106" fmla="*/ 25495 w 304"/>
                <a:gd name="T107" fmla="*/ 2898 h 149"/>
                <a:gd name="T108" fmla="*/ 26375 w 304"/>
                <a:gd name="T109" fmla="*/ 2898 h 149"/>
                <a:gd name="T110" fmla="*/ 26375 w 304"/>
                <a:gd name="T111" fmla="*/ 3726 h 149"/>
                <a:gd name="T112" fmla="*/ 25056 w 304"/>
                <a:gd name="T113" fmla="*/ 6209 h 149"/>
                <a:gd name="T114" fmla="*/ 24616 w 304"/>
                <a:gd name="T115" fmla="*/ 7865 h 14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4"/>
                <a:gd name="T175" fmla="*/ 0 h 149"/>
                <a:gd name="T176" fmla="*/ 304 w 304"/>
                <a:gd name="T177" fmla="*/ 149 h 149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4" h="149">
                  <a:moveTo>
                    <a:pt x="285" y="96"/>
                  </a:moveTo>
                  <a:lnTo>
                    <a:pt x="273" y="100"/>
                  </a:lnTo>
                  <a:lnTo>
                    <a:pt x="256" y="89"/>
                  </a:lnTo>
                  <a:lnTo>
                    <a:pt x="241" y="84"/>
                  </a:lnTo>
                  <a:lnTo>
                    <a:pt x="229" y="88"/>
                  </a:lnTo>
                  <a:lnTo>
                    <a:pt x="211" y="85"/>
                  </a:lnTo>
                  <a:lnTo>
                    <a:pt x="196" y="94"/>
                  </a:lnTo>
                  <a:lnTo>
                    <a:pt x="191" y="106"/>
                  </a:lnTo>
                  <a:lnTo>
                    <a:pt x="181" y="108"/>
                  </a:lnTo>
                  <a:lnTo>
                    <a:pt x="167" y="116"/>
                  </a:lnTo>
                  <a:lnTo>
                    <a:pt x="150" y="110"/>
                  </a:lnTo>
                  <a:lnTo>
                    <a:pt x="134" y="119"/>
                  </a:lnTo>
                  <a:lnTo>
                    <a:pt x="103" y="128"/>
                  </a:lnTo>
                  <a:lnTo>
                    <a:pt x="90" y="148"/>
                  </a:lnTo>
                  <a:lnTo>
                    <a:pt x="84" y="148"/>
                  </a:lnTo>
                  <a:lnTo>
                    <a:pt x="51" y="149"/>
                  </a:lnTo>
                  <a:lnTo>
                    <a:pt x="27" y="131"/>
                  </a:lnTo>
                  <a:lnTo>
                    <a:pt x="12" y="123"/>
                  </a:lnTo>
                  <a:lnTo>
                    <a:pt x="6" y="110"/>
                  </a:lnTo>
                  <a:lnTo>
                    <a:pt x="0" y="88"/>
                  </a:lnTo>
                  <a:lnTo>
                    <a:pt x="5" y="76"/>
                  </a:lnTo>
                  <a:lnTo>
                    <a:pt x="12" y="67"/>
                  </a:lnTo>
                  <a:lnTo>
                    <a:pt x="20" y="67"/>
                  </a:lnTo>
                  <a:lnTo>
                    <a:pt x="25" y="72"/>
                  </a:lnTo>
                  <a:lnTo>
                    <a:pt x="40" y="69"/>
                  </a:lnTo>
                  <a:lnTo>
                    <a:pt x="53" y="59"/>
                  </a:lnTo>
                  <a:lnTo>
                    <a:pt x="53" y="53"/>
                  </a:lnTo>
                  <a:lnTo>
                    <a:pt x="62" y="51"/>
                  </a:lnTo>
                  <a:lnTo>
                    <a:pt x="67" y="42"/>
                  </a:lnTo>
                  <a:lnTo>
                    <a:pt x="68" y="30"/>
                  </a:lnTo>
                  <a:lnTo>
                    <a:pt x="70" y="25"/>
                  </a:lnTo>
                  <a:lnTo>
                    <a:pt x="79" y="22"/>
                  </a:lnTo>
                  <a:lnTo>
                    <a:pt x="84" y="15"/>
                  </a:lnTo>
                  <a:lnTo>
                    <a:pt x="89" y="8"/>
                  </a:lnTo>
                  <a:lnTo>
                    <a:pt x="100" y="9"/>
                  </a:lnTo>
                  <a:lnTo>
                    <a:pt x="107" y="2"/>
                  </a:lnTo>
                  <a:lnTo>
                    <a:pt x="118" y="8"/>
                  </a:lnTo>
                  <a:lnTo>
                    <a:pt x="129" y="5"/>
                  </a:lnTo>
                  <a:lnTo>
                    <a:pt x="139" y="0"/>
                  </a:lnTo>
                  <a:lnTo>
                    <a:pt x="148" y="6"/>
                  </a:lnTo>
                  <a:lnTo>
                    <a:pt x="157" y="16"/>
                  </a:lnTo>
                  <a:lnTo>
                    <a:pt x="165" y="25"/>
                  </a:lnTo>
                  <a:lnTo>
                    <a:pt x="172" y="27"/>
                  </a:lnTo>
                  <a:lnTo>
                    <a:pt x="182" y="22"/>
                  </a:lnTo>
                  <a:lnTo>
                    <a:pt x="191" y="14"/>
                  </a:lnTo>
                  <a:lnTo>
                    <a:pt x="210" y="14"/>
                  </a:lnTo>
                  <a:lnTo>
                    <a:pt x="220" y="21"/>
                  </a:lnTo>
                  <a:lnTo>
                    <a:pt x="227" y="15"/>
                  </a:lnTo>
                  <a:lnTo>
                    <a:pt x="239" y="10"/>
                  </a:lnTo>
                  <a:lnTo>
                    <a:pt x="251" y="9"/>
                  </a:lnTo>
                  <a:lnTo>
                    <a:pt x="264" y="10"/>
                  </a:lnTo>
                  <a:lnTo>
                    <a:pt x="274" y="18"/>
                  </a:lnTo>
                  <a:lnTo>
                    <a:pt x="283" y="25"/>
                  </a:lnTo>
                  <a:lnTo>
                    <a:pt x="294" y="33"/>
                  </a:lnTo>
                  <a:lnTo>
                    <a:pt x="304" y="37"/>
                  </a:lnTo>
                  <a:lnTo>
                    <a:pt x="302" y="43"/>
                  </a:lnTo>
                  <a:lnTo>
                    <a:pt x="291" y="73"/>
                  </a:lnTo>
                  <a:lnTo>
                    <a:pt x="285" y="96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60" name="Freeform 216">
              <a:extLst>
                <a:ext uri="{FF2B5EF4-FFF2-40B4-BE49-F238E27FC236}">
                  <a16:creationId xmlns:a16="http://schemas.microsoft.com/office/drawing/2014/main" id="{3E0F03B5-D72D-ABF9-DCAE-EE347EEDA0A0}"/>
                </a:ext>
              </a:extLst>
            </p:cNvPr>
            <p:cNvSpPr>
              <a:spLocks/>
            </p:cNvSpPr>
            <p:nvPr/>
          </p:nvSpPr>
          <p:spPr bwMode="gray">
            <a:xfrm>
              <a:off x="4616577" y="2004446"/>
              <a:ext cx="60274" cy="44846"/>
            </a:xfrm>
            <a:custGeom>
              <a:avLst/>
              <a:gdLst>
                <a:gd name="T0" fmla="*/ 11818 w 173"/>
                <a:gd name="T1" fmla="*/ 418 h 123"/>
                <a:gd name="T2" fmla="*/ 10067 w 173"/>
                <a:gd name="T3" fmla="*/ 836 h 123"/>
                <a:gd name="T4" fmla="*/ 9192 w 173"/>
                <a:gd name="T5" fmla="*/ 1672 h 123"/>
                <a:gd name="T6" fmla="*/ 6566 w 173"/>
                <a:gd name="T7" fmla="*/ 1254 h 123"/>
                <a:gd name="T8" fmla="*/ 4815 w 173"/>
                <a:gd name="T9" fmla="*/ 2925 h 123"/>
                <a:gd name="T10" fmla="*/ 1313 w 173"/>
                <a:gd name="T11" fmla="*/ 2507 h 123"/>
                <a:gd name="T12" fmla="*/ 0 w 173"/>
                <a:gd name="T13" fmla="*/ 4179 h 123"/>
                <a:gd name="T14" fmla="*/ 0 w 173"/>
                <a:gd name="T15" fmla="*/ 4597 h 123"/>
                <a:gd name="T16" fmla="*/ 438 w 173"/>
                <a:gd name="T17" fmla="*/ 5015 h 123"/>
                <a:gd name="T18" fmla="*/ 875 w 173"/>
                <a:gd name="T19" fmla="*/ 6268 h 123"/>
                <a:gd name="T20" fmla="*/ 875 w 173"/>
                <a:gd name="T21" fmla="*/ 7104 h 123"/>
                <a:gd name="T22" fmla="*/ 1751 w 173"/>
                <a:gd name="T23" fmla="*/ 7940 h 123"/>
                <a:gd name="T24" fmla="*/ 2189 w 173"/>
                <a:gd name="T25" fmla="*/ 8358 h 123"/>
                <a:gd name="T26" fmla="*/ 1751 w 173"/>
                <a:gd name="T27" fmla="*/ 9193 h 123"/>
                <a:gd name="T28" fmla="*/ 875 w 173"/>
                <a:gd name="T29" fmla="*/ 9193 h 123"/>
                <a:gd name="T30" fmla="*/ 1313 w 173"/>
                <a:gd name="T31" fmla="*/ 10029 h 123"/>
                <a:gd name="T32" fmla="*/ 2626 w 173"/>
                <a:gd name="T33" fmla="*/ 9611 h 123"/>
                <a:gd name="T34" fmla="*/ 4377 w 173"/>
                <a:gd name="T35" fmla="*/ 10029 h 123"/>
                <a:gd name="T36" fmla="*/ 5253 w 173"/>
                <a:gd name="T37" fmla="*/ 8358 h 123"/>
                <a:gd name="T38" fmla="*/ 7003 w 173"/>
                <a:gd name="T39" fmla="*/ 10029 h 123"/>
                <a:gd name="T40" fmla="*/ 7003 w 173"/>
                <a:gd name="T41" fmla="*/ 9611 h 123"/>
                <a:gd name="T42" fmla="*/ 7441 w 173"/>
                <a:gd name="T43" fmla="*/ 10029 h 123"/>
                <a:gd name="T44" fmla="*/ 8317 w 173"/>
                <a:gd name="T45" fmla="*/ 10447 h 123"/>
                <a:gd name="T46" fmla="*/ 8754 w 173"/>
                <a:gd name="T47" fmla="*/ 9193 h 123"/>
                <a:gd name="T48" fmla="*/ 8754 w 173"/>
                <a:gd name="T49" fmla="*/ 8358 h 123"/>
                <a:gd name="T50" fmla="*/ 10067 w 173"/>
                <a:gd name="T51" fmla="*/ 7522 h 123"/>
                <a:gd name="T52" fmla="*/ 10505 w 173"/>
                <a:gd name="T53" fmla="*/ 5850 h 123"/>
                <a:gd name="T54" fmla="*/ 10067 w 173"/>
                <a:gd name="T55" fmla="*/ 5015 h 123"/>
                <a:gd name="T56" fmla="*/ 12256 w 173"/>
                <a:gd name="T57" fmla="*/ 3761 h 123"/>
                <a:gd name="T58" fmla="*/ 12256 w 173"/>
                <a:gd name="T59" fmla="*/ 3343 h 123"/>
                <a:gd name="T60" fmla="*/ 13131 w 173"/>
                <a:gd name="T61" fmla="*/ 3343 h 123"/>
                <a:gd name="T62" fmla="*/ 13131 w 173"/>
                <a:gd name="T63" fmla="*/ 2925 h 123"/>
                <a:gd name="T64" fmla="*/ 13569 w 173"/>
                <a:gd name="T65" fmla="*/ 2089 h 123"/>
                <a:gd name="T66" fmla="*/ 14444 w 173"/>
                <a:gd name="T67" fmla="*/ 2507 h 123"/>
                <a:gd name="T68" fmla="*/ 14882 w 173"/>
                <a:gd name="T69" fmla="*/ 2507 h 123"/>
                <a:gd name="T70" fmla="*/ 13569 w 173"/>
                <a:gd name="T71" fmla="*/ 418 h 123"/>
                <a:gd name="T72" fmla="*/ 12256 w 173"/>
                <a:gd name="T73" fmla="*/ 0 h 123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73"/>
                <a:gd name="T112" fmla="*/ 0 h 123"/>
                <a:gd name="T113" fmla="*/ 173 w 173"/>
                <a:gd name="T114" fmla="*/ 123 h 123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73" h="123">
                  <a:moveTo>
                    <a:pt x="145" y="0"/>
                  </a:moveTo>
                  <a:lnTo>
                    <a:pt x="136" y="4"/>
                  </a:lnTo>
                  <a:lnTo>
                    <a:pt x="134" y="12"/>
                  </a:lnTo>
                  <a:lnTo>
                    <a:pt x="117" y="10"/>
                  </a:lnTo>
                  <a:lnTo>
                    <a:pt x="113" y="10"/>
                  </a:lnTo>
                  <a:lnTo>
                    <a:pt x="108" y="19"/>
                  </a:lnTo>
                  <a:lnTo>
                    <a:pt x="88" y="15"/>
                  </a:lnTo>
                  <a:lnTo>
                    <a:pt x="75" y="17"/>
                  </a:lnTo>
                  <a:lnTo>
                    <a:pt x="66" y="28"/>
                  </a:lnTo>
                  <a:lnTo>
                    <a:pt x="58" y="33"/>
                  </a:lnTo>
                  <a:lnTo>
                    <a:pt x="30" y="31"/>
                  </a:lnTo>
                  <a:lnTo>
                    <a:pt x="14" y="31"/>
                  </a:lnTo>
                  <a:lnTo>
                    <a:pt x="2" y="41"/>
                  </a:lnTo>
                  <a:lnTo>
                    <a:pt x="0" y="48"/>
                  </a:lnTo>
                  <a:lnTo>
                    <a:pt x="0" y="53"/>
                  </a:lnTo>
                  <a:lnTo>
                    <a:pt x="2" y="54"/>
                  </a:lnTo>
                  <a:lnTo>
                    <a:pt x="7" y="53"/>
                  </a:lnTo>
                  <a:lnTo>
                    <a:pt x="5" y="60"/>
                  </a:lnTo>
                  <a:lnTo>
                    <a:pt x="4" y="68"/>
                  </a:lnTo>
                  <a:lnTo>
                    <a:pt x="9" y="74"/>
                  </a:lnTo>
                  <a:lnTo>
                    <a:pt x="9" y="82"/>
                  </a:lnTo>
                  <a:lnTo>
                    <a:pt x="11" y="85"/>
                  </a:lnTo>
                  <a:lnTo>
                    <a:pt x="18" y="89"/>
                  </a:lnTo>
                  <a:lnTo>
                    <a:pt x="21" y="94"/>
                  </a:lnTo>
                  <a:lnTo>
                    <a:pt x="25" y="95"/>
                  </a:lnTo>
                  <a:lnTo>
                    <a:pt x="27" y="98"/>
                  </a:lnTo>
                  <a:lnTo>
                    <a:pt x="26" y="103"/>
                  </a:lnTo>
                  <a:lnTo>
                    <a:pt x="22" y="106"/>
                  </a:lnTo>
                  <a:lnTo>
                    <a:pt x="17" y="107"/>
                  </a:lnTo>
                  <a:lnTo>
                    <a:pt x="12" y="106"/>
                  </a:lnTo>
                  <a:lnTo>
                    <a:pt x="6" y="111"/>
                  </a:lnTo>
                  <a:lnTo>
                    <a:pt x="14" y="117"/>
                  </a:lnTo>
                  <a:lnTo>
                    <a:pt x="27" y="116"/>
                  </a:lnTo>
                  <a:lnTo>
                    <a:pt x="30" y="111"/>
                  </a:lnTo>
                  <a:lnTo>
                    <a:pt x="36" y="116"/>
                  </a:lnTo>
                  <a:lnTo>
                    <a:pt x="53" y="116"/>
                  </a:lnTo>
                  <a:lnTo>
                    <a:pt x="60" y="100"/>
                  </a:lnTo>
                  <a:lnTo>
                    <a:pt x="63" y="100"/>
                  </a:lnTo>
                  <a:lnTo>
                    <a:pt x="74" y="119"/>
                  </a:lnTo>
                  <a:lnTo>
                    <a:pt x="79" y="118"/>
                  </a:lnTo>
                  <a:lnTo>
                    <a:pt x="79" y="114"/>
                  </a:lnTo>
                  <a:lnTo>
                    <a:pt x="81" y="114"/>
                  </a:lnTo>
                  <a:lnTo>
                    <a:pt x="84" y="117"/>
                  </a:lnTo>
                  <a:lnTo>
                    <a:pt x="87" y="117"/>
                  </a:lnTo>
                  <a:lnTo>
                    <a:pt x="92" y="123"/>
                  </a:lnTo>
                  <a:lnTo>
                    <a:pt x="96" y="123"/>
                  </a:lnTo>
                  <a:lnTo>
                    <a:pt x="101" y="119"/>
                  </a:lnTo>
                  <a:lnTo>
                    <a:pt x="100" y="107"/>
                  </a:lnTo>
                  <a:lnTo>
                    <a:pt x="103" y="102"/>
                  </a:lnTo>
                  <a:lnTo>
                    <a:pt x="100" y="97"/>
                  </a:lnTo>
                  <a:lnTo>
                    <a:pt x="111" y="89"/>
                  </a:lnTo>
                  <a:lnTo>
                    <a:pt x="119" y="87"/>
                  </a:lnTo>
                  <a:lnTo>
                    <a:pt x="124" y="80"/>
                  </a:lnTo>
                  <a:lnTo>
                    <a:pt x="124" y="69"/>
                  </a:lnTo>
                  <a:lnTo>
                    <a:pt x="118" y="62"/>
                  </a:lnTo>
                  <a:lnTo>
                    <a:pt x="117" y="58"/>
                  </a:lnTo>
                  <a:lnTo>
                    <a:pt x="120" y="53"/>
                  </a:lnTo>
                  <a:lnTo>
                    <a:pt x="140" y="46"/>
                  </a:lnTo>
                  <a:lnTo>
                    <a:pt x="144" y="43"/>
                  </a:lnTo>
                  <a:lnTo>
                    <a:pt x="144" y="38"/>
                  </a:lnTo>
                  <a:lnTo>
                    <a:pt x="151" y="38"/>
                  </a:lnTo>
                  <a:lnTo>
                    <a:pt x="155" y="39"/>
                  </a:lnTo>
                  <a:lnTo>
                    <a:pt x="155" y="38"/>
                  </a:lnTo>
                  <a:lnTo>
                    <a:pt x="154" y="32"/>
                  </a:lnTo>
                  <a:lnTo>
                    <a:pt x="154" y="27"/>
                  </a:lnTo>
                  <a:lnTo>
                    <a:pt x="157" y="24"/>
                  </a:lnTo>
                  <a:lnTo>
                    <a:pt x="161" y="25"/>
                  </a:lnTo>
                  <a:lnTo>
                    <a:pt x="170" y="31"/>
                  </a:lnTo>
                  <a:lnTo>
                    <a:pt x="173" y="28"/>
                  </a:lnTo>
                  <a:lnTo>
                    <a:pt x="173" y="31"/>
                  </a:lnTo>
                  <a:lnTo>
                    <a:pt x="165" y="17"/>
                  </a:lnTo>
                  <a:lnTo>
                    <a:pt x="160" y="4"/>
                  </a:lnTo>
                  <a:lnTo>
                    <a:pt x="152" y="0"/>
                  </a:lnTo>
                  <a:lnTo>
                    <a:pt x="145" y="0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61" name="Freeform 217">
              <a:extLst>
                <a:ext uri="{FF2B5EF4-FFF2-40B4-BE49-F238E27FC236}">
                  <a16:creationId xmlns:a16="http://schemas.microsoft.com/office/drawing/2014/main" id="{D075E4C4-B598-8FB8-C018-6B62D847973E}"/>
                </a:ext>
              </a:extLst>
            </p:cNvPr>
            <p:cNvSpPr>
              <a:spLocks/>
            </p:cNvSpPr>
            <p:nvPr/>
          </p:nvSpPr>
          <p:spPr bwMode="gray">
            <a:xfrm>
              <a:off x="4754703" y="2128112"/>
              <a:ext cx="45205" cy="36692"/>
            </a:xfrm>
            <a:custGeom>
              <a:avLst/>
              <a:gdLst>
                <a:gd name="T0" fmla="*/ 2193 w 132"/>
                <a:gd name="T1" fmla="*/ 8474 h 107"/>
                <a:gd name="T2" fmla="*/ 877 w 132"/>
                <a:gd name="T3" fmla="*/ 7263 h 107"/>
                <a:gd name="T4" fmla="*/ 0 w 132"/>
                <a:gd name="T5" fmla="*/ 5649 h 107"/>
                <a:gd name="T6" fmla="*/ 0 w 132"/>
                <a:gd name="T7" fmla="*/ 4035 h 107"/>
                <a:gd name="T8" fmla="*/ 439 w 132"/>
                <a:gd name="T9" fmla="*/ 1211 h 107"/>
                <a:gd name="T10" fmla="*/ 439 w 132"/>
                <a:gd name="T11" fmla="*/ 1614 h 107"/>
                <a:gd name="T12" fmla="*/ 877 w 132"/>
                <a:gd name="T13" fmla="*/ 1614 h 107"/>
                <a:gd name="T14" fmla="*/ 1316 w 132"/>
                <a:gd name="T15" fmla="*/ 1211 h 107"/>
                <a:gd name="T16" fmla="*/ 1316 w 132"/>
                <a:gd name="T17" fmla="*/ 807 h 107"/>
                <a:gd name="T18" fmla="*/ 2632 w 132"/>
                <a:gd name="T19" fmla="*/ 0 h 107"/>
                <a:gd name="T20" fmla="*/ 3071 w 132"/>
                <a:gd name="T21" fmla="*/ 404 h 107"/>
                <a:gd name="T22" fmla="*/ 3510 w 132"/>
                <a:gd name="T23" fmla="*/ 807 h 107"/>
                <a:gd name="T24" fmla="*/ 3948 w 132"/>
                <a:gd name="T25" fmla="*/ 807 h 107"/>
                <a:gd name="T26" fmla="*/ 3948 w 132"/>
                <a:gd name="T27" fmla="*/ 404 h 107"/>
                <a:gd name="T28" fmla="*/ 4387 w 132"/>
                <a:gd name="T29" fmla="*/ 0 h 107"/>
                <a:gd name="T30" fmla="*/ 5703 w 132"/>
                <a:gd name="T31" fmla="*/ 404 h 107"/>
                <a:gd name="T32" fmla="*/ 6142 w 132"/>
                <a:gd name="T33" fmla="*/ 0 h 107"/>
                <a:gd name="T34" fmla="*/ 7458 w 132"/>
                <a:gd name="T35" fmla="*/ 404 h 107"/>
                <a:gd name="T36" fmla="*/ 8335 w 132"/>
                <a:gd name="T37" fmla="*/ 0 h 107"/>
                <a:gd name="T38" fmla="*/ 8774 w 132"/>
                <a:gd name="T39" fmla="*/ 404 h 107"/>
                <a:gd name="T40" fmla="*/ 10967 w 132"/>
                <a:gd name="T41" fmla="*/ 2018 h 107"/>
                <a:gd name="T42" fmla="*/ 11406 w 132"/>
                <a:gd name="T43" fmla="*/ 4035 h 107"/>
                <a:gd name="T44" fmla="*/ 11406 w 132"/>
                <a:gd name="T45" fmla="*/ 5649 h 107"/>
                <a:gd name="T46" fmla="*/ 10967 w 132"/>
                <a:gd name="T47" fmla="*/ 5649 h 107"/>
                <a:gd name="T48" fmla="*/ 9651 w 132"/>
                <a:gd name="T49" fmla="*/ 6860 h 107"/>
                <a:gd name="T50" fmla="*/ 7896 w 132"/>
                <a:gd name="T51" fmla="*/ 6860 h 107"/>
                <a:gd name="T52" fmla="*/ 6142 w 132"/>
                <a:gd name="T53" fmla="*/ 7263 h 107"/>
                <a:gd name="T54" fmla="*/ 5264 w 132"/>
                <a:gd name="T55" fmla="*/ 8070 h 107"/>
                <a:gd name="T56" fmla="*/ 2193 w 132"/>
                <a:gd name="T57" fmla="*/ 8474 h 10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32"/>
                <a:gd name="T88" fmla="*/ 0 h 107"/>
                <a:gd name="T89" fmla="*/ 132 w 132"/>
                <a:gd name="T90" fmla="*/ 107 h 107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32" h="107">
                  <a:moveTo>
                    <a:pt x="25" y="107"/>
                  </a:moveTo>
                  <a:lnTo>
                    <a:pt x="8" y="90"/>
                  </a:lnTo>
                  <a:lnTo>
                    <a:pt x="0" y="70"/>
                  </a:lnTo>
                  <a:lnTo>
                    <a:pt x="0" y="53"/>
                  </a:lnTo>
                  <a:lnTo>
                    <a:pt x="5" y="17"/>
                  </a:lnTo>
                  <a:lnTo>
                    <a:pt x="6" y="19"/>
                  </a:lnTo>
                  <a:lnTo>
                    <a:pt x="11" y="19"/>
                  </a:lnTo>
                  <a:lnTo>
                    <a:pt x="14" y="16"/>
                  </a:lnTo>
                  <a:lnTo>
                    <a:pt x="14" y="8"/>
                  </a:lnTo>
                  <a:lnTo>
                    <a:pt x="32" y="1"/>
                  </a:lnTo>
                  <a:lnTo>
                    <a:pt x="35" y="3"/>
                  </a:lnTo>
                  <a:lnTo>
                    <a:pt x="41" y="10"/>
                  </a:lnTo>
                  <a:lnTo>
                    <a:pt x="44" y="10"/>
                  </a:lnTo>
                  <a:lnTo>
                    <a:pt x="44" y="5"/>
                  </a:lnTo>
                  <a:lnTo>
                    <a:pt x="51" y="0"/>
                  </a:lnTo>
                  <a:lnTo>
                    <a:pt x="67" y="4"/>
                  </a:lnTo>
                  <a:lnTo>
                    <a:pt x="71" y="0"/>
                  </a:lnTo>
                  <a:lnTo>
                    <a:pt x="86" y="3"/>
                  </a:lnTo>
                  <a:lnTo>
                    <a:pt x="97" y="1"/>
                  </a:lnTo>
                  <a:lnTo>
                    <a:pt x="103" y="4"/>
                  </a:lnTo>
                  <a:lnTo>
                    <a:pt x="126" y="24"/>
                  </a:lnTo>
                  <a:lnTo>
                    <a:pt x="131" y="53"/>
                  </a:lnTo>
                  <a:lnTo>
                    <a:pt x="132" y="69"/>
                  </a:lnTo>
                  <a:lnTo>
                    <a:pt x="126" y="71"/>
                  </a:lnTo>
                  <a:lnTo>
                    <a:pt x="111" y="85"/>
                  </a:lnTo>
                  <a:lnTo>
                    <a:pt x="91" y="85"/>
                  </a:lnTo>
                  <a:lnTo>
                    <a:pt x="72" y="92"/>
                  </a:lnTo>
                  <a:lnTo>
                    <a:pt x="61" y="102"/>
                  </a:lnTo>
                  <a:lnTo>
                    <a:pt x="25" y="107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62" name="Freeform 218">
              <a:extLst>
                <a:ext uri="{FF2B5EF4-FFF2-40B4-BE49-F238E27FC236}">
                  <a16:creationId xmlns:a16="http://schemas.microsoft.com/office/drawing/2014/main" id="{EF9AFAFD-A2A0-9FBB-5336-18355DA2A1BA}"/>
                </a:ext>
              </a:extLst>
            </p:cNvPr>
            <p:cNvSpPr>
              <a:spLocks/>
            </p:cNvSpPr>
            <p:nvPr/>
          </p:nvSpPr>
          <p:spPr bwMode="gray">
            <a:xfrm>
              <a:off x="4747170" y="1963678"/>
              <a:ext cx="183332" cy="129102"/>
            </a:xfrm>
            <a:custGeom>
              <a:avLst/>
              <a:gdLst>
                <a:gd name="T0" fmla="*/ 39416 w 523"/>
                <a:gd name="T1" fmla="*/ 29275 h 364"/>
                <a:gd name="T2" fmla="*/ 34988 w 523"/>
                <a:gd name="T3" fmla="*/ 27626 h 364"/>
                <a:gd name="T4" fmla="*/ 32773 w 523"/>
                <a:gd name="T5" fmla="*/ 27214 h 364"/>
                <a:gd name="T6" fmla="*/ 28787 w 523"/>
                <a:gd name="T7" fmla="*/ 28863 h 364"/>
                <a:gd name="T8" fmla="*/ 25687 w 523"/>
                <a:gd name="T9" fmla="*/ 30100 h 364"/>
                <a:gd name="T10" fmla="*/ 18158 w 523"/>
                <a:gd name="T11" fmla="*/ 29275 h 364"/>
                <a:gd name="T12" fmla="*/ 13729 w 523"/>
                <a:gd name="T13" fmla="*/ 28863 h 364"/>
                <a:gd name="T14" fmla="*/ 13286 w 523"/>
                <a:gd name="T15" fmla="*/ 27214 h 364"/>
                <a:gd name="T16" fmla="*/ 11515 w 523"/>
                <a:gd name="T17" fmla="*/ 26801 h 364"/>
                <a:gd name="T18" fmla="*/ 11958 w 523"/>
                <a:gd name="T19" fmla="*/ 24327 h 364"/>
                <a:gd name="T20" fmla="*/ 10186 w 523"/>
                <a:gd name="T21" fmla="*/ 24327 h 364"/>
                <a:gd name="T22" fmla="*/ 6200 w 523"/>
                <a:gd name="T23" fmla="*/ 22266 h 364"/>
                <a:gd name="T24" fmla="*/ 6200 w 523"/>
                <a:gd name="T25" fmla="*/ 20204 h 364"/>
                <a:gd name="T26" fmla="*/ 4429 w 523"/>
                <a:gd name="T27" fmla="*/ 19792 h 364"/>
                <a:gd name="T28" fmla="*/ 3100 w 523"/>
                <a:gd name="T29" fmla="*/ 17318 h 364"/>
                <a:gd name="T30" fmla="*/ 1772 w 523"/>
                <a:gd name="T31" fmla="*/ 15256 h 364"/>
                <a:gd name="T32" fmla="*/ 0 w 523"/>
                <a:gd name="T33" fmla="*/ 14019 h 364"/>
                <a:gd name="T34" fmla="*/ 3100 w 523"/>
                <a:gd name="T35" fmla="*/ 13194 h 364"/>
                <a:gd name="T36" fmla="*/ 5315 w 523"/>
                <a:gd name="T37" fmla="*/ 11545 h 364"/>
                <a:gd name="T38" fmla="*/ 6643 w 523"/>
                <a:gd name="T39" fmla="*/ 9071 h 364"/>
                <a:gd name="T40" fmla="*/ 7972 w 523"/>
                <a:gd name="T41" fmla="*/ 7010 h 364"/>
                <a:gd name="T42" fmla="*/ 8858 w 523"/>
                <a:gd name="T43" fmla="*/ 5360 h 364"/>
                <a:gd name="T44" fmla="*/ 9743 w 523"/>
                <a:gd name="T45" fmla="*/ 3711 h 364"/>
                <a:gd name="T46" fmla="*/ 11515 w 523"/>
                <a:gd name="T47" fmla="*/ 3299 h 364"/>
                <a:gd name="T48" fmla="*/ 12844 w 523"/>
                <a:gd name="T49" fmla="*/ 2062 h 364"/>
                <a:gd name="T50" fmla="*/ 14615 w 523"/>
                <a:gd name="T51" fmla="*/ 1649 h 364"/>
                <a:gd name="T52" fmla="*/ 18601 w 523"/>
                <a:gd name="T53" fmla="*/ 2062 h 364"/>
                <a:gd name="T54" fmla="*/ 21258 w 523"/>
                <a:gd name="T55" fmla="*/ 1649 h 364"/>
                <a:gd name="T56" fmla="*/ 23030 w 523"/>
                <a:gd name="T57" fmla="*/ 2886 h 364"/>
                <a:gd name="T58" fmla="*/ 26130 w 523"/>
                <a:gd name="T59" fmla="*/ 1649 h 364"/>
                <a:gd name="T60" fmla="*/ 30559 w 523"/>
                <a:gd name="T61" fmla="*/ 0 h 364"/>
                <a:gd name="T62" fmla="*/ 31887 w 523"/>
                <a:gd name="T63" fmla="*/ 0 h 364"/>
                <a:gd name="T64" fmla="*/ 34102 w 523"/>
                <a:gd name="T65" fmla="*/ 2062 h 364"/>
                <a:gd name="T66" fmla="*/ 34988 w 523"/>
                <a:gd name="T67" fmla="*/ 4536 h 364"/>
                <a:gd name="T68" fmla="*/ 37202 w 523"/>
                <a:gd name="T69" fmla="*/ 7834 h 364"/>
                <a:gd name="T70" fmla="*/ 38531 w 523"/>
                <a:gd name="T71" fmla="*/ 11957 h 364"/>
                <a:gd name="T72" fmla="*/ 38531 w 523"/>
                <a:gd name="T73" fmla="*/ 15256 h 364"/>
                <a:gd name="T74" fmla="*/ 38531 w 523"/>
                <a:gd name="T75" fmla="*/ 17318 h 364"/>
                <a:gd name="T76" fmla="*/ 38531 w 523"/>
                <a:gd name="T77" fmla="*/ 18555 h 364"/>
                <a:gd name="T78" fmla="*/ 40745 w 523"/>
                <a:gd name="T79" fmla="*/ 19792 h 364"/>
                <a:gd name="T80" fmla="*/ 42517 w 523"/>
                <a:gd name="T81" fmla="*/ 19379 h 364"/>
                <a:gd name="T82" fmla="*/ 44731 w 523"/>
                <a:gd name="T83" fmla="*/ 18555 h 364"/>
                <a:gd name="T84" fmla="*/ 46060 w 523"/>
                <a:gd name="T85" fmla="*/ 18967 h 364"/>
                <a:gd name="T86" fmla="*/ 46060 w 523"/>
                <a:gd name="T87" fmla="*/ 21029 h 364"/>
                <a:gd name="T88" fmla="*/ 45617 w 523"/>
                <a:gd name="T89" fmla="*/ 22266 h 364"/>
                <a:gd name="T90" fmla="*/ 44288 w 523"/>
                <a:gd name="T91" fmla="*/ 23090 h 364"/>
                <a:gd name="T92" fmla="*/ 42517 w 523"/>
                <a:gd name="T93" fmla="*/ 24327 h 364"/>
                <a:gd name="T94" fmla="*/ 41631 w 523"/>
                <a:gd name="T95" fmla="*/ 24327 h 364"/>
                <a:gd name="T96" fmla="*/ 42960 w 523"/>
                <a:gd name="T97" fmla="*/ 23090 h 364"/>
                <a:gd name="T98" fmla="*/ 42074 w 523"/>
                <a:gd name="T99" fmla="*/ 21853 h 364"/>
                <a:gd name="T100" fmla="*/ 41631 w 523"/>
                <a:gd name="T101" fmla="*/ 24740 h 364"/>
                <a:gd name="T102" fmla="*/ 41188 w 523"/>
                <a:gd name="T103" fmla="*/ 26389 h 364"/>
                <a:gd name="T104" fmla="*/ 40745 w 523"/>
                <a:gd name="T105" fmla="*/ 28451 h 3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23"/>
                <a:gd name="T160" fmla="*/ 0 h 364"/>
                <a:gd name="T161" fmla="*/ 523 w 523"/>
                <a:gd name="T162" fmla="*/ 364 h 3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23" h="364">
                  <a:moveTo>
                    <a:pt x="467" y="355"/>
                  </a:moveTo>
                  <a:lnTo>
                    <a:pt x="449" y="356"/>
                  </a:lnTo>
                  <a:lnTo>
                    <a:pt x="429" y="343"/>
                  </a:lnTo>
                  <a:lnTo>
                    <a:pt x="399" y="334"/>
                  </a:lnTo>
                  <a:lnTo>
                    <a:pt x="393" y="329"/>
                  </a:lnTo>
                  <a:lnTo>
                    <a:pt x="373" y="328"/>
                  </a:lnTo>
                  <a:lnTo>
                    <a:pt x="347" y="337"/>
                  </a:lnTo>
                  <a:lnTo>
                    <a:pt x="327" y="347"/>
                  </a:lnTo>
                  <a:lnTo>
                    <a:pt x="308" y="359"/>
                  </a:lnTo>
                  <a:lnTo>
                    <a:pt x="291" y="364"/>
                  </a:lnTo>
                  <a:lnTo>
                    <a:pt x="247" y="356"/>
                  </a:lnTo>
                  <a:lnTo>
                    <a:pt x="206" y="355"/>
                  </a:lnTo>
                  <a:lnTo>
                    <a:pt x="172" y="351"/>
                  </a:lnTo>
                  <a:lnTo>
                    <a:pt x="158" y="351"/>
                  </a:lnTo>
                  <a:lnTo>
                    <a:pt x="147" y="343"/>
                  </a:lnTo>
                  <a:lnTo>
                    <a:pt x="153" y="328"/>
                  </a:lnTo>
                  <a:lnTo>
                    <a:pt x="141" y="324"/>
                  </a:lnTo>
                  <a:lnTo>
                    <a:pt x="131" y="322"/>
                  </a:lnTo>
                  <a:lnTo>
                    <a:pt x="124" y="306"/>
                  </a:lnTo>
                  <a:lnTo>
                    <a:pt x="134" y="295"/>
                  </a:lnTo>
                  <a:lnTo>
                    <a:pt x="126" y="284"/>
                  </a:lnTo>
                  <a:lnTo>
                    <a:pt x="115" y="293"/>
                  </a:lnTo>
                  <a:lnTo>
                    <a:pt x="87" y="283"/>
                  </a:lnTo>
                  <a:lnTo>
                    <a:pt x="72" y="270"/>
                  </a:lnTo>
                  <a:lnTo>
                    <a:pt x="71" y="256"/>
                  </a:lnTo>
                  <a:lnTo>
                    <a:pt x="69" y="246"/>
                  </a:lnTo>
                  <a:lnTo>
                    <a:pt x="60" y="241"/>
                  </a:lnTo>
                  <a:lnTo>
                    <a:pt x="49" y="238"/>
                  </a:lnTo>
                  <a:lnTo>
                    <a:pt x="40" y="225"/>
                  </a:lnTo>
                  <a:lnTo>
                    <a:pt x="35" y="207"/>
                  </a:lnTo>
                  <a:lnTo>
                    <a:pt x="30" y="194"/>
                  </a:lnTo>
                  <a:lnTo>
                    <a:pt x="19" y="182"/>
                  </a:lnTo>
                  <a:lnTo>
                    <a:pt x="5" y="176"/>
                  </a:lnTo>
                  <a:lnTo>
                    <a:pt x="0" y="172"/>
                  </a:lnTo>
                  <a:lnTo>
                    <a:pt x="3" y="172"/>
                  </a:lnTo>
                  <a:lnTo>
                    <a:pt x="35" y="162"/>
                  </a:lnTo>
                  <a:lnTo>
                    <a:pt x="51" y="155"/>
                  </a:lnTo>
                  <a:lnTo>
                    <a:pt x="59" y="138"/>
                  </a:lnTo>
                  <a:lnTo>
                    <a:pt x="66" y="128"/>
                  </a:lnTo>
                  <a:lnTo>
                    <a:pt x="73" y="112"/>
                  </a:lnTo>
                  <a:lnTo>
                    <a:pt x="78" y="98"/>
                  </a:lnTo>
                  <a:lnTo>
                    <a:pt x="91" y="85"/>
                  </a:lnTo>
                  <a:lnTo>
                    <a:pt x="93" y="74"/>
                  </a:lnTo>
                  <a:lnTo>
                    <a:pt x="99" y="63"/>
                  </a:lnTo>
                  <a:lnTo>
                    <a:pt x="101" y="55"/>
                  </a:lnTo>
                  <a:lnTo>
                    <a:pt x="110" y="46"/>
                  </a:lnTo>
                  <a:lnTo>
                    <a:pt x="125" y="39"/>
                  </a:lnTo>
                  <a:lnTo>
                    <a:pt x="132" y="39"/>
                  </a:lnTo>
                  <a:lnTo>
                    <a:pt x="140" y="32"/>
                  </a:lnTo>
                  <a:lnTo>
                    <a:pt x="144" y="25"/>
                  </a:lnTo>
                  <a:lnTo>
                    <a:pt x="151" y="22"/>
                  </a:lnTo>
                  <a:lnTo>
                    <a:pt x="168" y="22"/>
                  </a:lnTo>
                  <a:lnTo>
                    <a:pt x="187" y="25"/>
                  </a:lnTo>
                  <a:lnTo>
                    <a:pt x="210" y="27"/>
                  </a:lnTo>
                  <a:lnTo>
                    <a:pt x="225" y="24"/>
                  </a:lnTo>
                  <a:lnTo>
                    <a:pt x="241" y="22"/>
                  </a:lnTo>
                  <a:lnTo>
                    <a:pt x="252" y="32"/>
                  </a:lnTo>
                  <a:lnTo>
                    <a:pt x="261" y="37"/>
                  </a:lnTo>
                  <a:lnTo>
                    <a:pt x="277" y="26"/>
                  </a:lnTo>
                  <a:lnTo>
                    <a:pt x="295" y="21"/>
                  </a:lnTo>
                  <a:lnTo>
                    <a:pt x="312" y="21"/>
                  </a:lnTo>
                  <a:lnTo>
                    <a:pt x="346" y="0"/>
                  </a:lnTo>
                  <a:lnTo>
                    <a:pt x="352" y="1"/>
                  </a:lnTo>
                  <a:lnTo>
                    <a:pt x="360" y="1"/>
                  </a:lnTo>
                  <a:lnTo>
                    <a:pt x="372" y="11"/>
                  </a:lnTo>
                  <a:lnTo>
                    <a:pt x="386" y="25"/>
                  </a:lnTo>
                  <a:lnTo>
                    <a:pt x="394" y="38"/>
                  </a:lnTo>
                  <a:lnTo>
                    <a:pt x="397" y="55"/>
                  </a:lnTo>
                  <a:lnTo>
                    <a:pt x="409" y="76"/>
                  </a:lnTo>
                  <a:lnTo>
                    <a:pt x="422" y="97"/>
                  </a:lnTo>
                  <a:lnTo>
                    <a:pt x="433" y="117"/>
                  </a:lnTo>
                  <a:lnTo>
                    <a:pt x="438" y="146"/>
                  </a:lnTo>
                  <a:lnTo>
                    <a:pt x="438" y="166"/>
                  </a:lnTo>
                  <a:lnTo>
                    <a:pt x="436" y="182"/>
                  </a:lnTo>
                  <a:lnTo>
                    <a:pt x="438" y="194"/>
                  </a:lnTo>
                  <a:lnTo>
                    <a:pt x="440" y="207"/>
                  </a:lnTo>
                  <a:lnTo>
                    <a:pt x="440" y="221"/>
                  </a:lnTo>
                  <a:lnTo>
                    <a:pt x="440" y="225"/>
                  </a:lnTo>
                  <a:lnTo>
                    <a:pt x="448" y="224"/>
                  </a:lnTo>
                  <a:lnTo>
                    <a:pt x="462" y="241"/>
                  </a:lnTo>
                  <a:lnTo>
                    <a:pt x="472" y="240"/>
                  </a:lnTo>
                  <a:lnTo>
                    <a:pt x="483" y="232"/>
                  </a:lnTo>
                  <a:lnTo>
                    <a:pt x="497" y="230"/>
                  </a:lnTo>
                  <a:lnTo>
                    <a:pt x="506" y="226"/>
                  </a:lnTo>
                  <a:lnTo>
                    <a:pt x="515" y="226"/>
                  </a:lnTo>
                  <a:lnTo>
                    <a:pt x="521" y="230"/>
                  </a:lnTo>
                  <a:lnTo>
                    <a:pt x="523" y="237"/>
                  </a:lnTo>
                  <a:lnTo>
                    <a:pt x="523" y="254"/>
                  </a:lnTo>
                  <a:lnTo>
                    <a:pt x="521" y="265"/>
                  </a:lnTo>
                  <a:lnTo>
                    <a:pt x="518" y="270"/>
                  </a:lnTo>
                  <a:lnTo>
                    <a:pt x="513" y="277"/>
                  </a:lnTo>
                  <a:lnTo>
                    <a:pt x="502" y="279"/>
                  </a:lnTo>
                  <a:lnTo>
                    <a:pt x="492" y="286"/>
                  </a:lnTo>
                  <a:lnTo>
                    <a:pt x="485" y="296"/>
                  </a:lnTo>
                  <a:lnTo>
                    <a:pt x="478" y="302"/>
                  </a:lnTo>
                  <a:lnTo>
                    <a:pt x="475" y="296"/>
                  </a:lnTo>
                  <a:lnTo>
                    <a:pt x="481" y="289"/>
                  </a:lnTo>
                  <a:lnTo>
                    <a:pt x="487" y="277"/>
                  </a:lnTo>
                  <a:lnTo>
                    <a:pt x="487" y="263"/>
                  </a:lnTo>
                  <a:lnTo>
                    <a:pt x="480" y="263"/>
                  </a:lnTo>
                  <a:lnTo>
                    <a:pt x="476" y="286"/>
                  </a:lnTo>
                  <a:lnTo>
                    <a:pt x="472" y="299"/>
                  </a:lnTo>
                  <a:lnTo>
                    <a:pt x="469" y="310"/>
                  </a:lnTo>
                  <a:lnTo>
                    <a:pt x="467" y="317"/>
                  </a:lnTo>
                  <a:lnTo>
                    <a:pt x="467" y="336"/>
                  </a:lnTo>
                  <a:lnTo>
                    <a:pt x="465" y="344"/>
                  </a:lnTo>
                  <a:lnTo>
                    <a:pt x="467" y="355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63" name="Freeform 219">
              <a:extLst>
                <a:ext uri="{FF2B5EF4-FFF2-40B4-BE49-F238E27FC236}">
                  <a16:creationId xmlns:a16="http://schemas.microsoft.com/office/drawing/2014/main" id="{D6483FB4-64DF-A5B9-DF1F-2A48D430CA99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8699" y="1591324"/>
              <a:ext cx="95433" cy="77461"/>
            </a:xfrm>
            <a:custGeom>
              <a:avLst/>
              <a:gdLst>
                <a:gd name="T0" fmla="*/ 11261 w 267"/>
                <a:gd name="T1" fmla="*/ 0 h 220"/>
                <a:gd name="T2" fmla="*/ 12612 w 267"/>
                <a:gd name="T3" fmla="*/ 411 h 220"/>
                <a:gd name="T4" fmla="*/ 14414 w 267"/>
                <a:gd name="T5" fmla="*/ 1234 h 220"/>
                <a:gd name="T6" fmla="*/ 16666 w 267"/>
                <a:gd name="T7" fmla="*/ 1645 h 220"/>
                <a:gd name="T8" fmla="*/ 21621 w 267"/>
                <a:gd name="T9" fmla="*/ 2056 h 220"/>
                <a:gd name="T10" fmla="*/ 22973 w 267"/>
                <a:gd name="T11" fmla="*/ 1234 h 220"/>
                <a:gd name="T12" fmla="*/ 24324 w 267"/>
                <a:gd name="T13" fmla="*/ 1645 h 220"/>
                <a:gd name="T14" fmla="*/ 23873 w 267"/>
                <a:gd name="T15" fmla="*/ 3290 h 220"/>
                <a:gd name="T16" fmla="*/ 22072 w 267"/>
                <a:gd name="T17" fmla="*/ 5346 h 220"/>
                <a:gd name="T18" fmla="*/ 22072 w 267"/>
                <a:gd name="T19" fmla="*/ 7402 h 220"/>
                <a:gd name="T20" fmla="*/ 22072 w 267"/>
                <a:gd name="T21" fmla="*/ 9458 h 220"/>
                <a:gd name="T22" fmla="*/ 22072 w 267"/>
                <a:gd name="T23" fmla="*/ 10280 h 220"/>
                <a:gd name="T24" fmla="*/ 21171 w 267"/>
                <a:gd name="T25" fmla="*/ 11925 h 220"/>
                <a:gd name="T26" fmla="*/ 20270 w 267"/>
                <a:gd name="T27" fmla="*/ 12747 h 220"/>
                <a:gd name="T28" fmla="*/ 21621 w 267"/>
                <a:gd name="T29" fmla="*/ 13158 h 220"/>
                <a:gd name="T30" fmla="*/ 23873 w 267"/>
                <a:gd name="T31" fmla="*/ 14803 h 220"/>
                <a:gd name="T32" fmla="*/ 22973 w 267"/>
                <a:gd name="T33" fmla="*/ 16037 h 220"/>
                <a:gd name="T34" fmla="*/ 21171 w 267"/>
                <a:gd name="T35" fmla="*/ 14392 h 220"/>
                <a:gd name="T36" fmla="*/ 20720 w 267"/>
                <a:gd name="T37" fmla="*/ 16448 h 220"/>
                <a:gd name="T38" fmla="*/ 20270 w 267"/>
                <a:gd name="T39" fmla="*/ 18093 h 220"/>
                <a:gd name="T40" fmla="*/ 18919 w 267"/>
                <a:gd name="T41" fmla="*/ 17682 h 220"/>
                <a:gd name="T42" fmla="*/ 16666 w 267"/>
                <a:gd name="T43" fmla="*/ 18093 h 220"/>
                <a:gd name="T44" fmla="*/ 13964 w 267"/>
                <a:gd name="T45" fmla="*/ 16448 h 220"/>
                <a:gd name="T46" fmla="*/ 12162 w 267"/>
                <a:gd name="T47" fmla="*/ 15214 h 220"/>
                <a:gd name="T48" fmla="*/ 9459 w 267"/>
                <a:gd name="T49" fmla="*/ 13981 h 220"/>
                <a:gd name="T50" fmla="*/ 5856 w 267"/>
                <a:gd name="T51" fmla="*/ 15214 h 220"/>
                <a:gd name="T52" fmla="*/ 4504 w 267"/>
                <a:gd name="T53" fmla="*/ 15626 h 220"/>
                <a:gd name="T54" fmla="*/ 4955 w 267"/>
                <a:gd name="T55" fmla="*/ 12747 h 220"/>
                <a:gd name="T56" fmla="*/ 5405 w 267"/>
                <a:gd name="T57" fmla="*/ 11514 h 220"/>
                <a:gd name="T58" fmla="*/ 4054 w 267"/>
                <a:gd name="T59" fmla="*/ 11925 h 220"/>
                <a:gd name="T60" fmla="*/ 2703 w 267"/>
                <a:gd name="T61" fmla="*/ 11514 h 220"/>
                <a:gd name="T62" fmla="*/ 1351 w 267"/>
                <a:gd name="T63" fmla="*/ 11514 h 220"/>
                <a:gd name="T64" fmla="*/ 450 w 267"/>
                <a:gd name="T65" fmla="*/ 9869 h 220"/>
                <a:gd name="T66" fmla="*/ 450 w 267"/>
                <a:gd name="T67" fmla="*/ 8224 h 220"/>
                <a:gd name="T68" fmla="*/ 1351 w 267"/>
                <a:gd name="T69" fmla="*/ 7813 h 220"/>
                <a:gd name="T70" fmla="*/ 450 w 267"/>
                <a:gd name="T71" fmla="*/ 6579 h 220"/>
                <a:gd name="T72" fmla="*/ 450 w 267"/>
                <a:gd name="T73" fmla="*/ 5757 h 220"/>
                <a:gd name="T74" fmla="*/ 450 w 267"/>
                <a:gd name="T75" fmla="*/ 4112 h 220"/>
                <a:gd name="T76" fmla="*/ 3153 w 267"/>
                <a:gd name="T77" fmla="*/ 3290 h 220"/>
                <a:gd name="T78" fmla="*/ 3604 w 267"/>
                <a:gd name="T79" fmla="*/ 2467 h 220"/>
                <a:gd name="T80" fmla="*/ 4955 w 267"/>
                <a:gd name="T81" fmla="*/ 1645 h 220"/>
                <a:gd name="T82" fmla="*/ 7207 w 267"/>
                <a:gd name="T83" fmla="*/ 1234 h 220"/>
                <a:gd name="T84" fmla="*/ 9910 w 267"/>
                <a:gd name="T85" fmla="*/ 1234 h 220"/>
                <a:gd name="T86" fmla="*/ 9910 w 267"/>
                <a:gd name="T87" fmla="*/ 411 h 2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67"/>
                <a:gd name="T133" fmla="*/ 0 h 220"/>
                <a:gd name="T134" fmla="*/ 267 w 267"/>
                <a:gd name="T135" fmla="*/ 220 h 2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67" h="220">
                  <a:moveTo>
                    <a:pt x="121" y="5"/>
                  </a:moveTo>
                  <a:lnTo>
                    <a:pt x="124" y="0"/>
                  </a:lnTo>
                  <a:lnTo>
                    <a:pt x="131" y="9"/>
                  </a:lnTo>
                  <a:lnTo>
                    <a:pt x="140" y="5"/>
                  </a:lnTo>
                  <a:lnTo>
                    <a:pt x="147" y="6"/>
                  </a:lnTo>
                  <a:lnTo>
                    <a:pt x="159" y="13"/>
                  </a:lnTo>
                  <a:lnTo>
                    <a:pt x="179" y="15"/>
                  </a:lnTo>
                  <a:lnTo>
                    <a:pt x="184" y="21"/>
                  </a:lnTo>
                  <a:lnTo>
                    <a:pt x="196" y="25"/>
                  </a:lnTo>
                  <a:lnTo>
                    <a:pt x="239" y="26"/>
                  </a:lnTo>
                  <a:lnTo>
                    <a:pt x="250" y="22"/>
                  </a:lnTo>
                  <a:lnTo>
                    <a:pt x="253" y="15"/>
                  </a:lnTo>
                  <a:lnTo>
                    <a:pt x="260" y="16"/>
                  </a:lnTo>
                  <a:lnTo>
                    <a:pt x="265" y="22"/>
                  </a:lnTo>
                  <a:lnTo>
                    <a:pt x="267" y="30"/>
                  </a:lnTo>
                  <a:lnTo>
                    <a:pt x="264" y="38"/>
                  </a:lnTo>
                  <a:lnTo>
                    <a:pt x="253" y="49"/>
                  </a:lnTo>
                  <a:lnTo>
                    <a:pt x="244" y="64"/>
                  </a:lnTo>
                  <a:lnTo>
                    <a:pt x="238" y="78"/>
                  </a:lnTo>
                  <a:lnTo>
                    <a:pt x="242" y="91"/>
                  </a:lnTo>
                  <a:lnTo>
                    <a:pt x="239" y="110"/>
                  </a:lnTo>
                  <a:lnTo>
                    <a:pt x="240" y="116"/>
                  </a:lnTo>
                  <a:lnTo>
                    <a:pt x="243" y="121"/>
                  </a:lnTo>
                  <a:lnTo>
                    <a:pt x="243" y="127"/>
                  </a:lnTo>
                  <a:lnTo>
                    <a:pt x="240" y="134"/>
                  </a:lnTo>
                  <a:lnTo>
                    <a:pt x="232" y="143"/>
                  </a:lnTo>
                  <a:lnTo>
                    <a:pt x="227" y="146"/>
                  </a:lnTo>
                  <a:lnTo>
                    <a:pt x="224" y="154"/>
                  </a:lnTo>
                  <a:lnTo>
                    <a:pt x="228" y="161"/>
                  </a:lnTo>
                  <a:lnTo>
                    <a:pt x="237" y="162"/>
                  </a:lnTo>
                  <a:lnTo>
                    <a:pt x="250" y="161"/>
                  </a:lnTo>
                  <a:lnTo>
                    <a:pt x="261" y="178"/>
                  </a:lnTo>
                  <a:lnTo>
                    <a:pt x="260" y="194"/>
                  </a:lnTo>
                  <a:lnTo>
                    <a:pt x="250" y="194"/>
                  </a:lnTo>
                  <a:lnTo>
                    <a:pt x="242" y="183"/>
                  </a:lnTo>
                  <a:lnTo>
                    <a:pt x="233" y="176"/>
                  </a:lnTo>
                  <a:lnTo>
                    <a:pt x="233" y="191"/>
                  </a:lnTo>
                  <a:lnTo>
                    <a:pt x="229" y="198"/>
                  </a:lnTo>
                  <a:lnTo>
                    <a:pt x="223" y="213"/>
                  </a:lnTo>
                  <a:lnTo>
                    <a:pt x="224" y="220"/>
                  </a:lnTo>
                  <a:lnTo>
                    <a:pt x="223" y="219"/>
                  </a:lnTo>
                  <a:lnTo>
                    <a:pt x="206" y="215"/>
                  </a:lnTo>
                  <a:lnTo>
                    <a:pt x="191" y="217"/>
                  </a:lnTo>
                  <a:lnTo>
                    <a:pt x="183" y="220"/>
                  </a:lnTo>
                  <a:lnTo>
                    <a:pt x="175" y="220"/>
                  </a:lnTo>
                  <a:lnTo>
                    <a:pt x="153" y="201"/>
                  </a:lnTo>
                  <a:lnTo>
                    <a:pt x="148" y="191"/>
                  </a:lnTo>
                  <a:lnTo>
                    <a:pt x="134" y="186"/>
                  </a:lnTo>
                  <a:lnTo>
                    <a:pt x="120" y="175"/>
                  </a:lnTo>
                  <a:lnTo>
                    <a:pt x="104" y="171"/>
                  </a:lnTo>
                  <a:lnTo>
                    <a:pt x="78" y="175"/>
                  </a:lnTo>
                  <a:lnTo>
                    <a:pt x="65" y="185"/>
                  </a:lnTo>
                  <a:lnTo>
                    <a:pt x="56" y="186"/>
                  </a:lnTo>
                  <a:lnTo>
                    <a:pt x="50" y="192"/>
                  </a:lnTo>
                  <a:lnTo>
                    <a:pt x="54" y="180"/>
                  </a:lnTo>
                  <a:lnTo>
                    <a:pt x="56" y="155"/>
                  </a:lnTo>
                  <a:lnTo>
                    <a:pt x="60" y="144"/>
                  </a:lnTo>
                  <a:lnTo>
                    <a:pt x="60" y="139"/>
                  </a:lnTo>
                  <a:lnTo>
                    <a:pt x="45" y="137"/>
                  </a:lnTo>
                  <a:lnTo>
                    <a:pt x="43" y="144"/>
                  </a:lnTo>
                  <a:lnTo>
                    <a:pt x="34" y="149"/>
                  </a:lnTo>
                  <a:lnTo>
                    <a:pt x="28" y="140"/>
                  </a:lnTo>
                  <a:lnTo>
                    <a:pt x="22" y="142"/>
                  </a:lnTo>
                  <a:lnTo>
                    <a:pt x="14" y="139"/>
                  </a:lnTo>
                  <a:lnTo>
                    <a:pt x="11" y="128"/>
                  </a:lnTo>
                  <a:lnTo>
                    <a:pt x="5" y="119"/>
                  </a:lnTo>
                  <a:lnTo>
                    <a:pt x="3" y="110"/>
                  </a:lnTo>
                  <a:lnTo>
                    <a:pt x="7" y="100"/>
                  </a:lnTo>
                  <a:lnTo>
                    <a:pt x="18" y="97"/>
                  </a:lnTo>
                  <a:lnTo>
                    <a:pt x="16" y="94"/>
                  </a:lnTo>
                  <a:lnTo>
                    <a:pt x="2" y="92"/>
                  </a:lnTo>
                  <a:lnTo>
                    <a:pt x="3" y="79"/>
                  </a:lnTo>
                  <a:lnTo>
                    <a:pt x="6" y="75"/>
                  </a:lnTo>
                  <a:lnTo>
                    <a:pt x="5" y="72"/>
                  </a:lnTo>
                  <a:lnTo>
                    <a:pt x="0" y="70"/>
                  </a:lnTo>
                  <a:lnTo>
                    <a:pt x="3" y="49"/>
                  </a:lnTo>
                  <a:lnTo>
                    <a:pt x="8" y="46"/>
                  </a:lnTo>
                  <a:lnTo>
                    <a:pt x="35" y="38"/>
                  </a:lnTo>
                  <a:lnTo>
                    <a:pt x="35" y="33"/>
                  </a:lnTo>
                  <a:lnTo>
                    <a:pt x="39" y="30"/>
                  </a:lnTo>
                  <a:lnTo>
                    <a:pt x="48" y="27"/>
                  </a:lnTo>
                  <a:lnTo>
                    <a:pt x="54" y="21"/>
                  </a:lnTo>
                  <a:lnTo>
                    <a:pt x="75" y="22"/>
                  </a:lnTo>
                  <a:lnTo>
                    <a:pt x="77" y="13"/>
                  </a:lnTo>
                  <a:lnTo>
                    <a:pt x="87" y="19"/>
                  </a:lnTo>
                  <a:lnTo>
                    <a:pt x="108" y="16"/>
                  </a:lnTo>
                  <a:lnTo>
                    <a:pt x="113" y="13"/>
                  </a:lnTo>
                  <a:lnTo>
                    <a:pt x="111" y="5"/>
                  </a:lnTo>
                  <a:lnTo>
                    <a:pt x="121" y="5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64" name="Freeform 220">
              <a:extLst>
                <a:ext uri="{FF2B5EF4-FFF2-40B4-BE49-F238E27FC236}">
                  <a16:creationId xmlns:a16="http://schemas.microsoft.com/office/drawing/2014/main" id="{6AC7EE11-54C6-1ABA-8653-50BAB2F94134}"/>
                </a:ext>
              </a:extLst>
            </p:cNvPr>
            <p:cNvSpPr>
              <a:spLocks/>
            </p:cNvSpPr>
            <p:nvPr/>
          </p:nvSpPr>
          <p:spPr bwMode="gray">
            <a:xfrm>
              <a:off x="4754703" y="1110253"/>
              <a:ext cx="209703" cy="471558"/>
            </a:xfrm>
            <a:custGeom>
              <a:avLst/>
              <a:gdLst>
                <a:gd name="T0" fmla="*/ 4022 w 593"/>
                <a:gd name="T1" fmla="*/ 16872 h 1339"/>
                <a:gd name="T2" fmla="*/ 14749 w 593"/>
                <a:gd name="T3" fmla="*/ 26336 h 1339"/>
                <a:gd name="T4" fmla="*/ 14302 w 593"/>
                <a:gd name="T5" fmla="*/ 31274 h 1339"/>
                <a:gd name="T6" fmla="*/ 14302 w 593"/>
                <a:gd name="T7" fmla="*/ 35801 h 1339"/>
                <a:gd name="T8" fmla="*/ 16537 w 593"/>
                <a:gd name="T9" fmla="*/ 42797 h 1339"/>
                <a:gd name="T10" fmla="*/ 16984 w 593"/>
                <a:gd name="T11" fmla="*/ 49792 h 1339"/>
                <a:gd name="T12" fmla="*/ 18771 w 593"/>
                <a:gd name="T13" fmla="*/ 51438 h 1339"/>
                <a:gd name="T14" fmla="*/ 21453 w 593"/>
                <a:gd name="T15" fmla="*/ 53496 h 1339"/>
                <a:gd name="T16" fmla="*/ 24135 w 593"/>
                <a:gd name="T17" fmla="*/ 60491 h 1339"/>
                <a:gd name="T18" fmla="*/ 22347 w 593"/>
                <a:gd name="T19" fmla="*/ 61314 h 1339"/>
                <a:gd name="T20" fmla="*/ 17878 w 593"/>
                <a:gd name="T21" fmla="*/ 65841 h 1339"/>
                <a:gd name="T22" fmla="*/ 10727 w 593"/>
                <a:gd name="T23" fmla="*/ 75717 h 1339"/>
                <a:gd name="T24" fmla="*/ 8045 w 593"/>
                <a:gd name="T25" fmla="*/ 78186 h 1339"/>
                <a:gd name="T26" fmla="*/ 5810 w 593"/>
                <a:gd name="T27" fmla="*/ 80243 h 1339"/>
                <a:gd name="T28" fmla="*/ 3576 w 593"/>
                <a:gd name="T29" fmla="*/ 81478 h 1339"/>
                <a:gd name="T30" fmla="*/ 1788 w 593"/>
                <a:gd name="T31" fmla="*/ 83947 h 1339"/>
                <a:gd name="T32" fmla="*/ 3129 w 593"/>
                <a:gd name="T33" fmla="*/ 87651 h 1339"/>
                <a:gd name="T34" fmla="*/ 4022 w 593"/>
                <a:gd name="T35" fmla="*/ 92177 h 1339"/>
                <a:gd name="T36" fmla="*/ 4916 w 593"/>
                <a:gd name="T37" fmla="*/ 95058 h 1339"/>
                <a:gd name="T38" fmla="*/ 4022 w 593"/>
                <a:gd name="T39" fmla="*/ 95469 h 1339"/>
                <a:gd name="T40" fmla="*/ 3576 w 593"/>
                <a:gd name="T41" fmla="*/ 99173 h 1339"/>
                <a:gd name="T42" fmla="*/ 3129 w 593"/>
                <a:gd name="T43" fmla="*/ 100819 h 1339"/>
                <a:gd name="T44" fmla="*/ 4022 w 593"/>
                <a:gd name="T45" fmla="*/ 102053 h 1339"/>
                <a:gd name="T46" fmla="*/ 5810 w 593"/>
                <a:gd name="T47" fmla="*/ 103699 h 1339"/>
                <a:gd name="T48" fmla="*/ 8939 w 593"/>
                <a:gd name="T49" fmla="*/ 105345 h 1339"/>
                <a:gd name="T50" fmla="*/ 10727 w 593"/>
                <a:gd name="T51" fmla="*/ 106168 h 1339"/>
                <a:gd name="T52" fmla="*/ 12067 w 593"/>
                <a:gd name="T53" fmla="*/ 109049 h 1339"/>
                <a:gd name="T54" fmla="*/ 12514 w 593"/>
                <a:gd name="T55" fmla="*/ 109872 h 1339"/>
                <a:gd name="T56" fmla="*/ 14302 w 593"/>
                <a:gd name="T57" fmla="*/ 109460 h 1339"/>
                <a:gd name="T58" fmla="*/ 17878 w 593"/>
                <a:gd name="T59" fmla="*/ 108226 h 1339"/>
                <a:gd name="T60" fmla="*/ 20559 w 593"/>
                <a:gd name="T61" fmla="*/ 106991 h 1339"/>
                <a:gd name="T62" fmla="*/ 24135 w 593"/>
                <a:gd name="T63" fmla="*/ 104934 h 1339"/>
                <a:gd name="T64" fmla="*/ 25922 w 593"/>
                <a:gd name="T65" fmla="*/ 104934 h 1339"/>
                <a:gd name="T66" fmla="*/ 29498 w 593"/>
                <a:gd name="T67" fmla="*/ 104522 h 1339"/>
                <a:gd name="T68" fmla="*/ 33967 w 593"/>
                <a:gd name="T69" fmla="*/ 104111 h 1339"/>
                <a:gd name="T70" fmla="*/ 37990 w 593"/>
                <a:gd name="T71" fmla="*/ 101230 h 1339"/>
                <a:gd name="T72" fmla="*/ 51845 w 593"/>
                <a:gd name="T73" fmla="*/ 86416 h 1339"/>
                <a:gd name="T74" fmla="*/ 51845 w 593"/>
                <a:gd name="T75" fmla="*/ 79420 h 1339"/>
                <a:gd name="T76" fmla="*/ 47376 w 593"/>
                <a:gd name="T77" fmla="*/ 73248 h 1339"/>
                <a:gd name="T78" fmla="*/ 49163 w 593"/>
                <a:gd name="T79" fmla="*/ 67898 h 1339"/>
                <a:gd name="T80" fmla="*/ 46482 w 593"/>
                <a:gd name="T81" fmla="*/ 62137 h 1339"/>
                <a:gd name="T82" fmla="*/ 45588 w 593"/>
                <a:gd name="T83" fmla="*/ 57611 h 1339"/>
                <a:gd name="T84" fmla="*/ 46929 w 593"/>
                <a:gd name="T85" fmla="*/ 52673 h 1339"/>
                <a:gd name="T86" fmla="*/ 44247 w 593"/>
                <a:gd name="T87" fmla="*/ 44854 h 1339"/>
                <a:gd name="T88" fmla="*/ 42459 w 593"/>
                <a:gd name="T89" fmla="*/ 38681 h 1339"/>
                <a:gd name="T90" fmla="*/ 46035 w 593"/>
                <a:gd name="T91" fmla="*/ 29217 h 1339"/>
                <a:gd name="T92" fmla="*/ 41118 w 593"/>
                <a:gd name="T93" fmla="*/ 23867 h 1339"/>
                <a:gd name="T94" fmla="*/ 38884 w 593"/>
                <a:gd name="T95" fmla="*/ 18929 h 1339"/>
                <a:gd name="T96" fmla="*/ 38884 w 593"/>
                <a:gd name="T97" fmla="*/ 15226 h 1339"/>
                <a:gd name="T98" fmla="*/ 41118 w 593"/>
                <a:gd name="T99" fmla="*/ 10288 h 1339"/>
                <a:gd name="T100" fmla="*/ 40671 w 593"/>
                <a:gd name="T101" fmla="*/ 3292 h 1339"/>
                <a:gd name="T102" fmla="*/ 36649 w 593"/>
                <a:gd name="T103" fmla="*/ 0 h 1339"/>
                <a:gd name="T104" fmla="*/ 27710 w 593"/>
                <a:gd name="T105" fmla="*/ 2469 h 1339"/>
                <a:gd name="T106" fmla="*/ 25476 w 593"/>
                <a:gd name="T107" fmla="*/ 10699 h 1339"/>
                <a:gd name="T108" fmla="*/ 22347 w 593"/>
                <a:gd name="T109" fmla="*/ 16460 h 1339"/>
                <a:gd name="T110" fmla="*/ 18771 w 593"/>
                <a:gd name="T111" fmla="*/ 16872 h 1339"/>
                <a:gd name="T112" fmla="*/ 13855 w 593"/>
                <a:gd name="T113" fmla="*/ 17695 h 1339"/>
                <a:gd name="T114" fmla="*/ 8939 w 593"/>
                <a:gd name="T115" fmla="*/ 16049 h 1339"/>
                <a:gd name="T116" fmla="*/ 3129 w 593"/>
                <a:gd name="T117" fmla="*/ 9465 h 1339"/>
                <a:gd name="T118" fmla="*/ 1788 w 593"/>
                <a:gd name="T119" fmla="*/ 12345 h 133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93"/>
                <a:gd name="T181" fmla="*/ 0 h 1339"/>
                <a:gd name="T182" fmla="*/ 593 w 593"/>
                <a:gd name="T183" fmla="*/ 1339 h 133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93" h="1339">
                  <a:moveTo>
                    <a:pt x="0" y="156"/>
                  </a:moveTo>
                  <a:lnTo>
                    <a:pt x="3" y="156"/>
                  </a:lnTo>
                  <a:lnTo>
                    <a:pt x="5" y="161"/>
                  </a:lnTo>
                  <a:lnTo>
                    <a:pt x="46" y="207"/>
                  </a:lnTo>
                  <a:lnTo>
                    <a:pt x="76" y="237"/>
                  </a:lnTo>
                  <a:lnTo>
                    <a:pt x="112" y="248"/>
                  </a:lnTo>
                  <a:lnTo>
                    <a:pt x="130" y="266"/>
                  </a:lnTo>
                  <a:lnTo>
                    <a:pt x="162" y="322"/>
                  </a:lnTo>
                  <a:lnTo>
                    <a:pt x="165" y="329"/>
                  </a:lnTo>
                  <a:lnTo>
                    <a:pt x="160" y="342"/>
                  </a:lnTo>
                  <a:lnTo>
                    <a:pt x="159" y="358"/>
                  </a:lnTo>
                  <a:lnTo>
                    <a:pt x="159" y="379"/>
                  </a:lnTo>
                  <a:lnTo>
                    <a:pt x="160" y="393"/>
                  </a:lnTo>
                  <a:lnTo>
                    <a:pt x="165" y="399"/>
                  </a:lnTo>
                  <a:lnTo>
                    <a:pt x="167" y="414"/>
                  </a:lnTo>
                  <a:lnTo>
                    <a:pt x="161" y="435"/>
                  </a:lnTo>
                  <a:lnTo>
                    <a:pt x="164" y="452"/>
                  </a:lnTo>
                  <a:lnTo>
                    <a:pt x="184" y="498"/>
                  </a:lnTo>
                  <a:lnTo>
                    <a:pt x="184" y="510"/>
                  </a:lnTo>
                  <a:lnTo>
                    <a:pt x="183" y="520"/>
                  </a:lnTo>
                  <a:lnTo>
                    <a:pt x="175" y="533"/>
                  </a:lnTo>
                  <a:lnTo>
                    <a:pt x="171" y="551"/>
                  </a:lnTo>
                  <a:lnTo>
                    <a:pt x="175" y="571"/>
                  </a:lnTo>
                  <a:lnTo>
                    <a:pt x="189" y="605"/>
                  </a:lnTo>
                  <a:lnTo>
                    <a:pt x="197" y="613"/>
                  </a:lnTo>
                  <a:lnTo>
                    <a:pt x="202" y="614"/>
                  </a:lnTo>
                  <a:lnTo>
                    <a:pt x="205" y="622"/>
                  </a:lnTo>
                  <a:lnTo>
                    <a:pt x="211" y="625"/>
                  </a:lnTo>
                  <a:lnTo>
                    <a:pt x="216" y="619"/>
                  </a:lnTo>
                  <a:lnTo>
                    <a:pt x="220" y="623"/>
                  </a:lnTo>
                  <a:lnTo>
                    <a:pt x="224" y="637"/>
                  </a:lnTo>
                  <a:lnTo>
                    <a:pt x="240" y="648"/>
                  </a:lnTo>
                  <a:lnTo>
                    <a:pt x="257" y="671"/>
                  </a:lnTo>
                  <a:lnTo>
                    <a:pt x="262" y="684"/>
                  </a:lnTo>
                  <a:lnTo>
                    <a:pt x="259" y="714"/>
                  </a:lnTo>
                  <a:lnTo>
                    <a:pt x="270" y="734"/>
                  </a:lnTo>
                  <a:lnTo>
                    <a:pt x="262" y="732"/>
                  </a:lnTo>
                  <a:lnTo>
                    <a:pt x="258" y="740"/>
                  </a:lnTo>
                  <a:lnTo>
                    <a:pt x="262" y="750"/>
                  </a:lnTo>
                  <a:lnTo>
                    <a:pt x="251" y="743"/>
                  </a:lnTo>
                  <a:lnTo>
                    <a:pt x="241" y="745"/>
                  </a:lnTo>
                  <a:lnTo>
                    <a:pt x="222" y="752"/>
                  </a:lnTo>
                  <a:lnTo>
                    <a:pt x="214" y="788"/>
                  </a:lnTo>
                  <a:lnTo>
                    <a:pt x="200" y="801"/>
                  </a:lnTo>
                  <a:lnTo>
                    <a:pt x="181" y="828"/>
                  </a:lnTo>
                  <a:lnTo>
                    <a:pt x="156" y="855"/>
                  </a:lnTo>
                  <a:lnTo>
                    <a:pt x="140" y="879"/>
                  </a:lnTo>
                  <a:lnTo>
                    <a:pt x="118" y="918"/>
                  </a:lnTo>
                  <a:lnTo>
                    <a:pt x="108" y="925"/>
                  </a:lnTo>
                  <a:lnTo>
                    <a:pt x="102" y="935"/>
                  </a:lnTo>
                  <a:lnTo>
                    <a:pt x="97" y="940"/>
                  </a:lnTo>
                  <a:lnTo>
                    <a:pt x="90" y="949"/>
                  </a:lnTo>
                  <a:lnTo>
                    <a:pt x="70" y="952"/>
                  </a:lnTo>
                  <a:lnTo>
                    <a:pt x="62" y="949"/>
                  </a:lnTo>
                  <a:lnTo>
                    <a:pt x="55" y="962"/>
                  </a:lnTo>
                  <a:lnTo>
                    <a:pt x="63" y="972"/>
                  </a:lnTo>
                  <a:lnTo>
                    <a:pt x="59" y="974"/>
                  </a:lnTo>
                  <a:lnTo>
                    <a:pt x="42" y="976"/>
                  </a:lnTo>
                  <a:lnTo>
                    <a:pt x="43" y="982"/>
                  </a:lnTo>
                  <a:lnTo>
                    <a:pt x="39" y="990"/>
                  </a:lnTo>
                  <a:lnTo>
                    <a:pt x="33" y="990"/>
                  </a:lnTo>
                  <a:lnTo>
                    <a:pt x="30" y="993"/>
                  </a:lnTo>
                  <a:lnTo>
                    <a:pt x="26" y="1000"/>
                  </a:lnTo>
                  <a:lnTo>
                    <a:pt x="21" y="1019"/>
                  </a:lnTo>
                  <a:lnTo>
                    <a:pt x="23" y="1039"/>
                  </a:lnTo>
                  <a:lnTo>
                    <a:pt x="26" y="1047"/>
                  </a:lnTo>
                  <a:lnTo>
                    <a:pt x="30" y="1053"/>
                  </a:lnTo>
                  <a:lnTo>
                    <a:pt x="33" y="1065"/>
                  </a:lnTo>
                  <a:lnTo>
                    <a:pt x="30" y="1091"/>
                  </a:lnTo>
                  <a:lnTo>
                    <a:pt x="35" y="1101"/>
                  </a:lnTo>
                  <a:lnTo>
                    <a:pt x="42" y="1109"/>
                  </a:lnTo>
                  <a:lnTo>
                    <a:pt x="43" y="1120"/>
                  </a:lnTo>
                  <a:lnTo>
                    <a:pt x="47" y="1135"/>
                  </a:lnTo>
                  <a:lnTo>
                    <a:pt x="50" y="1144"/>
                  </a:lnTo>
                  <a:lnTo>
                    <a:pt x="55" y="1150"/>
                  </a:lnTo>
                  <a:lnTo>
                    <a:pt x="57" y="1152"/>
                  </a:lnTo>
                  <a:lnTo>
                    <a:pt x="52" y="1148"/>
                  </a:lnTo>
                  <a:lnTo>
                    <a:pt x="47" y="1148"/>
                  </a:lnTo>
                  <a:lnTo>
                    <a:pt x="43" y="1152"/>
                  </a:lnTo>
                  <a:lnTo>
                    <a:pt x="44" y="1159"/>
                  </a:lnTo>
                  <a:lnTo>
                    <a:pt x="43" y="1165"/>
                  </a:lnTo>
                  <a:lnTo>
                    <a:pt x="44" y="1173"/>
                  </a:lnTo>
                  <a:lnTo>
                    <a:pt x="44" y="1188"/>
                  </a:lnTo>
                  <a:lnTo>
                    <a:pt x="39" y="1202"/>
                  </a:lnTo>
                  <a:lnTo>
                    <a:pt x="36" y="1202"/>
                  </a:lnTo>
                  <a:lnTo>
                    <a:pt x="33" y="1211"/>
                  </a:lnTo>
                  <a:lnTo>
                    <a:pt x="37" y="1218"/>
                  </a:lnTo>
                  <a:lnTo>
                    <a:pt x="37" y="1224"/>
                  </a:lnTo>
                  <a:lnTo>
                    <a:pt x="36" y="1229"/>
                  </a:lnTo>
                  <a:lnTo>
                    <a:pt x="37" y="1234"/>
                  </a:lnTo>
                  <a:lnTo>
                    <a:pt x="44" y="1237"/>
                  </a:lnTo>
                  <a:lnTo>
                    <a:pt x="43" y="1241"/>
                  </a:lnTo>
                  <a:lnTo>
                    <a:pt x="38" y="1242"/>
                  </a:lnTo>
                  <a:lnTo>
                    <a:pt x="39" y="1249"/>
                  </a:lnTo>
                  <a:lnTo>
                    <a:pt x="53" y="1249"/>
                  </a:lnTo>
                  <a:lnTo>
                    <a:pt x="64" y="1257"/>
                  </a:lnTo>
                  <a:lnTo>
                    <a:pt x="69" y="1264"/>
                  </a:lnTo>
                  <a:lnTo>
                    <a:pt x="80" y="1269"/>
                  </a:lnTo>
                  <a:lnTo>
                    <a:pt x="97" y="1274"/>
                  </a:lnTo>
                  <a:lnTo>
                    <a:pt x="100" y="1278"/>
                  </a:lnTo>
                  <a:lnTo>
                    <a:pt x="97" y="1285"/>
                  </a:lnTo>
                  <a:lnTo>
                    <a:pt x="106" y="1291"/>
                  </a:lnTo>
                  <a:lnTo>
                    <a:pt x="121" y="1283"/>
                  </a:lnTo>
                  <a:lnTo>
                    <a:pt x="122" y="1288"/>
                  </a:lnTo>
                  <a:lnTo>
                    <a:pt x="122" y="1300"/>
                  </a:lnTo>
                  <a:lnTo>
                    <a:pt x="130" y="1313"/>
                  </a:lnTo>
                  <a:lnTo>
                    <a:pt x="129" y="1321"/>
                  </a:lnTo>
                  <a:lnTo>
                    <a:pt x="136" y="1324"/>
                  </a:lnTo>
                  <a:lnTo>
                    <a:pt x="134" y="1331"/>
                  </a:lnTo>
                  <a:lnTo>
                    <a:pt x="124" y="1338"/>
                  </a:lnTo>
                  <a:lnTo>
                    <a:pt x="129" y="1339"/>
                  </a:lnTo>
                  <a:lnTo>
                    <a:pt x="139" y="1333"/>
                  </a:lnTo>
                  <a:lnTo>
                    <a:pt x="150" y="1313"/>
                  </a:lnTo>
                  <a:lnTo>
                    <a:pt x="152" y="1316"/>
                  </a:lnTo>
                  <a:lnTo>
                    <a:pt x="152" y="1326"/>
                  </a:lnTo>
                  <a:lnTo>
                    <a:pt x="157" y="1327"/>
                  </a:lnTo>
                  <a:lnTo>
                    <a:pt x="181" y="1315"/>
                  </a:lnTo>
                  <a:lnTo>
                    <a:pt x="189" y="1315"/>
                  </a:lnTo>
                  <a:lnTo>
                    <a:pt x="197" y="1311"/>
                  </a:lnTo>
                  <a:lnTo>
                    <a:pt x="200" y="1316"/>
                  </a:lnTo>
                  <a:lnTo>
                    <a:pt x="203" y="1316"/>
                  </a:lnTo>
                  <a:lnTo>
                    <a:pt x="213" y="1306"/>
                  </a:lnTo>
                  <a:lnTo>
                    <a:pt x="221" y="1300"/>
                  </a:lnTo>
                  <a:lnTo>
                    <a:pt x="229" y="1299"/>
                  </a:lnTo>
                  <a:lnTo>
                    <a:pt x="235" y="1301"/>
                  </a:lnTo>
                  <a:lnTo>
                    <a:pt x="251" y="1291"/>
                  </a:lnTo>
                  <a:lnTo>
                    <a:pt x="261" y="1290"/>
                  </a:lnTo>
                  <a:lnTo>
                    <a:pt x="268" y="1276"/>
                  </a:lnTo>
                  <a:lnTo>
                    <a:pt x="273" y="1286"/>
                  </a:lnTo>
                  <a:lnTo>
                    <a:pt x="291" y="1279"/>
                  </a:lnTo>
                  <a:lnTo>
                    <a:pt x="289" y="1269"/>
                  </a:lnTo>
                  <a:lnTo>
                    <a:pt x="290" y="1272"/>
                  </a:lnTo>
                  <a:lnTo>
                    <a:pt x="299" y="1275"/>
                  </a:lnTo>
                  <a:lnTo>
                    <a:pt x="305" y="1275"/>
                  </a:lnTo>
                  <a:lnTo>
                    <a:pt x="311" y="1269"/>
                  </a:lnTo>
                  <a:lnTo>
                    <a:pt x="329" y="1268"/>
                  </a:lnTo>
                  <a:lnTo>
                    <a:pt x="342" y="1263"/>
                  </a:lnTo>
                  <a:lnTo>
                    <a:pt x="351" y="1258"/>
                  </a:lnTo>
                  <a:lnTo>
                    <a:pt x="359" y="1263"/>
                  </a:lnTo>
                  <a:lnTo>
                    <a:pt x="377" y="1265"/>
                  </a:lnTo>
                  <a:lnTo>
                    <a:pt x="382" y="1262"/>
                  </a:lnTo>
                  <a:lnTo>
                    <a:pt x="386" y="1257"/>
                  </a:lnTo>
                  <a:lnTo>
                    <a:pt x="387" y="1258"/>
                  </a:lnTo>
                  <a:lnTo>
                    <a:pt x="423" y="1231"/>
                  </a:lnTo>
                  <a:lnTo>
                    <a:pt x="473" y="1182"/>
                  </a:lnTo>
                  <a:lnTo>
                    <a:pt x="511" y="1139"/>
                  </a:lnTo>
                  <a:lnTo>
                    <a:pt x="563" y="1070"/>
                  </a:lnTo>
                  <a:lnTo>
                    <a:pt x="576" y="1050"/>
                  </a:lnTo>
                  <a:lnTo>
                    <a:pt x="592" y="1012"/>
                  </a:lnTo>
                  <a:lnTo>
                    <a:pt x="593" y="973"/>
                  </a:lnTo>
                  <a:lnTo>
                    <a:pt x="589" y="979"/>
                  </a:lnTo>
                  <a:lnTo>
                    <a:pt x="579" y="962"/>
                  </a:lnTo>
                  <a:lnTo>
                    <a:pt x="574" y="945"/>
                  </a:lnTo>
                  <a:lnTo>
                    <a:pt x="544" y="922"/>
                  </a:lnTo>
                  <a:lnTo>
                    <a:pt x="536" y="909"/>
                  </a:lnTo>
                  <a:lnTo>
                    <a:pt x="530" y="891"/>
                  </a:lnTo>
                  <a:lnTo>
                    <a:pt x="534" y="875"/>
                  </a:lnTo>
                  <a:lnTo>
                    <a:pt x="544" y="860"/>
                  </a:lnTo>
                  <a:lnTo>
                    <a:pt x="550" y="842"/>
                  </a:lnTo>
                  <a:lnTo>
                    <a:pt x="549" y="822"/>
                  </a:lnTo>
                  <a:lnTo>
                    <a:pt x="533" y="807"/>
                  </a:lnTo>
                  <a:lnTo>
                    <a:pt x="526" y="791"/>
                  </a:lnTo>
                  <a:lnTo>
                    <a:pt x="528" y="770"/>
                  </a:lnTo>
                  <a:lnTo>
                    <a:pt x="520" y="753"/>
                  </a:lnTo>
                  <a:lnTo>
                    <a:pt x="504" y="750"/>
                  </a:lnTo>
                  <a:lnTo>
                    <a:pt x="503" y="729"/>
                  </a:lnTo>
                  <a:lnTo>
                    <a:pt x="509" y="718"/>
                  </a:lnTo>
                  <a:lnTo>
                    <a:pt x="507" y="699"/>
                  </a:lnTo>
                  <a:lnTo>
                    <a:pt x="504" y="689"/>
                  </a:lnTo>
                  <a:lnTo>
                    <a:pt x="509" y="673"/>
                  </a:lnTo>
                  <a:lnTo>
                    <a:pt x="511" y="651"/>
                  </a:lnTo>
                  <a:lnTo>
                    <a:pt x="525" y="639"/>
                  </a:lnTo>
                  <a:lnTo>
                    <a:pt x="523" y="624"/>
                  </a:lnTo>
                  <a:lnTo>
                    <a:pt x="521" y="607"/>
                  </a:lnTo>
                  <a:lnTo>
                    <a:pt x="510" y="573"/>
                  </a:lnTo>
                  <a:lnTo>
                    <a:pt x="495" y="546"/>
                  </a:lnTo>
                  <a:lnTo>
                    <a:pt x="493" y="527"/>
                  </a:lnTo>
                  <a:lnTo>
                    <a:pt x="485" y="510"/>
                  </a:lnTo>
                  <a:lnTo>
                    <a:pt x="476" y="490"/>
                  </a:lnTo>
                  <a:lnTo>
                    <a:pt x="474" y="469"/>
                  </a:lnTo>
                  <a:lnTo>
                    <a:pt x="480" y="456"/>
                  </a:lnTo>
                  <a:lnTo>
                    <a:pt x="499" y="413"/>
                  </a:lnTo>
                  <a:lnTo>
                    <a:pt x="517" y="376"/>
                  </a:lnTo>
                  <a:lnTo>
                    <a:pt x="514" y="354"/>
                  </a:lnTo>
                  <a:lnTo>
                    <a:pt x="504" y="339"/>
                  </a:lnTo>
                  <a:lnTo>
                    <a:pt x="484" y="301"/>
                  </a:lnTo>
                  <a:lnTo>
                    <a:pt x="469" y="294"/>
                  </a:lnTo>
                  <a:lnTo>
                    <a:pt x="456" y="291"/>
                  </a:lnTo>
                  <a:lnTo>
                    <a:pt x="446" y="285"/>
                  </a:lnTo>
                  <a:lnTo>
                    <a:pt x="441" y="278"/>
                  </a:lnTo>
                  <a:lnTo>
                    <a:pt x="436" y="258"/>
                  </a:lnTo>
                  <a:lnTo>
                    <a:pt x="434" y="232"/>
                  </a:lnTo>
                  <a:lnTo>
                    <a:pt x="435" y="223"/>
                  </a:lnTo>
                  <a:lnTo>
                    <a:pt x="446" y="194"/>
                  </a:lnTo>
                  <a:lnTo>
                    <a:pt x="446" y="189"/>
                  </a:lnTo>
                  <a:lnTo>
                    <a:pt x="436" y="185"/>
                  </a:lnTo>
                  <a:lnTo>
                    <a:pt x="467" y="158"/>
                  </a:lnTo>
                  <a:lnTo>
                    <a:pt x="457" y="150"/>
                  </a:lnTo>
                  <a:lnTo>
                    <a:pt x="456" y="139"/>
                  </a:lnTo>
                  <a:lnTo>
                    <a:pt x="460" y="126"/>
                  </a:lnTo>
                  <a:lnTo>
                    <a:pt x="479" y="102"/>
                  </a:lnTo>
                  <a:lnTo>
                    <a:pt x="478" y="86"/>
                  </a:lnTo>
                  <a:lnTo>
                    <a:pt x="471" y="58"/>
                  </a:lnTo>
                  <a:lnTo>
                    <a:pt x="453" y="41"/>
                  </a:lnTo>
                  <a:lnTo>
                    <a:pt x="435" y="35"/>
                  </a:lnTo>
                  <a:lnTo>
                    <a:pt x="425" y="26"/>
                  </a:lnTo>
                  <a:lnTo>
                    <a:pt x="415" y="5"/>
                  </a:lnTo>
                  <a:lnTo>
                    <a:pt x="409" y="0"/>
                  </a:lnTo>
                  <a:lnTo>
                    <a:pt x="386" y="5"/>
                  </a:lnTo>
                  <a:lnTo>
                    <a:pt x="348" y="22"/>
                  </a:lnTo>
                  <a:lnTo>
                    <a:pt x="323" y="25"/>
                  </a:lnTo>
                  <a:lnTo>
                    <a:pt x="310" y="32"/>
                  </a:lnTo>
                  <a:lnTo>
                    <a:pt x="300" y="45"/>
                  </a:lnTo>
                  <a:lnTo>
                    <a:pt x="286" y="76"/>
                  </a:lnTo>
                  <a:lnTo>
                    <a:pt x="283" y="118"/>
                  </a:lnTo>
                  <a:lnTo>
                    <a:pt x="283" y="132"/>
                  </a:lnTo>
                  <a:lnTo>
                    <a:pt x="285" y="155"/>
                  </a:lnTo>
                  <a:lnTo>
                    <a:pt x="283" y="167"/>
                  </a:lnTo>
                  <a:lnTo>
                    <a:pt x="257" y="187"/>
                  </a:lnTo>
                  <a:lnTo>
                    <a:pt x="248" y="201"/>
                  </a:lnTo>
                  <a:lnTo>
                    <a:pt x="236" y="210"/>
                  </a:lnTo>
                  <a:lnTo>
                    <a:pt x="220" y="218"/>
                  </a:lnTo>
                  <a:lnTo>
                    <a:pt x="210" y="214"/>
                  </a:lnTo>
                  <a:lnTo>
                    <a:pt x="207" y="205"/>
                  </a:lnTo>
                  <a:lnTo>
                    <a:pt x="198" y="193"/>
                  </a:lnTo>
                  <a:lnTo>
                    <a:pt x="188" y="186"/>
                  </a:lnTo>
                  <a:lnTo>
                    <a:pt x="171" y="205"/>
                  </a:lnTo>
                  <a:lnTo>
                    <a:pt x="156" y="214"/>
                  </a:lnTo>
                  <a:lnTo>
                    <a:pt x="144" y="215"/>
                  </a:lnTo>
                  <a:lnTo>
                    <a:pt x="129" y="208"/>
                  </a:lnTo>
                  <a:lnTo>
                    <a:pt x="103" y="204"/>
                  </a:lnTo>
                  <a:lnTo>
                    <a:pt x="98" y="196"/>
                  </a:lnTo>
                  <a:lnTo>
                    <a:pt x="93" y="177"/>
                  </a:lnTo>
                  <a:lnTo>
                    <a:pt x="63" y="133"/>
                  </a:lnTo>
                  <a:lnTo>
                    <a:pt x="52" y="122"/>
                  </a:lnTo>
                  <a:lnTo>
                    <a:pt x="37" y="116"/>
                  </a:lnTo>
                  <a:lnTo>
                    <a:pt x="25" y="122"/>
                  </a:lnTo>
                  <a:lnTo>
                    <a:pt x="26" y="134"/>
                  </a:lnTo>
                  <a:lnTo>
                    <a:pt x="28" y="146"/>
                  </a:lnTo>
                  <a:lnTo>
                    <a:pt x="20" y="150"/>
                  </a:lnTo>
                  <a:lnTo>
                    <a:pt x="11" y="145"/>
                  </a:lnTo>
                  <a:lnTo>
                    <a:pt x="3" y="149"/>
                  </a:lnTo>
                  <a:lnTo>
                    <a:pt x="0" y="156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65" name="Freeform 221">
              <a:extLst>
                <a:ext uri="{FF2B5EF4-FFF2-40B4-BE49-F238E27FC236}">
                  <a16:creationId xmlns:a16="http://schemas.microsoft.com/office/drawing/2014/main" id="{AB25EA11-CCCF-40A8-FB27-13B95E67CB9A}"/>
                </a:ext>
              </a:extLst>
            </p:cNvPr>
            <p:cNvSpPr>
              <a:spLocks/>
            </p:cNvSpPr>
            <p:nvPr/>
          </p:nvSpPr>
          <p:spPr bwMode="gray">
            <a:xfrm>
              <a:off x="4513609" y="1661990"/>
              <a:ext cx="53995" cy="99204"/>
            </a:xfrm>
            <a:custGeom>
              <a:avLst/>
              <a:gdLst>
                <a:gd name="T0" fmla="*/ 4035 w 154"/>
                <a:gd name="T1" fmla="*/ 23108 h 284"/>
                <a:gd name="T2" fmla="*/ 6725 w 154"/>
                <a:gd name="T3" fmla="*/ 23108 h 284"/>
                <a:gd name="T4" fmla="*/ 7173 w 154"/>
                <a:gd name="T5" fmla="*/ 22695 h 284"/>
                <a:gd name="T6" fmla="*/ 7622 w 154"/>
                <a:gd name="T7" fmla="*/ 23108 h 284"/>
                <a:gd name="T8" fmla="*/ 8070 w 154"/>
                <a:gd name="T9" fmla="*/ 22695 h 284"/>
                <a:gd name="T10" fmla="*/ 7622 w 154"/>
                <a:gd name="T11" fmla="*/ 21870 h 284"/>
                <a:gd name="T12" fmla="*/ 6725 w 154"/>
                <a:gd name="T13" fmla="*/ 21870 h 284"/>
                <a:gd name="T14" fmla="*/ 7622 w 154"/>
                <a:gd name="T15" fmla="*/ 20632 h 284"/>
                <a:gd name="T16" fmla="*/ 7622 w 154"/>
                <a:gd name="T17" fmla="*/ 20220 h 284"/>
                <a:gd name="T18" fmla="*/ 7622 w 154"/>
                <a:gd name="T19" fmla="*/ 18569 h 284"/>
                <a:gd name="T20" fmla="*/ 8070 w 154"/>
                <a:gd name="T21" fmla="*/ 17331 h 284"/>
                <a:gd name="T22" fmla="*/ 7622 w 154"/>
                <a:gd name="T23" fmla="*/ 16506 h 284"/>
                <a:gd name="T24" fmla="*/ 9415 w 154"/>
                <a:gd name="T25" fmla="*/ 16506 h 284"/>
                <a:gd name="T26" fmla="*/ 8967 w 154"/>
                <a:gd name="T27" fmla="*/ 15268 h 284"/>
                <a:gd name="T28" fmla="*/ 10312 w 154"/>
                <a:gd name="T29" fmla="*/ 15268 h 284"/>
                <a:gd name="T30" fmla="*/ 10760 w 154"/>
                <a:gd name="T31" fmla="*/ 13617 h 284"/>
                <a:gd name="T32" fmla="*/ 11657 w 154"/>
                <a:gd name="T33" fmla="*/ 12379 h 284"/>
                <a:gd name="T34" fmla="*/ 11657 w 154"/>
                <a:gd name="T35" fmla="*/ 13205 h 284"/>
                <a:gd name="T36" fmla="*/ 12553 w 154"/>
                <a:gd name="T37" fmla="*/ 12792 h 284"/>
                <a:gd name="T38" fmla="*/ 13898 w 154"/>
                <a:gd name="T39" fmla="*/ 11141 h 284"/>
                <a:gd name="T40" fmla="*/ 13002 w 154"/>
                <a:gd name="T41" fmla="*/ 10316 h 284"/>
                <a:gd name="T42" fmla="*/ 11657 w 154"/>
                <a:gd name="T43" fmla="*/ 10316 h 284"/>
                <a:gd name="T44" fmla="*/ 10760 w 154"/>
                <a:gd name="T45" fmla="*/ 9903 h 284"/>
                <a:gd name="T46" fmla="*/ 10312 w 154"/>
                <a:gd name="T47" fmla="*/ 10316 h 284"/>
                <a:gd name="T48" fmla="*/ 10760 w 154"/>
                <a:gd name="T49" fmla="*/ 9078 h 284"/>
                <a:gd name="T50" fmla="*/ 9863 w 154"/>
                <a:gd name="T51" fmla="*/ 9078 h 284"/>
                <a:gd name="T52" fmla="*/ 10760 w 154"/>
                <a:gd name="T53" fmla="*/ 8253 h 284"/>
                <a:gd name="T54" fmla="*/ 10760 w 154"/>
                <a:gd name="T55" fmla="*/ 7428 h 284"/>
                <a:gd name="T56" fmla="*/ 11208 w 154"/>
                <a:gd name="T57" fmla="*/ 5364 h 284"/>
                <a:gd name="T58" fmla="*/ 12105 w 154"/>
                <a:gd name="T59" fmla="*/ 3301 h 284"/>
                <a:gd name="T60" fmla="*/ 11657 w 154"/>
                <a:gd name="T61" fmla="*/ 825 h 284"/>
                <a:gd name="T62" fmla="*/ 11657 w 154"/>
                <a:gd name="T63" fmla="*/ 0 h 284"/>
                <a:gd name="T64" fmla="*/ 8967 w 154"/>
                <a:gd name="T65" fmla="*/ 1238 h 284"/>
                <a:gd name="T66" fmla="*/ 7622 w 154"/>
                <a:gd name="T67" fmla="*/ 3714 h 284"/>
                <a:gd name="T68" fmla="*/ 2690 w 154"/>
                <a:gd name="T69" fmla="*/ 5364 h 284"/>
                <a:gd name="T70" fmla="*/ 1345 w 154"/>
                <a:gd name="T71" fmla="*/ 6602 h 284"/>
                <a:gd name="T72" fmla="*/ 448 w 154"/>
                <a:gd name="T73" fmla="*/ 9903 h 284"/>
                <a:gd name="T74" fmla="*/ 0 w 154"/>
                <a:gd name="T75" fmla="*/ 11967 h 284"/>
                <a:gd name="T76" fmla="*/ 448 w 154"/>
                <a:gd name="T77" fmla="*/ 15268 h 284"/>
                <a:gd name="T78" fmla="*/ 448 w 154"/>
                <a:gd name="T79" fmla="*/ 17744 h 284"/>
                <a:gd name="T80" fmla="*/ 897 w 154"/>
                <a:gd name="T81" fmla="*/ 17744 h 284"/>
                <a:gd name="T82" fmla="*/ 2690 w 154"/>
                <a:gd name="T83" fmla="*/ 18569 h 284"/>
                <a:gd name="T84" fmla="*/ 3138 w 154"/>
                <a:gd name="T85" fmla="*/ 22283 h 28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54"/>
                <a:gd name="T130" fmla="*/ 0 h 284"/>
                <a:gd name="T131" fmla="*/ 154 w 154"/>
                <a:gd name="T132" fmla="*/ 284 h 284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54" h="284">
                  <a:moveTo>
                    <a:pt x="35" y="279"/>
                  </a:moveTo>
                  <a:lnTo>
                    <a:pt x="43" y="278"/>
                  </a:lnTo>
                  <a:lnTo>
                    <a:pt x="67" y="284"/>
                  </a:lnTo>
                  <a:lnTo>
                    <a:pt x="75" y="280"/>
                  </a:lnTo>
                  <a:lnTo>
                    <a:pt x="79" y="279"/>
                  </a:lnTo>
                  <a:lnTo>
                    <a:pt x="80" y="276"/>
                  </a:lnTo>
                  <a:lnTo>
                    <a:pt x="83" y="276"/>
                  </a:lnTo>
                  <a:lnTo>
                    <a:pt x="84" y="279"/>
                  </a:lnTo>
                  <a:lnTo>
                    <a:pt x="89" y="279"/>
                  </a:lnTo>
                  <a:lnTo>
                    <a:pt x="89" y="275"/>
                  </a:lnTo>
                  <a:lnTo>
                    <a:pt x="86" y="270"/>
                  </a:lnTo>
                  <a:lnTo>
                    <a:pt x="83" y="266"/>
                  </a:lnTo>
                  <a:lnTo>
                    <a:pt x="75" y="266"/>
                  </a:lnTo>
                  <a:lnTo>
                    <a:pt x="75" y="262"/>
                  </a:lnTo>
                  <a:lnTo>
                    <a:pt x="75" y="253"/>
                  </a:lnTo>
                  <a:lnTo>
                    <a:pt x="85" y="247"/>
                  </a:lnTo>
                  <a:lnTo>
                    <a:pt x="85" y="243"/>
                  </a:lnTo>
                  <a:lnTo>
                    <a:pt x="83" y="243"/>
                  </a:lnTo>
                  <a:lnTo>
                    <a:pt x="81" y="235"/>
                  </a:lnTo>
                  <a:lnTo>
                    <a:pt x="84" y="223"/>
                  </a:lnTo>
                  <a:lnTo>
                    <a:pt x="81" y="220"/>
                  </a:lnTo>
                  <a:lnTo>
                    <a:pt x="91" y="210"/>
                  </a:lnTo>
                  <a:lnTo>
                    <a:pt x="90" y="206"/>
                  </a:lnTo>
                  <a:lnTo>
                    <a:pt x="84" y="200"/>
                  </a:lnTo>
                  <a:lnTo>
                    <a:pt x="90" y="198"/>
                  </a:lnTo>
                  <a:lnTo>
                    <a:pt x="102" y="199"/>
                  </a:lnTo>
                  <a:lnTo>
                    <a:pt x="103" y="193"/>
                  </a:lnTo>
                  <a:lnTo>
                    <a:pt x="98" y="185"/>
                  </a:lnTo>
                  <a:lnTo>
                    <a:pt x="102" y="180"/>
                  </a:lnTo>
                  <a:lnTo>
                    <a:pt x="116" y="182"/>
                  </a:lnTo>
                  <a:lnTo>
                    <a:pt x="121" y="176"/>
                  </a:lnTo>
                  <a:lnTo>
                    <a:pt x="118" y="163"/>
                  </a:lnTo>
                  <a:lnTo>
                    <a:pt x="122" y="151"/>
                  </a:lnTo>
                  <a:lnTo>
                    <a:pt x="127" y="149"/>
                  </a:lnTo>
                  <a:lnTo>
                    <a:pt x="127" y="153"/>
                  </a:lnTo>
                  <a:lnTo>
                    <a:pt x="130" y="161"/>
                  </a:lnTo>
                  <a:lnTo>
                    <a:pt x="137" y="152"/>
                  </a:lnTo>
                  <a:lnTo>
                    <a:pt x="138" y="156"/>
                  </a:lnTo>
                  <a:lnTo>
                    <a:pt x="153" y="144"/>
                  </a:lnTo>
                  <a:lnTo>
                    <a:pt x="154" y="133"/>
                  </a:lnTo>
                  <a:lnTo>
                    <a:pt x="151" y="125"/>
                  </a:lnTo>
                  <a:lnTo>
                    <a:pt x="146" y="123"/>
                  </a:lnTo>
                  <a:lnTo>
                    <a:pt x="137" y="124"/>
                  </a:lnTo>
                  <a:lnTo>
                    <a:pt x="129" y="126"/>
                  </a:lnTo>
                  <a:lnTo>
                    <a:pt x="126" y="120"/>
                  </a:lnTo>
                  <a:lnTo>
                    <a:pt x="119" y="120"/>
                  </a:lnTo>
                  <a:lnTo>
                    <a:pt x="114" y="128"/>
                  </a:lnTo>
                  <a:lnTo>
                    <a:pt x="112" y="123"/>
                  </a:lnTo>
                  <a:lnTo>
                    <a:pt x="113" y="117"/>
                  </a:lnTo>
                  <a:lnTo>
                    <a:pt x="119" y="109"/>
                  </a:lnTo>
                  <a:lnTo>
                    <a:pt x="118" y="107"/>
                  </a:lnTo>
                  <a:lnTo>
                    <a:pt x="108" y="109"/>
                  </a:lnTo>
                  <a:lnTo>
                    <a:pt x="108" y="106"/>
                  </a:lnTo>
                  <a:lnTo>
                    <a:pt x="117" y="102"/>
                  </a:lnTo>
                  <a:lnTo>
                    <a:pt x="117" y="93"/>
                  </a:lnTo>
                  <a:lnTo>
                    <a:pt x="118" y="92"/>
                  </a:lnTo>
                  <a:lnTo>
                    <a:pt x="118" y="80"/>
                  </a:lnTo>
                  <a:lnTo>
                    <a:pt x="122" y="66"/>
                  </a:lnTo>
                  <a:lnTo>
                    <a:pt x="132" y="48"/>
                  </a:lnTo>
                  <a:lnTo>
                    <a:pt x="132" y="39"/>
                  </a:lnTo>
                  <a:lnTo>
                    <a:pt x="126" y="20"/>
                  </a:lnTo>
                  <a:lnTo>
                    <a:pt x="128" y="10"/>
                  </a:lnTo>
                  <a:lnTo>
                    <a:pt x="130" y="2"/>
                  </a:lnTo>
                  <a:lnTo>
                    <a:pt x="129" y="0"/>
                  </a:lnTo>
                  <a:lnTo>
                    <a:pt x="123" y="6"/>
                  </a:lnTo>
                  <a:lnTo>
                    <a:pt x="101" y="17"/>
                  </a:lnTo>
                  <a:lnTo>
                    <a:pt x="85" y="34"/>
                  </a:lnTo>
                  <a:lnTo>
                    <a:pt x="83" y="45"/>
                  </a:lnTo>
                  <a:lnTo>
                    <a:pt x="71" y="54"/>
                  </a:lnTo>
                  <a:lnTo>
                    <a:pt x="28" y="63"/>
                  </a:lnTo>
                  <a:lnTo>
                    <a:pt x="20" y="71"/>
                  </a:lnTo>
                  <a:lnTo>
                    <a:pt x="15" y="82"/>
                  </a:lnTo>
                  <a:lnTo>
                    <a:pt x="8" y="107"/>
                  </a:lnTo>
                  <a:lnTo>
                    <a:pt x="6" y="119"/>
                  </a:lnTo>
                  <a:lnTo>
                    <a:pt x="0" y="134"/>
                  </a:lnTo>
                  <a:lnTo>
                    <a:pt x="0" y="146"/>
                  </a:lnTo>
                  <a:lnTo>
                    <a:pt x="3" y="174"/>
                  </a:lnTo>
                  <a:lnTo>
                    <a:pt x="6" y="185"/>
                  </a:lnTo>
                  <a:lnTo>
                    <a:pt x="6" y="199"/>
                  </a:lnTo>
                  <a:lnTo>
                    <a:pt x="4" y="216"/>
                  </a:lnTo>
                  <a:lnTo>
                    <a:pt x="9" y="216"/>
                  </a:lnTo>
                  <a:lnTo>
                    <a:pt x="12" y="214"/>
                  </a:lnTo>
                  <a:lnTo>
                    <a:pt x="21" y="219"/>
                  </a:lnTo>
                  <a:lnTo>
                    <a:pt x="28" y="226"/>
                  </a:lnTo>
                  <a:lnTo>
                    <a:pt x="33" y="236"/>
                  </a:lnTo>
                  <a:lnTo>
                    <a:pt x="33" y="269"/>
                  </a:lnTo>
                  <a:lnTo>
                    <a:pt x="35" y="279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66" name="Freeform 222">
              <a:extLst>
                <a:ext uri="{FF2B5EF4-FFF2-40B4-BE49-F238E27FC236}">
                  <a16:creationId xmlns:a16="http://schemas.microsoft.com/office/drawing/2014/main" id="{5BF2C087-FB0D-AD8A-6DAE-D9DFB93B26A5}"/>
                </a:ext>
              </a:extLst>
            </p:cNvPr>
            <p:cNvSpPr>
              <a:spLocks/>
            </p:cNvSpPr>
            <p:nvPr/>
          </p:nvSpPr>
          <p:spPr bwMode="gray">
            <a:xfrm>
              <a:off x="4454591" y="1053177"/>
              <a:ext cx="502280" cy="597941"/>
            </a:xfrm>
            <a:custGeom>
              <a:avLst/>
              <a:gdLst>
                <a:gd name="T0" fmla="*/ 120544 w 1427"/>
                <a:gd name="T1" fmla="*/ 17671 h 1701"/>
                <a:gd name="T2" fmla="*/ 117431 w 1427"/>
                <a:gd name="T3" fmla="*/ 12740 h 1701"/>
                <a:gd name="T4" fmla="*/ 120544 w 1427"/>
                <a:gd name="T5" fmla="*/ 6164 h 1701"/>
                <a:gd name="T6" fmla="*/ 114762 w 1427"/>
                <a:gd name="T7" fmla="*/ 5753 h 1701"/>
                <a:gd name="T8" fmla="*/ 112093 w 1427"/>
                <a:gd name="T9" fmla="*/ 3699 h 1701"/>
                <a:gd name="T10" fmla="*/ 108090 w 1427"/>
                <a:gd name="T11" fmla="*/ 5342 h 1701"/>
                <a:gd name="T12" fmla="*/ 104531 w 1427"/>
                <a:gd name="T13" fmla="*/ 2466 h 1701"/>
                <a:gd name="T14" fmla="*/ 98304 w 1427"/>
                <a:gd name="T15" fmla="*/ 9041 h 1701"/>
                <a:gd name="T16" fmla="*/ 95190 w 1427"/>
                <a:gd name="T17" fmla="*/ 2055 h 1701"/>
                <a:gd name="T18" fmla="*/ 88963 w 1427"/>
                <a:gd name="T19" fmla="*/ 13151 h 1701"/>
                <a:gd name="T20" fmla="*/ 84070 w 1427"/>
                <a:gd name="T21" fmla="*/ 12329 h 1701"/>
                <a:gd name="T22" fmla="*/ 82735 w 1427"/>
                <a:gd name="T23" fmla="*/ 14794 h 1701"/>
                <a:gd name="T24" fmla="*/ 77842 w 1427"/>
                <a:gd name="T25" fmla="*/ 16438 h 1701"/>
                <a:gd name="T26" fmla="*/ 74729 w 1427"/>
                <a:gd name="T27" fmla="*/ 17260 h 1701"/>
                <a:gd name="T28" fmla="*/ 70725 w 1427"/>
                <a:gd name="T29" fmla="*/ 23835 h 1701"/>
                <a:gd name="T30" fmla="*/ 64498 w 1427"/>
                <a:gd name="T31" fmla="*/ 23424 h 1701"/>
                <a:gd name="T32" fmla="*/ 62719 w 1427"/>
                <a:gd name="T33" fmla="*/ 29178 h 1701"/>
                <a:gd name="T34" fmla="*/ 56046 w 1427"/>
                <a:gd name="T35" fmla="*/ 33287 h 1701"/>
                <a:gd name="T36" fmla="*/ 56046 w 1427"/>
                <a:gd name="T37" fmla="*/ 34520 h 1701"/>
                <a:gd name="T38" fmla="*/ 52043 w 1427"/>
                <a:gd name="T39" fmla="*/ 38630 h 1701"/>
                <a:gd name="T40" fmla="*/ 49819 w 1427"/>
                <a:gd name="T41" fmla="*/ 44383 h 1701"/>
                <a:gd name="T42" fmla="*/ 46261 w 1427"/>
                <a:gd name="T43" fmla="*/ 48493 h 1701"/>
                <a:gd name="T44" fmla="*/ 40923 w 1427"/>
                <a:gd name="T45" fmla="*/ 55479 h 1701"/>
                <a:gd name="T46" fmla="*/ 38699 w 1427"/>
                <a:gd name="T47" fmla="*/ 60411 h 1701"/>
                <a:gd name="T48" fmla="*/ 37364 w 1427"/>
                <a:gd name="T49" fmla="*/ 65342 h 1701"/>
                <a:gd name="T50" fmla="*/ 34251 w 1427"/>
                <a:gd name="T51" fmla="*/ 70273 h 1701"/>
                <a:gd name="T52" fmla="*/ 32027 w 1427"/>
                <a:gd name="T53" fmla="*/ 73972 h 1701"/>
                <a:gd name="T54" fmla="*/ 27134 w 1427"/>
                <a:gd name="T55" fmla="*/ 79725 h 1701"/>
                <a:gd name="T56" fmla="*/ 28468 w 1427"/>
                <a:gd name="T57" fmla="*/ 86301 h 1701"/>
                <a:gd name="T58" fmla="*/ 25354 w 1427"/>
                <a:gd name="T59" fmla="*/ 89999 h 1701"/>
                <a:gd name="T60" fmla="*/ 20461 w 1427"/>
                <a:gd name="T61" fmla="*/ 89999 h 1701"/>
                <a:gd name="T62" fmla="*/ 14679 w 1427"/>
                <a:gd name="T63" fmla="*/ 92054 h 1701"/>
                <a:gd name="T64" fmla="*/ 12010 w 1427"/>
                <a:gd name="T65" fmla="*/ 96986 h 1701"/>
                <a:gd name="T66" fmla="*/ 6672 w 1427"/>
                <a:gd name="T67" fmla="*/ 99862 h 1701"/>
                <a:gd name="T68" fmla="*/ 4893 w 1427"/>
                <a:gd name="T69" fmla="*/ 102739 h 1701"/>
                <a:gd name="T70" fmla="*/ 4893 w 1427"/>
                <a:gd name="T71" fmla="*/ 105205 h 1701"/>
                <a:gd name="T72" fmla="*/ 1334 w 1427"/>
                <a:gd name="T73" fmla="*/ 107670 h 1701"/>
                <a:gd name="T74" fmla="*/ 6672 w 1427"/>
                <a:gd name="T75" fmla="*/ 110958 h 1701"/>
                <a:gd name="T76" fmla="*/ 11120 w 1427"/>
                <a:gd name="T77" fmla="*/ 111369 h 1701"/>
                <a:gd name="T78" fmla="*/ 4893 w 1427"/>
                <a:gd name="T79" fmla="*/ 112602 h 1701"/>
                <a:gd name="T80" fmla="*/ 0 w 1427"/>
                <a:gd name="T81" fmla="*/ 115479 h 1701"/>
                <a:gd name="T82" fmla="*/ 2669 w 1427"/>
                <a:gd name="T83" fmla="*/ 119999 h 1701"/>
                <a:gd name="T84" fmla="*/ 8007 w 1427"/>
                <a:gd name="T85" fmla="*/ 117122 h 1701"/>
                <a:gd name="T86" fmla="*/ 3559 w 1427"/>
                <a:gd name="T87" fmla="*/ 123698 h 1701"/>
                <a:gd name="T88" fmla="*/ 1334 w 1427"/>
                <a:gd name="T89" fmla="*/ 128218 h 1701"/>
                <a:gd name="T90" fmla="*/ 5783 w 1427"/>
                <a:gd name="T91" fmla="*/ 129040 h 1701"/>
                <a:gd name="T92" fmla="*/ 7562 w 1427"/>
                <a:gd name="T93" fmla="*/ 137670 h 1701"/>
                <a:gd name="T94" fmla="*/ 16903 w 1427"/>
                <a:gd name="T95" fmla="*/ 137259 h 1701"/>
                <a:gd name="T96" fmla="*/ 26244 w 1427"/>
                <a:gd name="T97" fmla="*/ 127807 h 1701"/>
                <a:gd name="T98" fmla="*/ 26689 w 1427"/>
                <a:gd name="T99" fmla="*/ 123698 h 1701"/>
                <a:gd name="T100" fmla="*/ 30247 w 1427"/>
                <a:gd name="T101" fmla="*/ 132739 h 1701"/>
                <a:gd name="T102" fmla="*/ 35585 w 1427"/>
                <a:gd name="T103" fmla="*/ 114657 h 1701"/>
                <a:gd name="T104" fmla="*/ 34251 w 1427"/>
                <a:gd name="T105" fmla="*/ 97397 h 1701"/>
                <a:gd name="T106" fmla="*/ 43147 w 1427"/>
                <a:gd name="T107" fmla="*/ 83835 h 1701"/>
                <a:gd name="T108" fmla="*/ 48040 w 1427"/>
                <a:gd name="T109" fmla="*/ 61643 h 1701"/>
                <a:gd name="T110" fmla="*/ 56046 w 1427"/>
                <a:gd name="T111" fmla="*/ 43561 h 1701"/>
                <a:gd name="T112" fmla="*/ 64943 w 1427"/>
                <a:gd name="T113" fmla="*/ 33287 h 1701"/>
                <a:gd name="T114" fmla="*/ 73394 w 1427"/>
                <a:gd name="T115" fmla="*/ 26712 h 1701"/>
                <a:gd name="T116" fmla="*/ 84959 w 1427"/>
                <a:gd name="T117" fmla="*/ 30411 h 1701"/>
                <a:gd name="T118" fmla="*/ 100973 w 1427"/>
                <a:gd name="T119" fmla="*/ 26301 h 1701"/>
                <a:gd name="T120" fmla="*/ 117875 w 1427"/>
                <a:gd name="T121" fmla="*/ 18493 h 1701"/>
                <a:gd name="T122" fmla="*/ 122768 w 1427"/>
                <a:gd name="T123" fmla="*/ 19726 h 1701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27"/>
                <a:gd name="T187" fmla="*/ 0 h 1701"/>
                <a:gd name="T188" fmla="*/ 1427 w 1427"/>
                <a:gd name="T189" fmla="*/ 1701 h 1701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27" h="1701">
                  <a:moveTo>
                    <a:pt x="1419" y="216"/>
                  </a:moveTo>
                  <a:lnTo>
                    <a:pt x="1397" y="212"/>
                  </a:lnTo>
                  <a:lnTo>
                    <a:pt x="1395" y="232"/>
                  </a:lnTo>
                  <a:lnTo>
                    <a:pt x="1388" y="232"/>
                  </a:lnTo>
                  <a:lnTo>
                    <a:pt x="1390" y="229"/>
                  </a:lnTo>
                  <a:lnTo>
                    <a:pt x="1380" y="225"/>
                  </a:lnTo>
                  <a:lnTo>
                    <a:pt x="1376" y="219"/>
                  </a:lnTo>
                  <a:lnTo>
                    <a:pt x="1376" y="231"/>
                  </a:lnTo>
                  <a:lnTo>
                    <a:pt x="1375" y="234"/>
                  </a:lnTo>
                  <a:lnTo>
                    <a:pt x="1370" y="224"/>
                  </a:lnTo>
                  <a:lnTo>
                    <a:pt x="1357" y="226"/>
                  </a:lnTo>
                  <a:lnTo>
                    <a:pt x="1347" y="232"/>
                  </a:lnTo>
                  <a:lnTo>
                    <a:pt x="1350" y="220"/>
                  </a:lnTo>
                  <a:lnTo>
                    <a:pt x="1358" y="214"/>
                  </a:lnTo>
                  <a:lnTo>
                    <a:pt x="1365" y="212"/>
                  </a:lnTo>
                  <a:lnTo>
                    <a:pt x="1368" y="205"/>
                  </a:lnTo>
                  <a:lnTo>
                    <a:pt x="1366" y="200"/>
                  </a:lnTo>
                  <a:lnTo>
                    <a:pt x="1361" y="193"/>
                  </a:lnTo>
                  <a:lnTo>
                    <a:pt x="1341" y="196"/>
                  </a:lnTo>
                  <a:lnTo>
                    <a:pt x="1344" y="189"/>
                  </a:lnTo>
                  <a:lnTo>
                    <a:pt x="1338" y="183"/>
                  </a:lnTo>
                  <a:lnTo>
                    <a:pt x="1326" y="177"/>
                  </a:lnTo>
                  <a:lnTo>
                    <a:pt x="1315" y="166"/>
                  </a:lnTo>
                  <a:lnTo>
                    <a:pt x="1301" y="162"/>
                  </a:lnTo>
                  <a:lnTo>
                    <a:pt x="1296" y="156"/>
                  </a:lnTo>
                  <a:lnTo>
                    <a:pt x="1299" y="153"/>
                  </a:lnTo>
                  <a:lnTo>
                    <a:pt x="1299" y="149"/>
                  </a:lnTo>
                  <a:lnTo>
                    <a:pt x="1321" y="157"/>
                  </a:lnTo>
                  <a:lnTo>
                    <a:pt x="1371" y="166"/>
                  </a:lnTo>
                  <a:lnTo>
                    <a:pt x="1407" y="137"/>
                  </a:lnTo>
                  <a:lnTo>
                    <a:pt x="1419" y="132"/>
                  </a:lnTo>
                  <a:lnTo>
                    <a:pt x="1427" y="126"/>
                  </a:lnTo>
                  <a:lnTo>
                    <a:pt x="1424" y="112"/>
                  </a:lnTo>
                  <a:lnTo>
                    <a:pt x="1412" y="106"/>
                  </a:lnTo>
                  <a:lnTo>
                    <a:pt x="1404" y="92"/>
                  </a:lnTo>
                  <a:lnTo>
                    <a:pt x="1388" y="91"/>
                  </a:lnTo>
                  <a:lnTo>
                    <a:pt x="1380" y="87"/>
                  </a:lnTo>
                  <a:lnTo>
                    <a:pt x="1388" y="80"/>
                  </a:lnTo>
                  <a:lnTo>
                    <a:pt x="1374" y="73"/>
                  </a:lnTo>
                  <a:lnTo>
                    <a:pt x="1369" y="63"/>
                  </a:lnTo>
                  <a:lnTo>
                    <a:pt x="1361" y="71"/>
                  </a:lnTo>
                  <a:lnTo>
                    <a:pt x="1355" y="75"/>
                  </a:lnTo>
                  <a:lnTo>
                    <a:pt x="1355" y="68"/>
                  </a:lnTo>
                  <a:lnTo>
                    <a:pt x="1353" y="63"/>
                  </a:lnTo>
                  <a:lnTo>
                    <a:pt x="1333" y="70"/>
                  </a:lnTo>
                  <a:lnTo>
                    <a:pt x="1332" y="68"/>
                  </a:lnTo>
                  <a:lnTo>
                    <a:pt x="1331" y="63"/>
                  </a:lnTo>
                  <a:lnTo>
                    <a:pt x="1332" y="59"/>
                  </a:lnTo>
                  <a:lnTo>
                    <a:pt x="1332" y="49"/>
                  </a:lnTo>
                  <a:lnTo>
                    <a:pt x="1327" y="46"/>
                  </a:lnTo>
                  <a:lnTo>
                    <a:pt x="1325" y="38"/>
                  </a:lnTo>
                  <a:lnTo>
                    <a:pt x="1316" y="42"/>
                  </a:lnTo>
                  <a:lnTo>
                    <a:pt x="1310" y="38"/>
                  </a:lnTo>
                  <a:lnTo>
                    <a:pt x="1301" y="41"/>
                  </a:lnTo>
                  <a:lnTo>
                    <a:pt x="1293" y="56"/>
                  </a:lnTo>
                  <a:lnTo>
                    <a:pt x="1290" y="70"/>
                  </a:lnTo>
                  <a:lnTo>
                    <a:pt x="1290" y="89"/>
                  </a:lnTo>
                  <a:lnTo>
                    <a:pt x="1293" y="103"/>
                  </a:lnTo>
                  <a:lnTo>
                    <a:pt x="1280" y="110"/>
                  </a:lnTo>
                  <a:lnTo>
                    <a:pt x="1271" y="102"/>
                  </a:lnTo>
                  <a:lnTo>
                    <a:pt x="1260" y="105"/>
                  </a:lnTo>
                  <a:lnTo>
                    <a:pt x="1257" y="101"/>
                  </a:lnTo>
                  <a:lnTo>
                    <a:pt x="1267" y="91"/>
                  </a:lnTo>
                  <a:lnTo>
                    <a:pt x="1277" y="76"/>
                  </a:lnTo>
                  <a:lnTo>
                    <a:pt x="1272" y="67"/>
                  </a:lnTo>
                  <a:lnTo>
                    <a:pt x="1257" y="78"/>
                  </a:lnTo>
                  <a:lnTo>
                    <a:pt x="1247" y="78"/>
                  </a:lnTo>
                  <a:lnTo>
                    <a:pt x="1262" y="67"/>
                  </a:lnTo>
                  <a:lnTo>
                    <a:pt x="1253" y="56"/>
                  </a:lnTo>
                  <a:lnTo>
                    <a:pt x="1260" y="47"/>
                  </a:lnTo>
                  <a:lnTo>
                    <a:pt x="1277" y="49"/>
                  </a:lnTo>
                  <a:lnTo>
                    <a:pt x="1284" y="35"/>
                  </a:lnTo>
                  <a:lnTo>
                    <a:pt x="1285" y="19"/>
                  </a:lnTo>
                  <a:lnTo>
                    <a:pt x="1273" y="19"/>
                  </a:lnTo>
                  <a:lnTo>
                    <a:pt x="1275" y="9"/>
                  </a:lnTo>
                  <a:lnTo>
                    <a:pt x="1268" y="3"/>
                  </a:lnTo>
                  <a:lnTo>
                    <a:pt x="1262" y="3"/>
                  </a:lnTo>
                  <a:lnTo>
                    <a:pt x="1250" y="13"/>
                  </a:lnTo>
                  <a:lnTo>
                    <a:pt x="1239" y="0"/>
                  </a:lnTo>
                  <a:lnTo>
                    <a:pt x="1236" y="17"/>
                  </a:lnTo>
                  <a:lnTo>
                    <a:pt x="1231" y="37"/>
                  </a:lnTo>
                  <a:lnTo>
                    <a:pt x="1226" y="49"/>
                  </a:lnTo>
                  <a:lnTo>
                    <a:pt x="1220" y="59"/>
                  </a:lnTo>
                  <a:lnTo>
                    <a:pt x="1218" y="67"/>
                  </a:lnTo>
                  <a:lnTo>
                    <a:pt x="1219" y="78"/>
                  </a:lnTo>
                  <a:lnTo>
                    <a:pt x="1212" y="79"/>
                  </a:lnTo>
                  <a:lnTo>
                    <a:pt x="1208" y="89"/>
                  </a:lnTo>
                  <a:lnTo>
                    <a:pt x="1208" y="103"/>
                  </a:lnTo>
                  <a:lnTo>
                    <a:pt x="1197" y="103"/>
                  </a:lnTo>
                  <a:lnTo>
                    <a:pt x="1182" y="118"/>
                  </a:lnTo>
                  <a:lnTo>
                    <a:pt x="1183" y="102"/>
                  </a:lnTo>
                  <a:lnTo>
                    <a:pt x="1188" y="85"/>
                  </a:lnTo>
                  <a:lnTo>
                    <a:pt x="1178" y="70"/>
                  </a:lnTo>
                  <a:lnTo>
                    <a:pt x="1188" y="62"/>
                  </a:lnTo>
                  <a:lnTo>
                    <a:pt x="1188" y="41"/>
                  </a:lnTo>
                  <a:lnTo>
                    <a:pt x="1187" y="28"/>
                  </a:lnTo>
                  <a:lnTo>
                    <a:pt x="1182" y="27"/>
                  </a:lnTo>
                  <a:lnTo>
                    <a:pt x="1176" y="31"/>
                  </a:lnTo>
                  <a:lnTo>
                    <a:pt x="1142" y="90"/>
                  </a:lnTo>
                  <a:lnTo>
                    <a:pt x="1135" y="96"/>
                  </a:lnTo>
                  <a:lnTo>
                    <a:pt x="1129" y="111"/>
                  </a:lnTo>
                  <a:lnTo>
                    <a:pt x="1121" y="122"/>
                  </a:lnTo>
                  <a:lnTo>
                    <a:pt x="1115" y="140"/>
                  </a:lnTo>
                  <a:lnTo>
                    <a:pt x="1123" y="132"/>
                  </a:lnTo>
                  <a:lnTo>
                    <a:pt x="1101" y="167"/>
                  </a:lnTo>
                  <a:lnTo>
                    <a:pt x="1092" y="172"/>
                  </a:lnTo>
                  <a:lnTo>
                    <a:pt x="1091" y="160"/>
                  </a:lnTo>
                  <a:lnTo>
                    <a:pt x="1092" y="148"/>
                  </a:lnTo>
                  <a:lnTo>
                    <a:pt x="1099" y="139"/>
                  </a:lnTo>
                  <a:lnTo>
                    <a:pt x="1104" y="137"/>
                  </a:lnTo>
                  <a:lnTo>
                    <a:pt x="1104" y="129"/>
                  </a:lnTo>
                  <a:lnTo>
                    <a:pt x="1106" y="112"/>
                  </a:lnTo>
                  <a:lnTo>
                    <a:pt x="1105" y="105"/>
                  </a:lnTo>
                  <a:lnTo>
                    <a:pt x="1111" y="87"/>
                  </a:lnTo>
                  <a:lnTo>
                    <a:pt x="1133" y="58"/>
                  </a:lnTo>
                  <a:lnTo>
                    <a:pt x="1140" y="42"/>
                  </a:lnTo>
                  <a:lnTo>
                    <a:pt x="1131" y="37"/>
                  </a:lnTo>
                  <a:lnTo>
                    <a:pt x="1116" y="48"/>
                  </a:lnTo>
                  <a:lnTo>
                    <a:pt x="1107" y="51"/>
                  </a:lnTo>
                  <a:lnTo>
                    <a:pt x="1106" y="37"/>
                  </a:lnTo>
                  <a:lnTo>
                    <a:pt x="1100" y="33"/>
                  </a:lnTo>
                  <a:lnTo>
                    <a:pt x="1096" y="27"/>
                  </a:lnTo>
                  <a:lnTo>
                    <a:pt x="1095" y="20"/>
                  </a:lnTo>
                  <a:lnTo>
                    <a:pt x="1085" y="32"/>
                  </a:lnTo>
                  <a:lnTo>
                    <a:pt x="1081" y="26"/>
                  </a:lnTo>
                  <a:lnTo>
                    <a:pt x="1074" y="26"/>
                  </a:lnTo>
                  <a:lnTo>
                    <a:pt x="1073" y="51"/>
                  </a:lnTo>
                  <a:lnTo>
                    <a:pt x="1059" y="46"/>
                  </a:lnTo>
                  <a:lnTo>
                    <a:pt x="1065" y="59"/>
                  </a:lnTo>
                  <a:lnTo>
                    <a:pt x="1073" y="67"/>
                  </a:lnTo>
                  <a:lnTo>
                    <a:pt x="1074" y="71"/>
                  </a:lnTo>
                  <a:lnTo>
                    <a:pt x="1061" y="79"/>
                  </a:lnTo>
                  <a:lnTo>
                    <a:pt x="1053" y="91"/>
                  </a:lnTo>
                  <a:lnTo>
                    <a:pt x="1057" y="105"/>
                  </a:lnTo>
                  <a:lnTo>
                    <a:pt x="1032" y="105"/>
                  </a:lnTo>
                  <a:lnTo>
                    <a:pt x="1020" y="118"/>
                  </a:lnTo>
                  <a:lnTo>
                    <a:pt x="1015" y="129"/>
                  </a:lnTo>
                  <a:lnTo>
                    <a:pt x="1002" y="144"/>
                  </a:lnTo>
                  <a:lnTo>
                    <a:pt x="1000" y="150"/>
                  </a:lnTo>
                  <a:lnTo>
                    <a:pt x="1003" y="159"/>
                  </a:lnTo>
                  <a:lnTo>
                    <a:pt x="1000" y="169"/>
                  </a:lnTo>
                  <a:lnTo>
                    <a:pt x="1000" y="183"/>
                  </a:lnTo>
                  <a:lnTo>
                    <a:pt x="992" y="184"/>
                  </a:lnTo>
                  <a:lnTo>
                    <a:pt x="987" y="178"/>
                  </a:lnTo>
                  <a:lnTo>
                    <a:pt x="987" y="170"/>
                  </a:lnTo>
                  <a:lnTo>
                    <a:pt x="992" y="166"/>
                  </a:lnTo>
                  <a:lnTo>
                    <a:pt x="978" y="162"/>
                  </a:lnTo>
                  <a:lnTo>
                    <a:pt x="986" y="151"/>
                  </a:lnTo>
                  <a:lnTo>
                    <a:pt x="984" y="150"/>
                  </a:lnTo>
                  <a:lnTo>
                    <a:pt x="954" y="145"/>
                  </a:lnTo>
                  <a:lnTo>
                    <a:pt x="956" y="159"/>
                  </a:lnTo>
                  <a:lnTo>
                    <a:pt x="952" y="160"/>
                  </a:lnTo>
                  <a:lnTo>
                    <a:pt x="944" y="156"/>
                  </a:lnTo>
                  <a:lnTo>
                    <a:pt x="944" y="150"/>
                  </a:lnTo>
                  <a:lnTo>
                    <a:pt x="941" y="140"/>
                  </a:lnTo>
                  <a:lnTo>
                    <a:pt x="938" y="143"/>
                  </a:lnTo>
                  <a:lnTo>
                    <a:pt x="935" y="133"/>
                  </a:lnTo>
                  <a:lnTo>
                    <a:pt x="929" y="138"/>
                  </a:lnTo>
                  <a:lnTo>
                    <a:pt x="927" y="133"/>
                  </a:lnTo>
                  <a:lnTo>
                    <a:pt x="922" y="138"/>
                  </a:lnTo>
                  <a:lnTo>
                    <a:pt x="920" y="155"/>
                  </a:lnTo>
                  <a:lnTo>
                    <a:pt x="916" y="146"/>
                  </a:lnTo>
                  <a:lnTo>
                    <a:pt x="911" y="135"/>
                  </a:lnTo>
                  <a:lnTo>
                    <a:pt x="907" y="132"/>
                  </a:lnTo>
                  <a:lnTo>
                    <a:pt x="907" y="157"/>
                  </a:lnTo>
                  <a:lnTo>
                    <a:pt x="924" y="167"/>
                  </a:lnTo>
                  <a:lnTo>
                    <a:pt x="930" y="167"/>
                  </a:lnTo>
                  <a:lnTo>
                    <a:pt x="930" y="178"/>
                  </a:lnTo>
                  <a:lnTo>
                    <a:pt x="928" y="188"/>
                  </a:lnTo>
                  <a:lnTo>
                    <a:pt x="928" y="199"/>
                  </a:lnTo>
                  <a:lnTo>
                    <a:pt x="933" y="210"/>
                  </a:lnTo>
                  <a:lnTo>
                    <a:pt x="933" y="225"/>
                  </a:lnTo>
                  <a:lnTo>
                    <a:pt x="925" y="219"/>
                  </a:lnTo>
                  <a:lnTo>
                    <a:pt x="907" y="191"/>
                  </a:lnTo>
                  <a:lnTo>
                    <a:pt x="891" y="175"/>
                  </a:lnTo>
                  <a:lnTo>
                    <a:pt x="895" y="194"/>
                  </a:lnTo>
                  <a:lnTo>
                    <a:pt x="890" y="194"/>
                  </a:lnTo>
                  <a:lnTo>
                    <a:pt x="886" y="205"/>
                  </a:lnTo>
                  <a:lnTo>
                    <a:pt x="881" y="204"/>
                  </a:lnTo>
                  <a:lnTo>
                    <a:pt x="877" y="212"/>
                  </a:lnTo>
                  <a:lnTo>
                    <a:pt x="874" y="208"/>
                  </a:lnTo>
                  <a:lnTo>
                    <a:pt x="874" y="202"/>
                  </a:lnTo>
                  <a:lnTo>
                    <a:pt x="877" y="191"/>
                  </a:lnTo>
                  <a:lnTo>
                    <a:pt x="870" y="194"/>
                  </a:lnTo>
                  <a:lnTo>
                    <a:pt x="863" y="204"/>
                  </a:lnTo>
                  <a:lnTo>
                    <a:pt x="859" y="218"/>
                  </a:lnTo>
                  <a:lnTo>
                    <a:pt x="853" y="220"/>
                  </a:lnTo>
                  <a:lnTo>
                    <a:pt x="855" y="235"/>
                  </a:lnTo>
                  <a:lnTo>
                    <a:pt x="857" y="241"/>
                  </a:lnTo>
                  <a:lnTo>
                    <a:pt x="841" y="256"/>
                  </a:lnTo>
                  <a:lnTo>
                    <a:pt x="834" y="275"/>
                  </a:lnTo>
                  <a:lnTo>
                    <a:pt x="827" y="285"/>
                  </a:lnTo>
                  <a:lnTo>
                    <a:pt x="837" y="264"/>
                  </a:lnTo>
                  <a:lnTo>
                    <a:pt x="838" y="252"/>
                  </a:lnTo>
                  <a:lnTo>
                    <a:pt x="839" y="229"/>
                  </a:lnTo>
                  <a:lnTo>
                    <a:pt x="841" y="212"/>
                  </a:lnTo>
                  <a:lnTo>
                    <a:pt x="838" y="191"/>
                  </a:lnTo>
                  <a:lnTo>
                    <a:pt x="828" y="194"/>
                  </a:lnTo>
                  <a:lnTo>
                    <a:pt x="822" y="208"/>
                  </a:lnTo>
                  <a:lnTo>
                    <a:pt x="812" y="223"/>
                  </a:lnTo>
                  <a:lnTo>
                    <a:pt x="809" y="246"/>
                  </a:lnTo>
                  <a:lnTo>
                    <a:pt x="804" y="266"/>
                  </a:lnTo>
                  <a:lnTo>
                    <a:pt x="803" y="214"/>
                  </a:lnTo>
                  <a:lnTo>
                    <a:pt x="777" y="218"/>
                  </a:lnTo>
                  <a:lnTo>
                    <a:pt x="768" y="235"/>
                  </a:lnTo>
                  <a:lnTo>
                    <a:pt x="767" y="240"/>
                  </a:lnTo>
                  <a:lnTo>
                    <a:pt x="769" y="261"/>
                  </a:lnTo>
                  <a:lnTo>
                    <a:pt x="779" y="274"/>
                  </a:lnTo>
                  <a:lnTo>
                    <a:pt x="788" y="278"/>
                  </a:lnTo>
                  <a:lnTo>
                    <a:pt x="795" y="291"/>
                  </a:lnTo>
                  <a:lnTo>
                    <a:pt x="794" y="301"/>
                  </a:lnTo>
                  <a:lnTo>
                    <a:pt x="785" y="300"/>
                  </a:lnTo>
                  <a:lnTo>
                    <a:pt x="779" y="284"/>
                  </a:lnTo>
                  <a:lnTo>
                    <a:pt x="768" y="277"/>
                  </a:lnTo>
                  <a:lnTo>
                    <a:pt x="760" y="261"/>
                  </a:lnTo>
                  <a:lnTo>
                    <a:pt x="751" y="252"/>
                  </a:lnTo>
                  <a:lnTo>
                    <a:pt x="739" y="254"/>
                  </a:lnTo>
                  <a:lnTo>
                    <a:pt x="746" y="272"/>
                  </a:lnTo>
                  <a:lnTo>
                    <a:pt x="760" y="284"/>
                  </a:lnTo>
                  <a:lnTo>
                    <a:pt x="750" y="294"/>
                  </a:lnTo>
                  <a:lnTo>
                    <a:pt x="741" y="286"/>
                  </a:lnTo>
                  <a:lnTo>
                    <a:pt x="737" y="293"/>
                  </a:lnTo>
                  <a:lnTo>
                    <a:pt x="735" y="280"/>
                  </a:lnTo>
                  <a:lnTo>
                    <a:pt x="726" y="285"/>
                  </a:lnTo>
                  <a:lnTo>
                    <a:pt x="726" y="280"/>
                  </a:lnTo>
                  <a:lnTo>
                    <a:pt x="729" y="267"/>
                  </a:lnTo>
                  <a:lnTo>
                    <a:pt x="724" y="261"/>
                  </a:lnTo>
                  <a:lnTo>
                    <a:pt x="721" y="266"/>
                  </a:lnTo>
                  <a:lnTo>
                    <a:pt x="714" y="290"/>
                  </a:lnTo>
                  <a:lnTo>
                    <a:pt x="715" y="299"/>
                  </a:lnTo>
                  <a:lnTo>
                    <a:pt x="720" y="306"/>
                  </a:lnTo>
                  <a:lnTo>
                    <a:pt x="697" y="318"/>
                  </a:lnTo>
                  <a:lnTo>
                    <a:pt x="691" y="325"/>
                  </a:lnTo>
                  <a:lnTo>
                    <a:pt x="688" y="332"/>
                  </a:lnTo>
                  <a:lnTo>
                    <a:pt x="687" y="343"/>
                  </a:lnTo>
                  <a:lnTo>
                    <a:pt x="690" y="350"/>
                  </a:lnTo>
                  <a:lnTo>
                    <a:pt x="698" y="347"/>
                  </a:lnTo>
                  <a:lnTo>
                    <a:pt x="704" y="355"/>
                  </a:lnTo>
                  <a:lnTo>
                    <a:pt x="692" y="355"/>
                  </a:lnTo>
                  <a:lnTo>
                    <a:pt x="696" y="365"/>
                  </a:lnTo>
                  <a:lnTo>
                    <a:pt x="696" y="372"/>
                  </a:lnTo>
                  <a:lnTo>
                    <a:pt x="683" y="368"/>
                  </a:lnTo>
                  <a:lnTo>
                    <a:pt x="678" y="370"/>
                  </a:lnTo>
                  <a:lnTo>
                    <a:pt x="686" y="377"/>
                  </a:lnTo>
                  <a:lnTo>
                    <a:pt x="681" y="383"/>
                  </a:lnTo>
                  <a:lnTo>
                    <a:pt x="670" y="380"/>
                  </a:lnTo>
                  <a:lnTo>
                    <a:pt x="667" y="386"/>
                  </a:lnTo>
                  <a:lnTo>
                    <a:pt x="659" y="383"/>
                  </a:lnTo>
                  <a:lnTo>
                    <a:pt x="643" y="390"/>
                  </a:lnTo>
                  <a:lnTo>
                    <a:pt x="639" y="399"/>
                  </a:lnTo>
                  <a:lnTo>
                    <a:pt x="633" y="403"/>
                  </a:lnTo>
                  <a:lnTo>
                    <a:pt x="632" y="407"/>
                  </a:lnTo>
                  <a:lnTo>
                    <a:pt x="642" y="414"/>
                  </a:lnTo>
                  <a:lnTo>
                    <a:pt x="651" y="410"/>
                  </a:lnTo>
                  <a:lnTo>
                    <a:pt x="656" y="404"/>
                  </a:lnTo>
                  <a:lnTo>
                    <a:pt x="672" y="414"/>
                  </a:lnTo>
                  <a:lnTo>
                    <a:pt x="685" y="406"/>
                  </a:lnTo>
                  <a:lnTo>
                    <a:pt x="687" y="409"/>
                  </a:lnTo>
                  <a:lnTo>
                    <a:pt x="691" y="418"/>
                  </a:lnTo>
                  <a:lnTo>
                    <a:pt x="681" y="418"/>
                  </a:lnTo>
                  <a:lnTo>
                    <a:pt x="676" y="425"/>
                  </a:lnTo>
                  <a:lnTo>
                    <a:pt x="674" y="439"/>
                  </a:lnTo>
                  <a:lnTo>
                    <a:pt x="659" y="430"/>
                  </a:lnTo>
                  <a:lnTo>
                    <a:pt x="648" y="430"/>
                  </a:lnTo>
                  <a:lnTo>
                    <a:pt x="645" y="424"/>
                  </a:lnTo>
                  <a:lnTo>
                    <a:pt x="633" y="422"/>
                  </a:lnTo>
                  <a:lnTo>
                    <a:pt x="619" y="430"/>
                  </a:lnTo>
                  <a:lnTo>
                    <a:pt x="616" y="438"/>
                  </a:lnTo>
                  <a:lnTo>
                    <a:pt x="626" y="453"/>
                  </a:lnTo>
                  <a:lnTo>
                    <a:pt x="626" y="462"/>
                  </a:lnTo>
                  <a:lnTo>
                    <a:pt x="619" y="461"/>
                  </a:lnTo>
                  <a:lnTo>
                    <a:pt x="624" y="476"/>
                  </a:lnTo>
                  <a:lnTo>
                    <a:pt x="626" y="487"/>
                  </a:lnTo>
                  <a:lnTo>
                    <a:pt x="617" y="483"/>
                  </a:lnTo>
                  <a:lnTo>
                    <a:pt x="617" y="494"/>
                  </a:lnTo>
                  <a:lnTo>
                    <a:pt x="610" y="495"/>
                  </a:lnTo>
                  <a:lnTo>
                    <a:pt x="605" y="457"/>
                  </a:lnTo>
                  <a:lnTo>
                    <a:pt x="597" y="460"/>
                  </a:lnTo>
                  <a:lnTo>
                    <a:pt x="594" y="473"/>
                  </a:lnTo>
                  <a:lnTo>
                    <a:pt x="586" y="471"/>
                  </a:lnTo>
                  <a:lnTo>
                    <a:pt x="583" y="474"/>
                  </a:lnTo>
                  <a:lnTo>
                    <a:pt x="594" y="479"/>
                  </a:lnTo>
                  <a:lnTo>
                    <a:pt x="591" y="483"/>
                  </a:lnTo>
                  <a:lnTo>
                    <a:pt x="583" y="485"/>
                  </a:lnTo>
                  <a:lnTo>
                    <a:pt x="575" y="490"/>
                  </a:lnTo>
                  <a:lnTo>
                    <a:pt x="573" y="499"/>
                  </a:lnTo>
                  <a:lnTo>
                    <a:pt x="574" y="509"/>
                  </a:lnTo>
                  <a:lnTo>
                    <a:pt x="583" y="516"/>
                  </a:lnTo>
                  <a:lnTo>
                    <a:pt x="575" y="520"/>
                  </a:lnTo>
                  <a:lnTo>
                    <a:pt x="580" y="525"/>
                  </a:lnTo>
                  <a:lnTo>
                    <a:pt x="574" y="527"/>
                  </a:lnTo>
                  <a:lnTo>
                    <a:pt x="570" y="539"/>
                  </a:lnTo>
                  <a:lnTo>
                    <a:pt x="567" y="542"/>
                  </a:lnTo>
                  <a:lnTo>
                    <a:pt x="561" y="542"/>
                  </a:lnTo>
                  <a:lnTo>
                    <a:pt x="562" y="546"/>
                  </a:lnTo>
                  <a:lnTo>
                    <a:pt x="572" y="549"/>
                  </a:lnTo>
                  <a:lnTo>
                    <a:pt x="591" y="542"/>
                  </a:lnTo>
                  <a:lnTo>
                    <a:pt x="578" y="558"/>
                  </a:lnTo>
                  <a:lnTo>
                    <a:pt x="572" y="562"/>
                  </a:lnTo>
                  <a:lnTo>
                    <a:pt x="553" y="558"/>
                  </a:lnTo>
                  <a:lnTo>
                    <a:pt x="548" y="553"/>
                  </a:lnTo>
                  <a:lnTo>
                    <a:pt x="547" y="546"/>
                  </a:lnTo>
                  <a:lnTo>
                    <a:pt x="540" y="547"/>
                  </a:lnTo>
                  <a:lnTo>
                    <a:pt x="529" y="557"/>
                  </a:lnTo>
                  <a:lnTo>
                    <a:pt x="524" y="574"/>
                  </a:lnTo>
                  <a:lnTo>
                    <a:pt x="514" y="581"/>
                  </a:lnTo>
                  <a:lnTo>
                    <a:pt x="513" y="591"/>
                  </a:lnTo>
                  <a:lnTo>
                    <a:pt x="520" y="591"/>
                  </a:lnTo>
                  <a:lnTo>
                    <a:pt x="519" y="598"/>
                  </a:lnTo>
                  <a:lnTo>
                    <a:pt x="518" y="603"/>
                  </a:lnTo>
                  <a:lnTo>
                    <a:pt x="509" y="607"/>
                  </a:lnTo>
                  <a:lnTo>
                    <a:pt x="504" y="625"/>
                  </a:lnTo>
                  <a:lnTo>
                    <a:pt x="497" y="624"/>
                  </a:lnTo>
                  <a:lnTo>
                    <a:pt x="491" y="628"/>
                  </a:lnTo>
                  <a:lnTo>
                    <a:pt x="484" y="629"/>
                  </a:lnTo>
                  <a:lnTo>
                    <a:pt x="476" y="640"/>
                  </a:lnTo>
                  <a:lnTo>
                    <a:pt x="482" y="650"/>
                  </a:lnTo>
                  <a:lnTo>
                    <a:pt x="478" y="654"/>
                  </a:lnTo>
                  <a:lnTo>
                    <a:pt x="467" y="656"/>
                  </a:lnTo>
                  <a:lnTo>
                    <a:pt x="467" y="666"/>
                  </a:lnTo>
                  <a:lnTo>
                    <a:pt x="456" y="667"/>
                  </a:lnTo>
                  <a:lnTo>
                    <a:pt x="459" y="673"/>
                  </a:lnTo>
                  <a:lnTo>
                    <a:pt x="454" y="677"/>
                  </a:lnTo>
                  <a:lnTo>
                    <a:pt x="452" y="686"/>
                  </a:lnTo>
                  <a:lnTo>
                    <a:pt x="465" y="688"/>
                  </a:lnTo>
                  <a:lnTo>
                    <a:pt x="462" y="694"/>
                  </a:lnTo>
                  <a:lnTo>
                    <a:pt x="454" y="699"/>
                  </a:lnTo>
                  <a:lnTo>
                    <a:pt x="448" y="694"/>
                  </a:lnTo>
                  <a:lnTo>
                    <a:pt x="448" y="697"/>
                  </a:lnTo>
                  <a:lnTo>
                    <a:pt x="448" y="711"/>
                  </a:lnTo>
                  <a:lnTo>
                    <a:pt x="454" y="720"/>
                  </a:lnTo>
                  <a:lnTo>
                    <a:pt x="459" y="713"/>
                  </a:lnTo>
                  <a:lnTo>
                    <a:pt x="463" y="716"/>
                  </a:lnTo>
                  <a:lnTo>
                    <a:pt x="461" y="726"/>
                  </a:lnTo>
                  <a:lnTo>
                    <a:pt x="440" y="729"/>
                  </a:lnTo>
                  <a:lnTo>
                    <a:pt x="436" y="734"/>
                  </a:lnTo>
                  <a:lnTo>
                    <a:pt x="435" y="748"/>
                  </a:lnTo>
                  <a:lnTo>
                    <a:pt x="427" y="754"/>
                  </a:lnTo>
                  <a:lnTo>
                    <a:pt x="418" y="757"/>
                  </a:lnTo>
                  <a:lnTo>
                    <a:pt x="412" y="772"/>
                  </a:lnTo>
                  <a:lnTo>
                    <a:pt x="420" y="770"/>
                  </a:lnTo>
                  <a:lnTo>
                    <a:pt x="429" y="762"/>
                  </a:lnTo>
                  <a:lnTo>
                    <a:pt x="440" y="757"/>
                  </a:lnTo>
                  <a:lnTo>
                    <a:pt x="440" y="767"/>
                  </a:lnTo>
                  <a:lnTo>
                    <a:pt x="446" y="779"/>
                  </a:lnTo>
                  <a:lnTo>
                    <a:pt x="427" y="773"/>
                  </a:lnTo>
                  <a:lnTo>
                    <a:pt x="425" y="781"/>
                  </a:lnTo>
                  <a:lnTo>
                    <a:pt x="429" y="785"/>
                  </a:lnTo>
                  <a:lnTo>
                    <a:pt x="423" y="790"/>
                  </a:lnTo>
                  <a:lnTo>
                    <a:pt x="420" y="796"/>
                  </a:lnTo>
                  <a:lnTo>
                    <a:pt x="423" y="806"/>
                  </a:lnTo>
                  <a:lnTo>
                    <a:pt x="419" y="808"/>
                  </a:lnTo>
                  <a:lnTo>
                    <a:pt x="413" y="805"/>
                  </a:lnTo>
                  <a:lnTo>
                    <a:pt x="409" y="811"/>
                  </a:lnTo>
                  <a:lnTo>
                    <a:pt x="412" y="821"/>
                  </a:lnTo>
                  <a:lnTo>
                    <a:pt x="418" y="826"/>
                  </a:lnTo>
                  <a:lnTo>
                    <a:pt x="420" y="845"/>
                  </a:lnTo>
                  <a:lnTo>
                    <a:pt x="413" y="837"/>
                  </a:lnTo>
                  <a:lnTo>
                    <a:pt x="406" y="834"/>
                  </a:lnTo>
                  <a:lnTo>
                    <a:pt x="400" y="821"/>
                  </a:lnTo>
                  <a:lnTo>
                    <a:pt x="401" y="838"/>
                  </a:lnTo>
                  <a:lnTo>
                    <a:pt x="397" y="844"/>
                  </a:lnTo>
                  <a:lnTo>
                    <a:pt x="391" y="847"/>
                  </a:lnTo>
                  <a:lnTo>
                    <a:pt x="387" y="856"/>
                  </a:lnTo>
                  <a:lnTo>
                    <a:pt x="392" y="859"/>
                  </a:lnTo>
                  <a:lnTo>
                    <a:pt x="398" y="856"/>
                  </a:lnTo>
                  <a:lnTo>
                    <a:pt x="403" y="848"/>
                  </a:lnTo>
                  <a:lnTo>
                    <a:pt x="405" y="851"/>
                  </a:lnTo>
                  <a:lnTo>
                    <a:pt x="403" y="856"/>
                  </a:lnTo>
                  <a:lnTo>
                    <a:pt x="403" y="864"/>
                  </a:lnTo>
                  <a:lnTo>
                    <a:pt x="406" y="871"/>
                  </a:lnTo>
                  <a:lnTo>
                    <a:pt x="398" y="877"/>
                  </a:lnTo>
                  <a:lnTo>
                    <a:pt x="387" y="872"/>
                  </a:lnTo>
                  <a:lnTo>
                    <a:pt x="382" y="880"/>
                  </a:lnTo>
                  <a:lnTo>
                    <a:pt x="376" y="876"/>
                  </a:lnTo>
                  <a:lnTo>
                    <a:pt x="369" y="886"/>
                  </a:lnTo>
                  <a:lnTo>
                    <a:pt x="368" y="896"/>
                  </a:lnTo>
                  <a:lnTo>
                    <a:pt x="360" y="902"/>
                  </a:lnTo>
                  <a:lnTo>
                    <a:pt x="352" y="904"/>
                  </a:lnTo>
                  <a:lnTo>
                    <a:pt x="347" y="925"/>
                  </a:lnTo>
                  <a:lnTo>
                    <a:pt x="357" y="921"/>
                  </a:lnTo>
                  <a:lnTo>
                    <a:pt x="366" y="915"/>
                  </a:lnTo>
                  <a:lnTo>
                    <a:pt x="370" y="919"/>
                  </a:lnTo>
                  <a:lnTo>
                    <a:pt x="353" y="926"/>
                  </a:lnTo>
                  <a:lnTo>
                    <a:pt x="353" y="937"/>
                  </a:lnTo>
                  <a:lnTo>
                    <a:pt x="355" y="948"/>
                  </a:lnTo>
                  <a:lnTo>
                    <a:pt x="352" y="955"/>
                  </a:lnTo>
                  <a:lnTo>
                    <a:pt x="341" y="958"/>
                  </a:lnTo>
                  <a:lnTo>
                    <a:pt x="327" y="947"/>
                  </a:lnTo>
                  <a:lnTo>
                    <a:pt x="323" y="947"/>
                  </a:lnTo>
                  <a:lnTo>
                    <a:pt x="315" y="962"/>
                  </a:lnTo>
                  <a:lnTo>
                    <a:pt x="305" y="969"/>
                  </a:lnTo>
                  <a:lnTo>
                    <a:pt x="304" y="976"/>
                  </a:lnTo>
                  <a:lnTo>
                    <a:pt x="296" y="980"/>
                  </a:lnTo>
                  <a:lnTo>
                    <a:pt x="280" y="1006"/>
                  </a:lnTo>
                  <a:lnTo>
                    <a:pt x="277" y="1012"/>
                  </a:lnTo>
                  <a:lnTo>
                    <a:pt x="280" y="1022"/>
                  </a:lnTo>
                  <a:lnTo>
                    <a:pt x="280" y="1026"/>
                  </a:lnTo>
                  <a:lnTo>
                    <a:pt x="258" y="1038"/>
                  </a:lnTo>
                  <a:lnTo>
                    <a:pt x="258" y="1048"/>
                  </a:lnTo>
                  <a:lnTo>
                    <a:pt x="263" y="1053"/>
                  </a:lnTo>
                  <a:lnTo>
                    <a:pt x="274" y="1048"/>
                  </a:lnTo>
                  <a:lnTo>
                    <a:pt x="269" y="1064"/>
                  </a:lnTo>
                  <a:lnTo>
                    <a:pt x="277" y="1075"/>
                  </a:lnTo>
                  <a:lnTo>
                    <a:pt x="283" y="1079"/>
                  </a:lnTo>
                  <a:lnTo>
                    <a:pt x="320" y="1052"/>
                  </a:lnTo>
                  <a:lnTo>
                    <a:pt x="342" y="1042"/>
                  </a:lnTo>
                  <a:lnTo>
                    <a:pt x="347" y="1036"/>
                  </a:lnTo>
                  <a:lnTo>
                    <a:pt x="352" y="1038"/>
                  </a:lnTo>
                  <a:lnTo>
                    <a:pt x="348" y="1044"/>
                  </a:lnTo>
                  <a:lnTo>
                    <a:pt x="335" y="1052"/>
                  </a:lnTo>
                  <a:lnTo>
                    <a:pt x="327" y="1053"/>
                  </a:lnTo>
                  <a:lnTo>
                    <a:pt x="316" y="1060"/>
                  </a:lnTo>
                  <a:lnTo>
                    <a:pt x="307" y="1068"/>
                  </a:lnTo>
                  <a:lnTo>
                    <a:pt x="314" y="1075"/>
                  </a:lnTo>
                  <a:lnTo>
                    <a:pt x="312" y="1079"/>
                  </a:lnTo>
                  <a:lnTo>
                    <a:pt x="295" y="1086"/>
                  </a:lnTo>
                  <a:lnTo>
                    <a:pt x="285" y="1086"/>
                  </a:lnTo>
                  <a:lnTo>
                    <a:pt x="282" y="1090"/>
                  </a:lnTo>
                  <a:lnTo>
                    <a:pt x="284" y="1096"/>
                  </a:lnTo>
                  <a:lnTo>
                    <a:pt x="280" y="1097"/>
                  </a:lnTo>
                  <a:lnTo>
                    <a:pt x="271" y="1096"/>
                  </a:lnTo>
                  <a:lnTo>
                    <a:pt x="271" y="1086"/>
                  </a:lnTo>
                  <a:lnTo>
                    <a:pt x="263" y="1071"/>
                  </a:lnTo>
                  <a:lnTo>
                    <a:pt x="258" y="1066"/>
                  </a:lnTo>
                  <a:lnTo>
                    <a:pt x="253" y="1066"/>
                  </a:lnTo>
                  <a:lnTo>
                    <a:pt x="250" y="1073"/>
                  </a:lnTo>
                  <a:lnTo>
                    <a:pt x="242" y="1074"/>
                  </a:lnTo>
                  <a:lnTo>
                    <a:pt x="236" y="1080"/>
                  </a:lnTo>
                  <a:lnTo>
                    <a:pt x="235" y="1087"/>
                  </a:lnTo>
                  <a:lnTo>
                    <a:pt x="241" y="1092"/>
                  </a:lnTo>
                  <a:lnTo>
                    <a:pt x="242" y="1097"/>
                  </a:lnTo>
                  <a:lnTo>
                    <a:pt x="231" y="1103"/>
                  </a:lnTo>
                  <a:lnTo>
                    <a:pt x="228" y="1097"/>
                  </a:lnTo>
                  <a:lnTo>
                    <a:pt x="228" y="1089"/>
                  </a:lnTo>
                  <a:lnTo>
                    <a:pt x="225" y="1082"/>
                  </a:lnTo>
                  <a:lnTo>
                    <a:pt x="198" y="1093"/>
                  </a:lnTo>
                  <a:lnTo>
                    <a:pt x="194" y="1098"/>
                  </a:lnTo>
                  <a:lnTo>
                    <a:pt x="190" y="1109"/>
                  </a:lnTo>
                  <a:lnTo>
                    <a:pt x="183" y="1108"/>
                  </a:lnTo>
                  <a:lnTo>
                    <a:pt x="185" y="1116"/>
                  </a:lnTo>
                  <a:lnTo>
                    <a:pt x="183" y="1119"/>
                  </a:lnTo>
                  <a:lnTo>
                    <a:pt x="175" y="1120"/>
                  </a:lnTo>
                  <a:lnTo>
                    <a:pt x="175" y="1117"/>
                  </a:lnTo>
                  <a:lnTo>
                    <a:pt x="174" y="1112"/>
                  </a:lnTo>
                  <a:lnTo>
                    <a:pt x="169" y="1113"/>
                  </a:lnTo>
                  <a:lnTo>
                    <a:pt x="166" y="1117"/>
                  </a:lnTo>
                  <a:lnTo>
                    <a:pt x="167" y="1122"/>
                  </a:lnTo>
                  <a:lnTo>
                    <a:pt x="166" y="1124"/>
                  </a:lnTo>
                  <a:lnTo>
                    <a:pt x="156" y="1124"/>
                  </a:lnTo>
                  <a:lnTo>
                    <a:pt x="143" y="1132"/>
                  </a:lnTo>
                  <a:lnTo>
                    <a:pt x="140" y="1145"/>
                  </a:lnTo>
                  <a:lnTo>
                    <a:pt x="135" y="1156"/>
                  </a:lnTo>
                  <a:lnTo>
                    <a:pt x="128" y="1151"/>
                  </a:lnTo>
                  <a:lnTo>
                    <a:pt x="118" y="1150"/>
                  </a:lnTo>
                  <a:lnTo>
                    <a:pt x="110" y="1157"/>
                  </a:lnTo>
                  <a:lnTo>
                    <a:pt x="107" y="1163"/>
                  </a:lnTo>
                  <a:lnTo>
                    <a:pt x="117" y="1171"/>
                  </a:lnTo>
                  <a:lnTo>
                    <a:pt x="111" y="1177"/>
                  </a:lnTo>
                  <a:lnTo>
                    <a:pt x="121" y="1178"/>
                  </a:lnTo>
                  <a:lnTo>
                    <a:pt x="132" y="1176"/>
                  </a:lnTo>
                  <a:lnTo>
                    <a:pt x="137" y="1182"/>
                  </a:lnTo>
                  <a:lnTo>
                    <a:pt x="142" y="1184"/>
                  </a:lnTo>
                  <a:lnTo>
                    <a:pt x="135" y="1193"/>
                  </a:lnTo>
                  <a:lnTo>
                    <a:pt x="138" y="1199"/>
                  </a:lnTo>
                  <a:lnTo>
                    <a:pt x="131" y="1195"/>
                  </a:lnTo>
                  <a:lnTo>
                    <a:pt x="122" y="1195"/>
                  </a:lnTo>
                  <a:lnTo>
                    <a:pt x="99" y="1192"/>
                  </a:lnTo>
                  <a:lnTo>
                    <a:pt x="91" y="1193"/>
                  </a:lnTo>
                  <a:lnTo>
                    <a:pt x="86" y="1197"/>
                  </a:lnTo>
                  <a:lnTo>
                    <a:pt x="80" y="1195"/>
                  </a:lnTo>
                  <a:lnTo>
                    <a:pt x="74" y="1200"/>
                  </a:lnTo>
                  <a:lnTo>
                    <a:pt x="75" y="1203"/>
                  </a:lnTo>
                  <a:lnTo>
                    <a:pt x="81" y="1205"/>
                  </a:lnTo>
                  <a:lnTo>
                    <a:pt x="75" y="1208"/>
                  </a:lnTo>
                  <a:lnTo>
                    <a:pt x="75" y="1214"/>
                  </a:lnTo>
                  <a:lnTo>
                    <a:pt x="83" y="1213"/>
                  </a:lnTo>
                  <a:lnTo>
                    <a:pt x="89" y="1210"/>
                  </a:lnTo>
                  <a:lnTo>
                    <a:pt x="81" y="1220"/>
                  </a:lnTo>
                  <a:lnTo>
                    <a:pt x="81" y="1227"/>
                  </a:lnTo>
                  <a:lnTo>
                    <a:pt x="86" y="1243"/>
                  </a:lnTo>
                  <a:lnTo>
                    <a:pt x="83" y="1245"/>
                  </a:lnTo>
                  <a:lnTo>
                    <a:pt x="78" y="1230"/>
                  </a:lnTo>
                  <a:lnTo>
                    <a:pt x="74" y="1224"/>
                  </a:lnTo>
                  <a:lnTo>
                    <a:pt x="64" y="1230"/>
                  </a:lnTo>
                  <a:lnTo>
                    <a:pt x="59" y="1238"/>
                  </a:lnTo>
                  <a:lnTo>
                    <a:pt x="56" y="1248"/>
                  </a:lnTo>
                  <a:lnTo>
                    <a:pt x="61" y="1253"/>
                  </a:lnTo>
                  <a:lnTo>
                    <a:pt x="62" y="1259"/>
                  </a:lnTo>
                  <a:lnTo>
                    <a:pt x="53" y="1253"/>
                  </a:lnTo>
                  <a:lnTo>
                    <a:pt x="50" y="1246"/>
                  </a:lnTo>
                  <a:lnTo>
                    <a:pt x="41" y="1248"/>
                  </a:lnTo>
                  <a:lnTo>
                    <a:pt x="27" y="1248"/>
                  </a:lnTo>
                  <a:lnTo>
                    <a:pt x="27" y="1254"/>
                  </a:lnTo>
                  <a:lnTo>
                    <a:pt x="29" y="1259"/>
                  </a:lnTo>
                  <a:lnTo>
                    <a:pt x="13" y="1247"/>
                  </a:lnTo>
                  <a:lnTo>
                    <a:pt x="9" y="1251"/>
                  </a:lnTo>
                  <a:lnTo>
                    <a:pt x="15" y="1265"/>
                  </a:lnTo>
                  <a:lnTo>
                    <a:pt x="11" y="1272"/>
                  </a:lnTo>
                  <a:lnTo>
                    <a:pt x="13" y="1274"/>
                  </a:lnTo>
                  <a:lnTo>
                    <a:pt x="41" y="1274"/>
                  </a:lnTo>
                  <a:lnTo>
                    <a:pt x="67" y="1268"/>
                  </a:lnTo>
                  <a:lnTo>
                    <a:pt x="51" y="1275"/>
                  </a:lnTo>
                  <a:lnTo>
                    <a:pt x="53" y="1279"/>
                  </a:lnTo>
                  <a:lnTo>
                    <a:pt x="65" y="1279"/>
                  </a:lnTo>
                  <a:lnTo>
                    <a:pt x="74" y="1275"/>
                  </a:lnTo>
                  <a:lnTo>
                    <a:pt x="77" y="1278"/>
                  </a:lnTo>
                  <a:lnTo>
                    <a:pt x="67" y="1284"/>
                  </a:lnTo>
                  <a:lnTo>
                    <a:pt x="52" y="1286"/>
                  </a:lnTo>
                  <a:lnTo>
                    <a:pt x="36" y="1286"/>
                  </a:lnTo>
                  <a:lnTo>
                    <a:pt x="30" y="1281"/>
                  </a:lnTo>
                  <a:lnTo>
                    <a:pt x="24" y="1281"/>
                  </a:lnTo>
                  <a:lnTo>
                    <a:pt x="13" y="1291"/>
                  </a:lnTo>
                  <a:lnTo>
                    <a:pt x="11" y="1296"/>
                  </a:lnTo>
                  <a:lnTo>
                    <a:pt x="4" y="1295"/>
                  </a:lnTo>
                  <a:lnTo>
                    <a:pt x="2" y="1297"/>
                  </a:lnTo>
                  <a:lnTo>
                    <a:pt x="0" y="1305"/>
                  </a:lnTo>
                  <a:lnTo>
                    <a:pt x="16" y="1310"/>
                  </a:lnTo>
                  <a:lnTo>
                    <a:pt x="15" y="1316"/>
                  </a:lnTo>
                  <a:lnTo>
                    <a:pt x="15" y="1322"/>
                  </a:lnTo>
                  <a:lnTo>
                    <a:pt x="10" y="1327"/>
                  </a:lnTo>
                  <a:lnTo>
                    <a:pt x="3" y="1335"/>
                  </a:lnTo>
                  <a:lnTo>
                    <a:pt x="5" y="1343"/>
                  </a:lnTo>
                  <a:lnTo>
                    <a:pt x="3" y="1346"/>
                  </a:lnTo>
                  <a:lnTo>
                    <a:pt x="3" y="1354"/>
                  </a:lnTo>
                  <a:lnTo>
                    <a:pt x="7" y="1358"/>
                  </a:lnTo>
                  <a:lnTo>
                    <a:pt x="7" y="1365"/>
                  </a:lnTo>
                  <a:lnTo>
                    <a:pt x="22" y="1367"/>
                  </a:lnTo>
                  <a:lnTo>
                    <a:pt x="53" y="1356"/>
                  </a:lnTo>
                  <a:lnTo>
                    <a:pt x="59" y="1360"/>
                  </a:lnTo>
                  <a:lnTo>
                    <a:pt x="72" y="1360"/>
                  </a:lnTo>
                  <a:lnTo>
                    <a:pt x="74" y="1349"/>
                  </a:lnTo>
                  <a:lnTo>
                    <a:pt x="83" y="1333"/>
                  </a:lnTo>
                  <a:lnTo>
                    <a:pt x="85" y="1343"/>
                  </a:lnTo>
                  <a:lnTo>
                    <a:pt x="81" y="1356"/>
                  </a:lnTo>
                  <a:lnTo>
                    <a:pt x="88" y="1359"/>
                  </a:lnTo>
                  <a:lnTo>
                    <a:pt x="99" y="1359"/>
                  </a:lnTo>
                  <a:lnTo>
                    <a:pt x="106" y="1356"/>
                  </a:lnTo>
                  <a:lnTo>
                    <a:pt x="111" y="1360"/>
                  </a:lnTo>
                  <a:lnTo>
                    <a:pt x="122" y="1348"/>
                  </a:lnTo>
                  <a:lnTo>
                    <a:pt x="126" y="1324"/>
                  </a:lnTo>
                  <a:lnTo>
                    <a:pt x="138" y="1317"/>
                  </a:lnTo>
                  <a:lnTo>
                    <a:pt x="139" y="1322"/>
                  </a:lnTo>
                  <a:lnTo>
                    <a:pt x="131" y="1338"/>
                  </a:lnTo>
                  <a:lnTo>
                    <a:pt x="129" y="1349"/>
                  </a:lnTo>
                  <a:lnTo>
                    <a:pt x="127" y="1354"/>
                  </a:lnTo>
                  <a:lnTo>
                    <a:pt x="133" y="1353"/>
                  </a:lnTo>
                  <a:lnTo>
                    <a:pt x="140" y="1349"/>
                  </a:lnTo>
                  <a:lnTo>
                    <a:pt x="145" y="1351"/>
                  </a:lnTo>
                  <a:lnTo>
                    <a:pt x="131" y="1362"/>
                  </a:lnTo>
                  <a:lnTo>
                    <a:pt x="113" y="1369"/>
                  </a:lnTo>
                  <a:lnTo>
                    <a:pt x="111" y="1378"/>
                  </a:lnTo>
                  <a:lnTo>
                    <a:pt x="118" y="1385"/>
                  </a:lnTo>
                  <a:lnTo>
                    <a:pt x="105" y="1393"/>
                  </a:lnTo>
                  <a:lnTo>
                    <a:pt x="105" y="1383"/>
                  </a:lnTo>
                  <a:lnTo>
                    <a:pt x="101" y="1376"/>
                  </a:lnTo>
                  <a:lnTo>
                    <a:pt x="91" y="1369"/>
                  </a:lnTo>
                  <a:lnTo>
                    <a:pt x="81" y="1369"/>
                  </a:lnTo>
                  <a:lnTo>
                    <a:pt x="68" y="1372"/>
                  </a:lnTo>
                  <a:lnTo>
                    <a:pt x="57" y="1370"/>
                  </a:lnTo>
                  <a:lnTo>
                    <a:pt x="47" y="1371"/>
                  </a:lnTo>
                  <a:lnTo>
                    <a:pt x="37" y="1370"/>
                  </a:lnTo>
                  <a:lnTo>
                    <a:pt x="29" y="1378"/>
                  </a:lnTo>
                  <a:lnTo>
                    <a:pt x="10" y="1373"/>
                  </a:lnTo>
                  <a:lnTo>
                    <a:pt x="5" y="1386"/>
                  </a:lnTo>
                  <a:lnTo>
                    <a:pt x="4" y="1397"/>
                  </a:lnTo>
                  <a:lnTo>
                    <a:pt x="14" y="1397"/>
                  </a:lnTo>
                  <a:lnTo>
                    <a:pt x="18" y="1396"/>
                  </a:lnTo>
                  <a:lnTo>
                    <a:pt x="18" y="1410"/>
                  </a:lnTo>
                  <a:lnTo>
                    <a:pt x="9" y="1407"/>
                  </a:lnTo>
                  <a:lnTo>
                    <a:pt x="3" y="1401"/>
                  </a:lnTo>
                  <a:lnTo>
                    <a:pt x="2" y="1403"/>
                  </a:lnTo>
                  <a:lnTo>
                    <a:pt x="0" y="1403"/>
                  </a:lnTo>
                  <a:lnTo>
                    <a:pt x="0" y="1407"/>
                  </a:lnTo>
                  <a:lnTo>
                    <a:pt x="10" y="1425"/>
                  </a:lnTo>
                  <a:lnTo>
                    <a:pt x="16" y="1426"/>
                  </a:lnTo>
                  <a:lnTo>
                    <a:pt x="30" y="1418"/>
                  </a:lnTo>
                  <a:lnTo>
                    <a:pt x="38" y="1415"/>
                  </a:lnTo>
                  <a:lnTo>
                    <a:pt x="25" y="1429"/>
                  </a:lnTo>
                  <a:lnTo>
                    <a:pt x="20" y="1436"/>
                  </a:lnTo>
                  <a:lnTo>
                    <a:pt x="24" y="1440"/>
                  </a:lnTo>
                  <a:lnTo>
                    <a:pt x="14" y="1446"/>
                  </a:lnTo>
                  <a:lnTo>
                    <a:pt x="9" y="1452"/>
                  </a:lnTo>
                  <a:lnTo>
                    <a:pt x="10" y="1461"/>
                  </a:lnTo>
                  <a:lnTo>
                    <a:pt x="15" y="1466"/>
                  </a:lnTo>
                  <a:lnTo>
                    <a:pt x="18" y="1472"/>
                  </a:lnTo>
                  <a:lnTo>
                    <a:pt x="24" y="1467"/>
                  </a:lnTo>
                  <a:lnTo>
                    <a:pt x="30" y="1461"/>
                  </a:lnTo>
                  <a:lnTo>
                    <a:pt x="30" y="1469"/>
                  </a:lnTo>
                  <a:lnTo>
                    <a:pt x="38" y="1483"/>
                  </a:lnTo>
                  <a:lnTo>
                    <a:pt x="31" y="1484"/>
                  </a:lnTo>
                  <a:lnTo>
                    <a:pt x="22" y="1490"/>
                  </a:lnTo>
                  <a:lnTo>
                    <a:pt x="22" y="1495"/>
                  </a:lnTo>
                  <a:lnTo>
                    <a:pt x="27" y="1499"/>
                  </a:lnTo>
                  <a:lnTo>
                    <a:pt x="37" y="1493"/>
                  </a:lnTo>
                  <a:lnTo>
                    <a:pt x="43" y="1482"/>
                  </a:lnTo>
                  <a:lnTo>
                    <a:pt x="45" y="1469"/>
                  </a:lnTo>
                  <a:lnTo>
                    <a:pt x="53" y="1463"/>
                  </a:lnTo>
                  <a:lnTo>
                    <a:pt x="63" y="1451"/>
                  </a:lnTo>
                  <a:lnTo>
                    <a:pt x="73" y="1431"/>
                  </a:lnTo>
                  <a:lnTo>
                    <a:pt x="83" y="1423"/>
                  </a:lnTo>
                  <a:lnTo>
                    <a:pt x="88" y="1428"/>
                  </a:lnTo>
                  <a:lnTo>
                    <a:pt x="88" y="1431"/>
                  </a:lnTo>
                  <a:lnTo>
                    <a:pt x="100" y="1429"/>
                  </a:lnTo>
                  <a:lnTo>
                    <a:pt x="110" y="1430"/>
                  </a:lnTo>
                  <a:lnTo>
                    <a:pt x="94" y="1437"/>
                  </a:lnTo>
                  <a:lnTo>
                    <a:pt x="91" y="1448"/>
                  </a:lnTo>
                  <a:lnTo>
                    <a:pt x="89" y="1455"/>
                  </a:lnTo>
                  <a:lnTo>
                    <a:pt x="88" y="1443"/>
                  </a:lnTo>
                  <a:lnTo>
                    <a:pt x="83" y="1442"/>
                  </a:lnTo>
                  <a:lnTo>
                    <a:pt x="74" y="1456"/>
                  </a:lnTo>
                  <a:lnTo>
                    <a:pt x="64" y="1467"/>
                  </a:lnTo>
                  <a:lnTo>
                    <a:pt x="70" y="1472"/>
                  </a:lnTo>
                  <a:lnTo>
                    <a:pt x="70" y="1475"/>
                  </a:lnTo>
                  <a:lnTo>
                    <a:pt x="59" y="1482"/>
                  </a:lnTo>
                  <a:lnTo>
                    <a:pt x="40" y="1506"/>
                  </a:lnTo>
                  <a:lnTo>
                    <a:pt x="47" y="1511"/>
                  </a:lnTo>
                  <a:lnTo>
                    <a:pt x="67" y="1511"/>
                  </a:lnTo>
                  <a:lnTo>
                    <a:pt x="72" y="1506"/>
                  </a:lnTo>
                  <a:lnTo>
                    <a:pt x="74" y="1510"/>
                  </a:lnTo>
                  <a:lnTo>
                    <a:pt x="53" y="1518"/>
                  </a:lnTo>
                  <a:lnTo>
                    <a:pt x="48" y="1525"/>
                  </a:lnTo>
                  <a:lnTo>
                    <a:pt x="47" y="1528"/>
                  </a:lnTo>
                  <a:lnTo>
                    <a:pt x="37" y="1528"/>
                  </a:lnTo>
                  <a:lnTo>
                    <a:pt x="32" y="1531"/>
                  </a:lnTo>
                  <a:lnTo>
                    <a:pt x="26" y="1528"/>
                  </a:lnTo>
                  <a:lnTo>
                    <a:pt x="18" y="1539"/>
                  </a:lnTo>
                  <a:lnTo>
                    <a:pt x="13" y="1549"/>
                  </a:lnTo>
                  <a:lnTo>
                    <a:pt x="13" y="1558"/>
                  </a:lnTo>
                  <a:lnTo>
                    <a:pt x="16" y="1560"/>
                  </a:lnTo>
                  <a:lnTo>
                    <a:pt x="18" y="1564"/>
                  </a:lnTo>
                  <a:lnTo>
                    <a:pt x="26" y="1563"/>
                  </a:lnTo>
                  <a:lnTo>
                    <a:pt x="30" y="1554"/>
                  </a:lnTo>
                  <a:lnTo>
                    <a:pt x="32" y="1563"/>
                  </a:lnTo>
                  <a:lnTo>
                    <a:pt x="40" y="1563"/>
                  </a:lnTo>
                  <a:lnTo>
                    <a:pt x="42" y="1556"/>
                  </a:lnTo>
                  <a:lnTo>
                    <a:pt x="41" y="1550"/>
                  </a:lnTo>
                  <a:lnTo>
                    <a:pt x="48" y="1555"/>
                  </a:lnTo>
                  <a:lnTo>
                    <a:pt x="63" y="1547"/>
                  </a:lnTo>
                  <a:lnTo>
                    <a:pt x="68" y="1541"/>
                  </a:lnTo>
                  <a:lnTo>
                    <a:pt x="73" y="1544"/>
                  </a:lnTo>
                  <a:lnTo>
                    <a:pt x="58" y="1561"/>
                  </a:lnTo>
                  <a:lnTo>
                    <a:pt x="64" y="1561"/>
                  </a:lnTo>
                  <a:lnTo>
                    <a:pt x="64" y="1571"/>
                  </a:lnTo>
                  <a:lnTo>
                    <a:pt x="58" y="1580"/>
                  </a:lnTo>
                  <a:lnTo>
                    <a:pt x="56" y="1587"/>
                  </a:lnTo>
                  <a:lnTo>
                    <a:pt x="50" y="1593"/>
                  </a:lnTo>
                  <a:lnTo>
                    <a:pt x="51" y="1599"/>
                  </a:lnTo>
                  <a:lnTo>
                    <a:pt x="51" y="1604"/>
                  </a:lnTo>
                  <a:lnTo>
                    <a:pt x="45" y="1603"/>
                  </a:lnTo>
                  <a:lnTo>
                    <a:pt x="40" y="1606"/>
                  </a:lnTo>
                  <a:lnTo>
                    <a:pt x="36" y="1598"/>
                  </a:lnTo>
                  <a:lnTo>
                    <a:pt x="32" y="1598"/>
                  </a:lnTo>
                  <a:lnTo>
                    <a:pt x="25" y="1630"/>
                  </a:lnTo>
                  <a:lnTo>
                    <a:pt x="38" y="1647"/>
                  </a:lnTo>
                  <a:lnTo>
                    <a:pt x="59" y="1666"/>
                  </a:lnTo>
                  <a:lnTo>
                    <a:pt x="74" y="1674"/>
                  </a:lnTo>
                  <a:lnTo>
                    <a:pt x="85" y="1677"/>
                  </a:lnTo>
                  <a:lnTo>
                    <a:pt x="92" y="1665"/>
                  </a:lnTo>
                  <a:lnTo>
                    <a:pt x="92" y="1682"/>
                  </a:lnTo>
                  <a:lnTo>
                    <a:pt x="90" y="1694"/>
                  </a:lnTo>
                  <a:lnTo>
                    <a:pt x="96" y="1689"/>
                  </a:lnTo>
                  <a:lnTo>
                    <a:pt x="106" y="1695"/>
                  </a:lnTo>
                  <a:lnTo>
                    <a:pt x="110" y="1685"/>
                  </a:lnTo>
                  <a:lnTo>
                    <a:pt x="124" y="1687"/>
                  </a:lnTo>
                  <a:lnTo>
                    <a:pt x="117" y="1695"/>
                  </a:lnTo>
                  <a:lnTo>
                    <a:pt x="134" y="1701"/>
                  </a:lnTo>
                  <a:lnTo>
                    <a:pt x="145" y="1697"/>
                  </a:lnTo>
                  <a:lnTo>
                    <a:pt x="158" y="1687"/>
                  </a:lnTo>
                  <a:lnTo>
                    <a:pt x="163" y="1673"/>
                  </a:lnTo>
                  <a:lnTo>
                    <a:pt x="170" y="1684"/>
                  </a:lnTo>
                  <a:lnTo>
                    <a:pt x="190" y="1671"/>
                  </a:lnTo>
                  <a:lnTo>
                    <a:pt x="210" y="1644"/>
                  </a:lnTo>
                  <a:lnTo>
                    <a:pt x="221" y="1638"/>
                  </a:lnTo>
                  <a:lnTo>
                    <a:pt x="225" y="1627"/>
                  </a:lnTo>
                  <a:lnTo>
                    <a:pt x="231" y="1622"/>
                  </a:lnTo>
                  <a:lnTo>
                    <a:pt x="234" y="1615"/>
                  </a:lnTo>
                  <a:lnTo>
                    <a:pt x="251" y="1597"/>
                  </a:lnTo>
                  <a:lnTo>
                    <a:pt x="249" y="1590"/>
                  </a:lnTo>
                  <a:lnTo>
                    <a:pt x="261" y="1597"/>
                  </a:lnTo>
                  <a:lnTo>
                    <a:pt x="274" y="1597"/>
                  </a:lnTo>
                  <a:lnTo>
                    <a:pt x="282" y="1593"/>
                  </a:lnTo>
                  <a:lnTo>
                    <a:pt x="285" y="1581"/>
                  </a:lnTo>
                  <a:lnTo>
                    <a:pt x="287" y="1574"/>
                  </a:lnTo>
                  <a:lnTo>
                    <a:pt x="294" y="1566"/>
                  </a:lnTo>
                  <a:lnTo>
                    <a:pt x="293" y="1556"/>
                  </a:lnTo>
                  <a:lnTo>
                    <a:pt x="287" y="1549"/>
                  </a:lnTo>
                  <a:lnTo>
                    <a:pt x="283" y="1541"/>
                  </a:lnTo>
                  <a:lnTo>
                    <a:pt x="285" y="1538"/>
                  </a:lnTo>
                  <a:lnTo>
                    <a:pt x="287" y="1533"/>
                  </a:lnTo>
                  <a:lnTo>
                    <a:pt x="284" y="1522"/>
                  </a:lnTo>
                  <a:lnTo>
                    <a:pt x="289" y="1526"/>
                  </a:lnTo>
                  <a:lnTo>
                    <a:pt x="293" y="1533"/>
                  </a:lnTo>
                  <a:lnTo>
                    <a:pt x="293" y="1541"/>
                  </a:lnTo>
                  <a:lnTo>
                    <a:pt x="299" y="1539"/>
                  </a:lnTo>
                  <a:lnTo>
                    <a:pt x="300" y="1533"/>
                  </a:lnTo>
                  <a:lnTo>
                    <a:pt x="295" y="1525"/>
                  </a:lnTo>
                  <a:lnTo>
                    <a:pt x="294" y="1509"/>
                  </a:lnTo>
                  <a:lnTo>
                    <a:pt x="296" y="1505"/>
                  </a:lnTo>
                  <a:lnTo>
                    <a:pt x="299" y="1506"/>
                  </a:lnTo>
                  <a:lnTo>
                    <a:pt x="305" y="1502"/>
                  </a:lnTo>
                  <a:lnTo>
                    <a:pt x="310" y="1505"/>
                  </a:lnTo>
                  <a:lnTo>
                    <a:pt x="310" y="1512"/>
                  </a:lnTo>
                  <a:lnTo>
                    <a:pt x="303" y="1516"/>
                  </a:lnTo>
                  <a:lnTo>
                    <a:pt x="303" y="1522"/>
                  </a:lnTo>
                  <a:lnTo>
                    <a:pt x="305" y="1533"/>
                  </a:lnTo>
                  <a:lnTo>
                    <a:pt x="307" y="1563"/>
                  </a:lnTo>
                  <a:lnTo>
                    <a:pt x="310" y="1574"/>
                  </a:lnTo>
                  <a:lnTo>
                    <a:pt x="317" y="1572"/>
                  </a:lnTo>
                  <a:lnTo>
                    <a:pt x="327" y="1581"/>
                  </a:lnTo>
                  <a:lnTo>
                    <a:pt x="333" y="1580"/>
                  </a:lnTo>
                  <a:lnTo>
                    <a:pt x="337" y="1587"/>
                  </a:lnTo>
                  <a:lnTo>
                    <a:pt x="339" y="1592"/>
                  </a:lnTo>
                  <a:lnTo>
                    <a:pt x="339" y="1614"/>
                  </a:lnTo>
                  <a:lnTo>
                    <a:pt x="343" y="1601"/>
                  </a:lnTo>
                  <a:lnTo>
                    <a:pt x="347" y="1609"/>
                  </a:lnTo>
                  <a:lnTo>
                    <a:pt x="355" y="1603"/>
                  </a:lnTo>
                  <a:lnTo>
                    <a:pt x="363" y="1566"/>
                  </a:lnTo>
                  <a:lnTo>
                    <a:pt x="359" y="1554"/>
                  </a:lnTo>
                  <a:lnTo>
                    <a:pt x="358" y="1537"/>
                  </a:lnTo>
                  <a:lnTo>
                    <a:pt x="370" y="1516"/>
                  </a:lnTo>
                  <a:lnTo>
                    <a:pt x="370" y="1502"/>
                  </a:lnTo>
                  <a:lnTo>
                    <a:pt x="397" y="1491"/>
                  </a:lnTo>
                  <a:lnTo>
                    <a:pt x="403" y="1480"/>
                  </a:lnTo>
                  <a:lnTo>
                    <a:pt x="405" y="1466"/>
                  </a:lnTo>
                  <a:lnTo>
                    <a:pt x="401" y="1457"/>
                  </a:lnTo>
                  <a:lnTo>
                    <a:pt x="408" y="1428"/>
                  </a:lnTo>
                  <a:lnTo>
                    <a:pt x="400" y="1394"/>
                  </a:lnTo>
                  <a:lnTo>
                    <a:pt x="390" y="1382"/>
                  </a:lnTo>
                  <a:lnTo>
                    <a:pt x="392" y="1375"/>
                  </a:lnTo>
                  <a:lnTo>
                    <a:pt x="407" y="1369"/>
                  </a:lnTo>
                  <a:lnTo>
                    <a:pt x="417" y="1358"/>
                  </a:lnTo>
                  <a:lnTo>
                    <a:pt x="423" y="1339"/>
                  </a:lnTo>
                  <a:lnTo>
                    <a:pt x="420" y="1318"/>
                  </a:lnTo>
                  <a:lnTo>
                    <a:pt x="400" y="1303"/>
                  </a:lnTo>
                  <a:lnTo>
                    <a:pt x="391" y="1287"/>
                  </a:lnTo>
                  <a:lnTo>
                    <a:pt x="390" y="1267"/>
                  </a:lnTo>
                  <a:lnTo>
                    <a:pt x="391" y="1225"/>
                  </a:lnTo>
                  <a:lnTo>
                    <a:pt x="386" y="1210"/>
                  </a:lnTo>
                  <a:lnTo>
                    <a:pt x="384" y="1206"/>
                  </a:lnTo>
                  <a:lnTo>
                    <a:pt x="384" y="1194"/>
                  </a:lnTo>
                  <a:lnTo>
                    <a:pt x="386" y="1186"/>
                  </a:lnTo>
                  <a:lnTo>
                    <a:pt x="386" y="1166"/>
                  </a:lnTo>
                  <a:lnTo>
                    <a:pt x="390" y="1156"/>
                  </a:lnTo>
                  <a:lnTo>
                    <a:pt x="391" y="1144"/>
                  </a:lnTo>
                  <a:lnTo>
                    <a:pt x="397" y="1134"/>
                  </a:lnTo>
                  <a:lnTo>
                    <a:pt x="392" y="1129"/>
                  </a:lnTo>
                  <a:lnTo>
                    <a:pt x="386" y="1116"/>
                  </a:lnTo>
                  <a:lnTo>
                    <a:pt x="382" y="1097"/>
                  </a:lnTo>
                  <a:lnTo>
                    <a:pt x="387" y="1077"/>
                  </a:lnTo>
                  <a:lnTo>
                    <a:pt x="393" y="1063"/>
                  </a:lnTo>
                  <a:lnTo>
                    <a:pt x="418" y="1032"/>
                  </a:lnTo>
                  <a:lnTo>
                    <a:pt x="435" y="1021"/>
                  </a:lnTo>
                  <a:lnTo>
                    <a:pt x="456" y="1015"/>
                  </a:lnTo>
                  <a:lnTo>
                    <a:pt x="473" y="1018"/>
                  </a:lnTo>
                  <a:lnTo>
                    <a:pt x="488" y="1020"/>
                  </a:lnTo>
                  <a:lnTo>
                    <a:pt x="498" y="1007"/>
                  </a:lnTo>
                  <a:lnTo>
                    <a:pt x="500" y="995"/>
                  </a:lnTo>
                  <a:lnTo>
                    <a:pt x="500" y="976"/>
                  </a:lnTo>
                  <a:lnTo>
                    <a:pt x="494" y="964"/>
                  </a:lnTo>
                  <a:lnTo>
                    <a:pt x="479" y="948"/>
                  </a:lnTo>
                  <a:lnTo>
                    <a:pt x="478" y="939"/>
                  </a:lnTo>
                  <a:lnTo>
                    <a:pt x="498" y="907"/>
                  </a:lnTo>
                  <a:lnTo>
                    <a:pt x="515" y="870"/>
                  </a:lnTo>
                  <a:lnTo>
                    <a:pt x="524" y="820"/>
                  </a:lnTo>
                  <a:lnTo>
                    <a:pt x="525" y="790"/>
                  </a:lnTo>
                  <a:lnTo>
                    <a:pt x="525" y="769"/>
                  </a:lnTo>
                  <a:lnTo>
                    <a:pt x="524" y="754"/>
                  </a:lnTo>
                  <a:lnTo>
                    <a:pt x="531" y="750"/>
                  </a:lnTo>
                  <a:lnTo>
                    <a:pt x="542" y="750"/>
                  </a:lnTo>
                  <a:lnTo>
                    <a:pt x="559" y="736"/>
                  </a:lnTo>
                  <a:lnTo>
                    <a:pt x="564" y="724"/>
                  </a:lnTo>
                  <a:lnTo>
                    <a:pt x="567" y="704"/>
                  </a:lnTo>
                  <a:lnTo>
                    <a:pt x="573" y="688"/>
                  </a:lnTo>
                  <a:lnTo>
                    <a:pt x="596" y="657"/>
                  </a:lnTo>
                  <a:lnTo>
                    <a:pt x="604" y="644"/>
                  </a:lnTo>
                  <a:lnTo>
                    <a:pt x="616" y="629"/>
                  </a:lnTo>
                  <a:lnTo>
                    <a:pt x="622" y="618"/>
                  </a:lnTo>
                  <a:lnTo>
                    <a:pt x="624" y="609"/>
                  </a:lnTo>
                  <a:lnTo>
                    <a:pt x="623" y="596"/>
                  </a:lnTo>
                  <a:lnTo>
                    <a:pt x="610" y="574"/>
                  </a:lnTo>
                  <a:lnTo>
                    <a:pt x="613" y="560"/>
                  </a:lnTo>
                  <a:lnTo>
                    <a:pt x="627" y="543"/>
                  </a:lnTo>
                  <a:lnTo>
                    <a:pt x="633" y="532"/>
                  </a:lnTo>
                  <a:lnTo>
                    <a:pt x="635" y="520"/>
                  </a:lnTo>
                  <a:lnTo>
                    <a:pt x="639" y="503"/>
                  </a:lnTo>
                  <a:lnTo>
                    <a:pt x="648" y="492"/>
                  </a:lnTo>
                  <a:lnTo>
                    <a:pt x="666" y="472"/>
                  </a:lnTo>
                  <a:lnTo>
                    <a:pt x="678" y="469"/>
                  </a:lnTo>
                  <a:lnTo>
                    <a:pt x="691" y="476"/>
                  </a:lnTo>
                  <a:lnTo>
                    <a:pt x="701" y="488"/>
                  </a:lnTo>
                  <a:lnTo>
                    <a:pt x="704" y="490"/>
                  </a:lnTo>
                  <a:lnTo>
                    <a:pt x="714" y="473"/>
                  </a:lnTo>
                  <a:lnTo>
                    <a:pt x="719" y="452"/>
                  </a:lnTo>
                  <a:lnTo>
                    <a:pt x="721" y="442"/>
                  </a:lnTo>
                  <a:lnTo>
                    <a:pt x="719" y="419"/>
                  </a:lnTo>
                  <a:lnTo>
                    <a:pt x="724" y="409"/>
                  </a:lnTo>
                  <a:lnTo>
                    <a:pt x="729" y="404"/>
                  </a:lnTo>
                  <a:lnTo>
                    <a:pt x="739" y="403"/>
                  </a:lnTo>
                  <a:lnTo>
                    <a:pt x="769" y="407"/>
                  </a:lnTo>
                  <a:lnTo>
                    <a:pt x="812" y="423"/>
                  </a:lnTo>
                  <a:lnTo>
                    <a:pt x="821" y="420"/>
                  </a:lnTo>
                  <a:lnTo>
                    <a:pt x="828" y="412"/>
                  </a:lnTo>
                  <a:lnTo>
                    <a:pt x="819" y="403"/>
                  </a:lnTo>
                  <a:lnTo>
                    <a:pt x="817" y="392"/>
                  </a:lnTo>
                  <a:lnTo>
                    <a:pt x="823" y="382"/>
                  </a:lnTo>
                  <a:lnTo>
                    <a:pt x="827" y="366"/>
                  </a:lnTo>
                  <a:lnTo>
                    <a:pt x="831" y="361"/>
                  </a:lnTo>
                  <a:lnTo>
                    <a:pt x="833" y="352"/>
                  </a:lnTo>
                  <a:lnTo>
                    <a:pt x="832" y="342"/>
                  </a:lnTo>
                  <a:lnTo>
                    <a:pt x="827" y="336"/>
                  </a:lnTo>
                  <a:lnTo>
                    <a:pt x="826" y="326"/>
                  </a:lnTo>
                  <a:lnTo>
                    <a:pt x="831" y="323"/>
                  </a:lnTo>
                  <a:lnTo>
                    <a:pt x="854" y="323"/>
                  </a:lnTo>
                  <a:lnTo>
                    <a:pt x="857" y="316"/>
                  </a:lnTo>
                  <a:lnTo>
                    <a:pt x="865" y="313"/>
                  </a:lnTo>
                  <a:lnTo>
                    <a:pt x="874" y="317"/>
                  </a:lnTo>
                  <a:lnTo>
                    <a:pt x="882" y="313"/>
                  </a:lnTo>
                  <a:lnTo>
                    <a:pt x="880" y="302"/>
                  </a:lnTo>
                  <a:lnTo>
                    <a:pt x="879" y="290"/>
                  </a:lnTo>
                  <a:lnTo>
                    <a:pt x="891" y="283"/>
                  </a:lnTo>
                  <a:lnTo>
                    <a:pt x="906" y="289"/>
                  </a:lnTo>
                  <a:lnTo>
                    <a:pt x="917" y="300"/>
                  </a:lnTo>
                  <a:lnTo>
                    <a:pt x="947" y="344"/>
                  </a:lnTo>
                  <a:lnTo>
                    <a:pt x="952" y="363"/>
                  </a:lnTo>
                  <a:lnTo>
                    <a:pt x="957" y="371"/>
                  </a:lnTo>
                  <a:lnTo>
                    <a:pt x="983" y="375"/>
                  </a:lnTo>
                  <a:lnTo>
                    <a:pt x="998" y="383"/>
                  </a:lnTo>
                  <a:lnTo>
                    <a:pt x="1010" y="382"/>
                  </a:lnTo>
                  <a:lnTo>
                    <a:pt x="1025" y="374"/>
                  </a:lnTo>
                  <a:lnTo>
                    <a:pt x="1042" y="353"/>
                  </a:lnTo>
                  <a:lnTo>
                    <a:pt x="1052" y="360"/>
                  </a:lnTo>
                  <a:lnTo>
                    <a:pt x="1061" y="374"/>
                  </a:lnTo>
                  <a:lnTo>
                    <a:pt x="1064" y="382"/>
                  </a:lnTo>
                  <a:lnTo>
                    <a:pt x="1074" y="385"/>
                  </a:lnTo>
                  <a:lnTo>
                    <a:pt x="1090" y="377"/>
                  </a:lnTo>
                  <a:lnTo>
                    <a:pt x="1102" y="368"/>
                  </a:lnTo>
                  <a:lnTo>
                    <a:pt x="1111" y="354"/>
                  </a:lnTo>
                  <a:lnTo>
                    <a:pt x="1137" y="334"/>
                  </a:lnTo>
                  <a:lnTo>
                    <a:pt x="1139" y="322"/>
                  </a:lnTo>
                  <a:lnTo>
                    <a:pt x="1137" y="299"/>
                  </a:lnTo>
                  <a:lnTo>
                    <a:pt x="1137" y="285"/>
                  </a:lnTo>
                  <a:lnTo>
                    <a:pt x="1140" y="243"/>
                  </a:lnTo>
                  <a:lnTo>
                    <a:pt x="1154" y="212"/>
                  </a:lnTo>
                  <a:lnTo>
                    <a:pt x="1164" y="199"/>
                  </a:lnTo>
                  <a:lnTo>
                    <a:pt x="1177" y="192"/>
                  </a:lnTo>
                  <a:lnTo>
                    <a:pt x="1202" y="189"/>
                  </a:lnTo>
                  <a:lnTo>
                    <a:pt x="1240" y="172"/>
                  </a:lnTo>
                  <a:lnTo>
                    <a:pt x="1263" y="167"/>
                  </a:lnTo>
                  <a:lnTo>
                    <a:pt x="1268" y="172"/>
                  </a:lnTo>
                  <a:lnTo>
                    <a:pt x="1278" y="193"/>
                  </a:lnTo>
                  <a:lnTo>
                    <a:pt x="1289" y="202"/>
                  </a:lnTo>
                  <a:lnTo>
                    <a:pt x="1307" y="208"/>
                  </a:lnTo>
                  <a:lnTo>
                    <a:pt x="1325" y="225"/>
                  </a:lnTo>
                  <a:lnTo>
                    <a:pt x="1332" y="253"/>
                  </a:lnTo>
                  <a:lnTo>
                    <a:pt x="1333" y="269"/>
                  </a:lnTo>
                  <a:lnTo>
                    <a:pt x="1314" y="294"/>
                  </a:lnTo>
                  <a:lnTo>
                    <a:pt x="1310" y="306"/>
                  </a:lnTo>
                  <a:lnTo>
                    <a:pt x="1311" y="317"/>
                  </a:lnTo>
                  <a:lnTo>
                    <a:pt x="1321" y="325"/>
                  </a:lnTo>
                  <a:lnTo>
                    <a:pt x="1323" y="323"/>
                  </a:lnTo>
                  <a:lnTo>
                    <a:pt x="1332" y="315"/>
                  </a:lnTo>
                  <a:lnTo>
                    <a:pt x="1333" y="311"/>
                  </a:lnTo>
                  <a:lnTo>
                    <a:pt x="1334" y="300"/>
                  </a:lnTo>
                  <a:lnTo>
                    <a:pt x="1337" y="295"/>
                  </a:lnTo>
                  <a:lnTo>
                    <a:pt x="1369" y="275"/>
                  </a:lnTo>
                  <a:lnTo>
                    <a:pt x="1375" y="269"/>
                  </a:lnTo>
                  <a:lnTo>
                    <a:pt x="1381" y="239"/>
                  </a:lnTo>
                  <a:lnTo>
                    <a:pt x="1403" y="252"/>
                  </a:lnTo>
                  <a:lnTo>
                    <a:pt x="1416" y="250"/>
                  </a:lnTo>
                  <a:lnTo>
                    <a:pt x="1418" y="243"/>
                  </a:lnTo>
                  <a:lnTo>
                    <a:pt x="1422" y="231"/>
                  </a:lnTo>
                  <a:lnTo>
                    <a:pt x="1422" y="220"/>
                  </a:lnTo>
                  <a:lnTo>
                    <a:pt x="1419" y="216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67" name="Freeform 223">
              <a:extLst>
                <a:ext uri="{FF2B5EF4-FFF2-40B4-BE49-F238E27FC236}">
                  <a16:creationId xmlns:a16="http://schemas.microsoft.com/office/drawing/2014/main" id="{5ED6C351-731D-4442-A433-7028B2CEB8C4}"/>
                </a:ext>
              </a:extLst>
            </p:cNvPr>
            <p:cNvSpPr>
              <a:spLocks/>
            </p:cNvSpPr>
            <p:nvPr/>
          </p:nvSpPr>
          <p:spPr bwMode="gray">
            <a:xfrm>
              <a:off x="4571372" y="1164611"/>
              <a:ext cx="251140" cy="577557"/>
            </a:xfrm>
            <a:custGeom>
              <a:avLst/>
              <a:gdLst>
                <a:gd name="T0" fmla="*/ 1336 w 715"/>
                <a:gd name="T1" fmla="*/ 110201 h 1640"/>
                <a:gd name="T2" fmla="*/ 2227 w 715"/>
                <a:gd name="T3" fmla="*/ 111023 h 1640"/>
                <a:gd name="T4" fmla="*/ 4009 w 715"/>
                <a:gd name="T5" fmla="*/ 114724 h 1640"/>
                <a:gd name="T6" fmla="*/ 4900 w 715"/>
                <a:gd name="T7" fmla="*/ 120892 h 1640"/>
                <a:gd name="T8" fmla="*/ 8018 w 715"/>
                <a:gd name="T9" fmla="*/ 126649 h 1640"/>
                <a:gd name="T10" fmla="*/ 8018 w 715"/>
                <a:gd name="T11" fmla="*/ 131172 h 1640"/>
                <a:gd name="T12" fmla="*/ 9354 w 715"/>
                <a:gd name="T13" fmla="*/ 134462 h 1640"/>
                <a:gd name="T14" fmla="*/ 15145 w 715"/>
                <a:gd name="T15" fmla="*/ 131583 h 1640"/>
                <a:gd name="T16" fmla="*/ 20045 w 715"/>
                <a:gd name="T17" fmla="*/ 128705 h 1640"/>
                <a:gd name="T18" fmla="*/ 25390 w 715"/>
                <a:gd name="T19" fmla="*/ 122126 h 1640"/>
                <a:gd name="T20" fmla="*/ 26726 w 715"/>
                <a:gd name="T21" fmla="*/ 115547 h 1640"/>
                <a:gd name="T22" fmla="*/ 26726 w 715"/>
                <a:gd name="T23" fmla="*/ 113491 h 1640"/>
                <a:gd name="T24" fmla="*/ 25835 w 715"/>
                <a:gd name="T25" fmla="*/ 109379 h 1640"/>
                <a:gd name="T26" fmla="*/ 24499 w 715"/>
                <a:gd name="T27" fmla="*/ 107734 h 1640"/>
                <a:gd name="T28" fmla="*/ 31181 w 715"/>
                <a:gd name="T29" fmla="*/ 105267 h 1640"/>
                <a:gd name="T30" fmla="*/ 34744 w 715"/>
                <a:gd name="T31" fmla="*/ 102388 h 1640"/>
                <a:gd name="T32" fmla="*/ 30290 w 715"/>
                <a:gd name="T33" fmla="*/ 101977 h 1640"/>
                <a:gd name="T34" fmla="*/ 25835 w 715"/>
                <a:gd name="T35" fmla="*/ 100332 h 1640"/>
                <a:gd name="T36" fmla="*/ 30290 w 715"/>
                <a:gd name="T37" fmla="*/ 100332 h 1640"/>
                <a:gd name="T38" fmla="*/ 32962 w 715"/>
                <a:gd name="T39" fmla="*/ 101155 h 1640"/>
                <a:gd name="T40" fmla="*/ 35189 w 715"/>
                <a:gd name="T41" fmla="*/ 93753 h 1640"/>
                <a:gd name="T42" fmla="*/ 31181 w 715"/>
                <a:gd name="T43" fmla="*/ 90463 h 1640"/>
                <a:gd name="T44" fmla="*/ 27617 w 715"/>
                <a:gd name="T45" fmla="*/ 94575 h 1640"/>
                <a:gd name="T46" fmla="*/ 28508 w 715"/>
                <a:gd name="T47" fmla="*/ 92519 h 1640"/>
                <a:gd name="T48" fmla="*/ 29399 w 715"/>
                <a:gd name="T49" fmla="*/ 87174 h 1640"/>
                <a:gd name="T50" fmla="*/ 30735 w 715"/>
                <a:gd name="T51" fmla="*/ 80595 h 1640"/>
                <a:gd name="T52" fmla="*/ 30290 w 715"/>
                <a:gd name="T53" fmla="*/ 72371 h 1640"/>
                <a:gd name="T54" fmla="*/ 32962 w 715"/>
                <a:gd name="T55" fmla="*/ 69904 h 1640"/>
                <a:gd name="T56" fmla="*/ 35189 w 715"/>
                <a:gd name="T57" fmla="*/ 69081 h 1640"/>
                <a:gd name="T58" fmla="*/ 36526 w 715"/>
                <a:gd name="T59" fmla="*/ 66614 h 1640"/>
                <a:gd name="T60" fmla="*/ 40089 w 715"/>
                <a:gd name="T61" fmla="*/ 62913 h 1640"/>
                <a:gd name="T62" fmla="*/ 44989 w 715"/>
                <a:gd name="T63" fmla="*/ 60446 h 1640"/>
                <a:gd name="T64" fmla="*/ 49443 w 715"/>
                <a:gd name="T65" fmla="*/ 54689 h 1640"/>
                <a:gd name="T66" fmla="*/ 50780 w 715"/>
                <a:gd name="T67" fmla="*/ 52633 h 1640"/>
                <a:gd name="T68" fmla="*/ 48998 w 715"/>
                <a:gd name="T69" fmla="*/ 48933 h 1640"/>
                <a:gd name="T70" fmla="*/ 50780 w 715"/>
                <a:gd name="T71" fmla="*/ 43176 h 1640"/>
                <a:gd name="T72" fmla="*/ 53007 w 715"/>
                <a:gd name="T73" fmla="*/ 41531 h 1640"/>
                <a:gd name="T74" fmla="*/ 54789 w 715"/>
                <a:gd name="T75" fmla="*/ 40709 h 1640"/>
                <a:gd name="T76" fmla="*/ 56125 w 715"/>
                <a:gd name="T77" fmla="*/ 37830 h 1640"/>
                <a:gd name="T78" fmla="*/ 58798 w 715"/>
                <a:gd name="T79" fmla="*/ 39064 h 1640"/>
                <a:gd name="T80" fmla="*/ 63252 w 715"/>
                <a:gd name="T81" fmla="*/ 37008 h 1640"/>
                <a:gd name="T82" fmla="*/ 61025 w 715"/>
                <a:gd name="T83" fmla="*/ 24261 h 1640"/>
                <a:gd name="T84" fmla="*/ 61025 w 715"/>
                <a:gd name="T85" fmla="*/ 15214 h 1640"/>
                <a:gd name="T86" fmla="*/ 47216 w 715"/>
                <a:gd name="T87" fmla="*/ 411 h 1640"/>
                <a:gd name="T88" fmla="*/ 44544 w 715"/>
                <a:gd name="T89" fmla="*/ 2467 h 1640"/>
                <a:gd name="T90" fmla="*/ 43653 w 715"/>
                <a:gd name="T91" fmla="*/ 7813 h 1640"/>
                <a:gd name="T92" fmla="*/ 34744 w 715"/>
                <a:gd name="T93" fmla="*/ 9869 h 1640"/>
                <a:gd name="T94" fmla="*/ 29844 w 715"/>
                <a:gd name="T95" fmla="*/ 12336 h 1640"/>
                <a:gd name="T96" fmla="*/ 24944 w 715"/>
                <a:gd name="T97" fmla="*/ 20560 h 1640"/>
                <a:gd name="T98" fmla="*/ 21381 w 715"/>
                <a:gd name="T99" fmla="*/ 30017 h 1640"/>
                <a:gd name="T100" fmla="*/ 17372 w 715"/>
                <a:gd name="T101" fmla="*/ 36597 h 1640"/>
                <a:gd name="T102" fmla="*/ 14699 w 715"/>
                <a:gd name="T103" fmla="*/ 52633 h 1640"/>
                <a:gd name="T104" fmla="*/ 9354 w 715"/>
                <a:gd name="T105" fmla="*/ 57156 h 1640"/>
                <a:gd name="T106" fmla="*/ 5791 w 715"/>
                <a:gd name="T107" fmla="*/ 66614 h 1640"/>
                <a:gd name="T108" fmla="*/ 4900 w 715"/>
                <a:gd name="T109" fmla="*/ 72782 h 1640"/>
                <a:gd name="T110" fmla="*/ 7572 w 715"/>
                <a:gd name="T111" fmla="*/ 85118 h 1640"/>
                <a:gd name="T112" fmla="*/ 6682 w 715"/>
                <a:gd name="T113" fmla="*/ 94164 h 1640"/>
                <a:gd name="T114" fmla="*/ 2673 w 715"/>
                <a:gd name="T115" fmla="*/ 101977 h 164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15"/>
                <a:gd name="T175" fmla="*/ 0 h 1640"/>
                <a:gd name="T176" fmla="*/ 715 w 715"/>
                <a:gd name="T177" fmla="*/ 1640 h 164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15" h="1640">
                  <a:moveTo>
                    <a:pt x="6" y="1264"/>
                  </a:moveTo>
                  <a:lnTo>
                    <a:pt x="0" y="1276"/>
                  </a:lnTo>
                  <a:lnTo>
                    <a:pt x="0" y="1288"/>
                  </a:lnTo>
                  <a:lnTo>
                    <a:pt x="5" y="1328"/>
                  </a:lnTo>
                  <a:lnTo>
                    <a:pt x="7" y="1333"/>
                  </a:lnTo>
                  <a:lnTo>
                    <a:pt x="12" y="1335"/>
                  </a:lnTo>
                  <a:lnTo>
                    <a:pt x="13" y="1339"/>
                  </a:lnTo>
                  <a:lnTo>
                    <a:pt x="15" y="1346"/>
                  </a:lnTo>
                  <a:lnTo>
                    <a:pt x="13" y="1350"/>
                  </a:lnTo>
                  <a:lnTo>
                    <a:pt x="19" y="1343"/>
                  </a:lnTo>
                  <a:lnTo>
                    <a:pt x="21" y="1335"/>
                  </a:lnTo>
                  <a:lnTo>
                    <a:pt x="26" y="1340"/>
                  </a:lnTo>
                  <a:lnTo>
                    <a:pt x="22" y="1350"/>
                  </a:lnTo>
                  <a:lnTo>
                    <a:pt x="27" y="1349"/>
                  </a:lnTo>
                  <a:lnTo>
                    <a:pt x="29" y="1351"/>
                  </a:lnTo>
                  <a:lnTo>
                    <a:pt x="24" y="1355"/>
                  </a:lnTo>
                  <a:lnTo>
                    <a:pt x="17" y="1366"/>
                  </a:lnTo>
                  <a:lnTo>
                    <a:pt x="33" y="1371"/>
                  </a:lnTo>
                  <a:lnTo>
                    <a:pt x="35" y="1381"/>
                  </a:lnTo>
                  <a:lnTo>
                    <a:pt x="33" y="1398"/>
                  </a:lnTo>
                  <a:lnTo>
                    <a:pt x="43" y="1396"/>
                  </a:lnTo>
                  <a:lnTo>
                    <a:pt x="45" y="1407"/>
                  </a:lnTo>
                  <a:lnTo>
                    <a:pt x="39" y="1415"/>
                  </a:lnTo>
                  <a:lnTo>
                    <a:pt x="42" y="1431"/>
                  </a:lnTo>
                  <a:lnTo>
                    <a:pt x="40" y="1442"/>
                  </a:lnTo>
                  <a:lnTo>
                    <a:pt x="49" y="1442"/>
                  </a:lnTo>
                  <a:lnTo>
                    <a:pt x="54" y="1456"/>
                  </a:lnTo>
                  <a:lnTo>
                    <a:pt x="56" y="1468"/>
                  </a:lnTo>
                  <a:lnTo>
                    <a:pt x="62" y="1487"/>
                  </a:lnTo>
                  <a:lnTo>
                    <a:pt x="74" y="1496"/>
                  </a:lnTo>
                  <a:lnTo>
                    <a:pt x="78" y="1509"/>
                  </a:lnTo>
                  <a:lnTo>
                    <a:pt x="91" y="1516"/>
                  </a:lnTo>
                  <a:lnTo>
                    <a:pt x="98" y="1526"/>
                  </a:lnTo>
                  <a:lnTo>
                    <a:pt x="98" y="1534"/>
                  </a:lnTo>
                  <a:lnTo>
                    <a:pt x="92" y="1538"/>
                  </a:lnTo>
                  <a:lnTo>
                    <a:pt x="85" y="1537"/>
                  </a:lnTo>
                  <a:lnTo>
                    <a:pt x="82" y="1541"/>
                  </a:lnTo>
                  <a:lnTo>
                    <a:pt x="89" y="1557"/>
                  </a:lnTo>
                  <a:lnTo>
                    <a:pt x="82" y="1555"/>
                  </a:lnTo>
                  <a:lnTo>
                    <a:pt x="75" y="1553"/>
                  </a:lnTo>
                  <a:lnTo>
                    <a:pt x="75" y="1559"/>
                  </a:lnTo>
                  <a:lnTo>
                    <a:pt x="91" y="1593"/>
                  </a:lnTo>
                  <a:lnTo>
                    <a:pt x="98" y="1604"/>
                  </a:lnTo>
                  <a:lnTo>
                    <a:pt x="102" y="1614"/>
                  </a:lnTo>
                  <a:lnTo>
                    <a:pt x="99" y="1620"/>
                  </a:lnTo>
                  <a:lnTo>
                    <a:pt x="98" y="1631"/>
                  </a:lnTo>
                  <a:lnTo>
                    <a:pt x="94" y="1633"/>
                  </a:lnTo>
                  <a:lnTo>
                    <a:pt x="93" y="1638"/>
                  </a:lnTo>
                  <a:lnTo>
                    <a:pt x="107" y="1636"/>
                  </a:lnTo>
                  <a:lnTo>
                    <a:pt x="118" y="1640"/>
                  </a:lnTo>
                  <a:lnTo>
                    <a:pt x="136" y="1634"/>
                  </a:lnTo>
                  <a:lnTo>
                    <a:pt x="152" y="1633"/>
                  </a:lnTo>
                  <a:lnTo>
                    <a:pt x="163" y="1638"/>
                  </a:lnTo>
                  <a:lnTo>
                    <a:pt x="168" y="1634"/>
                  </a:lnTo>
                  <a:lnTo>
                    <a:pt x="172" y="1620"/>
                  </a:lnTo>
                  <a:lnTo>
                    <a:pt x="169" y="1598"/>
                  </a:lnTo>
                  <a:lnTo>
                    <a:pt x="174" y="1585"/>
                  </a:lnTo>
                  <a:lnTo>
                    <a:pt x="180" y="1574"/>
                  </a:lnTo>
                  <a:lnTo>
                    <a:pt x="189" y="1576"/>
                  </a:lnTo>
                  <a:lnTo>
                    <a:pt x="194" y="1566"/>
                  </a:lnTo>
                  <a:lnTo>
                    <a:pt x="204" y="1559"/>
                  </a:lnTo>
                  <a:lnTo>
                    <a:pt x="218" y="1560"/>
                  </a:lnTo>
                  <a:lnTo>
                    <a:pt x="227" y="1564"/>
                  </a:lnTo>
                  <a:lnTo>
                    <a:pt x="238" y="1560"/>
                  </a:lnTo>
                  <a:lnTo>
                    <a:pt x="250" y="1564"/>
                  </a:lnTo>
                  <a:lnTo>
                    <a:pt x="261" y="1564"/>
                  </a:lnTo>
                  <a:lnTo>
                    <a:pt x="266" y="1544"/>
                  </a:lnTo>
                  <a:lnTo>
                    <a:pt x="276" y="1522"/>
                  </a:lnTo>
                  <a:lnTo>
                    <a:pt x="285" y="1505"/>
                  </a:lnTo>
                  <a:lnTo>
                    <a:pt x="286" y="1484"/>
                  </a:lnTo>
                  <a:lnTo>
                    <a:pt x="291" y="1472"/>
                  </a:lnTo>
                  <a:lnTo>
                    <a:pt x="290" y="1457"/>
                  </a:lnTo>
                  <a:lnTo>
                    <a:pt x="293" y="1446"/>
                  </a:lnTo>
                  <a:lnTo>
                    <a:pt x="298" y="1435"/>
                  </a:lnTo>
                  <a:lnTo>
                    <a:pt x="298" y="1424"/>
                  </a:lnTo>
                  <a:lnTo>
                    <a:pt x="295" y="1418"/>
                  </a:lnTo>
                  <a:lnTo>
                    <a:pt x="300" y="1407"/>
                  </a:lnTo>
                  <a:lnTo>
                    <a:pt x="298" y="1398"/>
                  </a:lnTo>
                  <a:lnTo>
                    <a:pt x="293" y="1392"/>
                  </a:lnTo>
                  <a:lnTo>
                    <a:pt x="292" y="1386"/>
                  </a:lnTo>
                  <a:lnTo>
                    <a:pt x="293" y="1382"/>
                  </a:lnTo>
                  <a:lnTo>
                    <a:pt x="300" y="1385"/>
                  </a:lnTo>
                  <a:lnTo>
                    <a:pt x="304" y="1385"/>
                  </a:lnTo>
                  <a:lnTo>
                    <a:pt x="301" y="1378"/>
                  </a:lnTo>
                  <a:lnTo>
                    <a:pt x="302" y="1374"/>
                  </a:lnTo>
                  <a:lnTo>
                    <a:pt x="304" y="1367"/>
                  </a:lnTo>
                  <a:lnTo>
                    <a:pt x="304" y="1362"/>
                  </a:lnTo>
                  <a:lnTo>
                    <a:pt x="307" y="1345"/>
                  </a:lnTo>
                  <a:lnTo>
                    <a:pt x="306" y="1340"/>
                  </a:lnTo>
                  <a:lnTo>
                    <a:pt x="297" y="1334"/>
                  </a:lnTo>
                  <a:lnTo>
                    <a:pt x="288" y="1329"/>
                  </a:lnTo>
                  <a:lnTo>
                    <a:pt x="291" y="1328"/>
                  </a:lnTo>
                  <a:lnTo>
                    <a:pt x="300" y="1332"/>
                  </a:lnTo>
                  <a:lnTo>
                    <a:pt x="309" y="1329"/>
                  </a:lnTo>
                  <a:lnTo>
                    <a:pt x="312" y="1326"/>
                  </a:lnTo>
                  <a:lnTo>
                    <a:pt x="302" y="1317"/>
                  </a:lnTo>
                  <a:lnTo>
                    <a:pt x="274" y="1312"/>
                  </a:lnTo>
                  <a:lnTo>
                    <a:pt x="276" y="1310"/>
                  </a:lnTo>
                  <a:lnTo>
                    <a:pt x="298" y="1307"/>
                  </a:lnTo>
                  <a:lnTo>
                    <a:pt x="311" y="1311"/>
                  </a:lnTo>
                  <a:lnTo>
                    <a:pt x="318" y="1307"/>
                  </a:lnTo>
                  <a:lnTo>
                    <a:pt x="320" y="1299"/>
                  </a:lnTo>
                  <a:lnTo>
                    <a:pt x="334" y="1297"/>
                  </a:lnTo>
                  <a:lnTo>
                    <a:pt x="345" y="1286"/>
                  </a:lnTo>
                  <a:lnTo>
                    <a:pt x="350" y="1279"/>
                  </a:lnTo>
                  <a:lnTo>
                    <a:pt x="350" y="1268"/>
                  </a:lnTo>
                  <a:lnTo>
                    <a:pt x="359" y="1270"/>
                  </a:lnTo>
                  <a:lnTo>
                    <a:pt x="359" y="1281"/>
                  </a:lnTo>
                  <a:lnTo>
                    <a:pt x="371" y="1280"/>
                  </a:lnTo>
                  <a:lnTo>
                    <a:pt x="378" y="1268"/>
                  </a:lnTo>
                  <a:lnTo>
                    <a:pt x="392" y="1256"/>
                  </a:lnTo>
                  <a:lnTo>
                    <a:pt x="389" y="1243"/>
                  </a:lnTo>
                  <a:lnTo>
                    <a:pt x="394" y="1248"/>
                  </a:lnTo>
                  <a:lnTo>
                    <a:pt x="400" y="1248"/>
                  </a:lnTo>
                  <a:lnTo>
                    <a:pt x="400" y="1242"/>
                  </a:lnTo>
                  <a:lnTo>
                    <a:pt x="406" y="1237"/>
                  </a:lnTo>
                  <a:lnTo>
                    <a:pt x="405" y="1232"/>
                  </a:lnTo>
                  <a:lnTo>
                    <a:pt x="352" y="1243"/>
                  </a:lnTo>
                  <a:lnTo>
                    <a:pt x="341" y="1241"/>
                  </a:lnTo>
                  <a:lnTo>
                    <a:pt x="336" y="1245"/>
                  </a:lnTo>
                  <a:lnTo>
                    <a:pt x="334" y="1238"/>
                  </a:lnTo>
                  <a:lnTo>
                    <a:pt x="328" y="1232"/>
                  </a:lnTo>
                  <a:lnTo>
                    <a:pt x="303" y="1222"/>
                  </a:lnTo>
                  <a:lnTo>
                    <a:pt x="290" y="1225"/>
                  </a:lnTo>
                  <a:lnTo>
                    <a:pt x="284" y="1221"/>
                  </a:lnTo>
                  <a:lnTo>
                    <a:pt x="290" y="1219"/>
                  </a:lnTo>
                  <a:lnTo>
                    <a:pt x="293" y="1211"/>
                  </a:lnTo>
                  <a:lnTo>
                    <a:pt x="300" y="1214"/>
                  </a:lnTo>
                  <a:lnTo>
                    <a:pt x="308" y="1211"/>
                  </a:lnTo>
                  <a:lnTo>
                    <a:pt x="320" y="1213"/>
                  </a:lnTo>
                  <a:lnTo>
                    <a:pt x="322" y="1211"/>
                  </a:lnTo>
                  <a:lnTo>
                    <a:pt x="331" y="1221"/>
                  </a:lnTo>
                  <a:lnTo>
                    <a:pt x="338" y="1218"/>
                  </a:lnTo>
                  <a:lnTo>
                    <a:pt x="339" y="1214"/>
                  </a:lnTo>
                  <a:lnTo>
                    <a:pt x="345" y="1220"/>
                  </a:lnTo>
                  <a:lnTo>
                    <a:pt x="352" y="1222"/>
                  </a:lnTo>
                  <a:lnTo>
                    <a:pt x="356" y="1216"/>
                  </a:lnTo>
                  <a:lnTo>
                    <a:pt x="359" y="1220"/>
                  </a:lnTo>
                  <a:lnTo>
                    <a:pt x="363" y="1230"/>
                  </a:lnTo>
                  <a:lnTo>
                    <a:pt x="371" y="1232"/>
                  </a:lnTo>
                  <a:lnTo>
                    <a:pt x="403" y="1216"/>
                  </a:lnTo>
                  <a:lnTo>
                    <a:pt x="414" y="1198"/>
                  </a:lnTo>
                  <a:lnTo>
                    <a:pt x="419" y="1193"/>
                  </a:lnTo>
                  <a:lnTo>
                    <a:pt x="422" y="1176"/>
                  </a:lnTo>
                  <a:lnTo>
                    <a:pt x="416" y="1161"/>
                  </a:lnTo>
                  <a:lnTo>
                    <a:pt x="404" y="1152"/>
                  </a:lnTo>
                  <a:lnTo>
                    <a:pt x="394" y="1138"/>
                  </a:lnTo>
                  <a:lnTo>
                    <a:pt x="403" y="1136"/>
                  </a:lnTo>
                  <a:lnTo>
                    <a:pt x="402" y="1133"/>
                  </a:lnTo>
                  <a:lnTo>
                    <a:pt x="381" y="1123"/>
                  </a:lnTo>
                  <a:lnTo>
                    <a:pt x="379" y="1113"/>
                  </a:lnTo>
                  <a:lnTo>
                    <a:pt x="374" y="1103"/>
                  </a:lnTo>
                  <a:lnTo>
                    <a:pt x="357" y="1106"/>
                  </a:lnTo>
                  <a:lnTo>
                    <a:pt x="352" y="1100"/>
                  </a:lnTo>
                  <a:lnTo>
                    <a:pt x="351" y="1096"/>
                  </a:lnTo>
                  <a:lnTo>
                    <a:pt x="347" y="1095"/>
                  </a:lnTo>
                  <a:lnTo>
                    <a:pt x="347" y="1098"/>
                  </a:lnTo>
                  <a:lnTo>
                    <a:pt x="341" y="1118"/>
                  </a:lnTo>
                  <a:lnTo>
                    <a:pt x="333" y="1129"/>
                  </a:lnTo>
                  <a:lnTo>
                    <a:pt x="314" y="1143"/>
                  </a:lnTo>
                  <a:lnTo>
                    <a:pt x="308" y="1148"/>
                  </a:lnTo>
                  <a:lnTo>
                    <a:pt x="298" y="1148"/>
                  </a:lnTo>
                  <a:lnTo>
                    <a:pt x="287" y="1151"/>
                  </a:lnTo>
                  <a:lnTo>
                    <a:pt x="280" y="1149"/>
                  </a:lnTo>
                  <a:lnTo>
                    <a:pt x="288" y="1143"/>
                  </a:lnTo>
                  <a:lnTo>
                    <a:pt x="300" y="1140"/>
                  </a:lnTo>
                  <a:lnTo>
                    <a:pt x="309" y="1132"/>
                  </a:lnTo>
                  <a:lnTo>
                    <a:pt x="319" y="1127"/>
                  </a:lnTo>
                  <a:lnTo>
                    <a:pt x="336" y="1112"/>
                  </a:lnTo>
                  <a:lnTo>
                    <a:pt x="339" y="1102"/>
                  </a:lnTo>
                  <a:lnTo>
                    <a:pt x="339" y="1089"/>
                  </a:lnTo>
                  <a:lnTo>
                    <a:pt x="330" y="1087"/>
                  </a:lnTo>
                  <a:lnTo>
                    <a:pt x="334" y="1080"/>
                  </a:lnTo>
                  <a:lnTo>
                    <a:pt x="335" y="1069"/>
                  </a:lnTo>
                  <a:lnTo>
                    <a:pt x="331" y="1060"/>
                  </a:lnTo>
                  <a:lnTo>
                    <a:pt x="328" y="1032"/>
                  </a:lnTo>
                  <a:lnTo>
                    <a:pt x="329" y="1015"/>
                  </a:lnTo>
                  <a:lnTo>
                    <a:pt x="325" y="992"/>
                  </a:lnTo>
                  <a:lnTo>
                    <a:pt x="327" y="985"/>
                  </a:lnTo>
                  <a:lnTo>
                    <a:pt x="330" y="977"/>
                  </a:lnTo>
                  <a:lnTo>
                    <a:pt x="329" y="971"/>
                  </a:lnTo>
                  <a:lnTo>
                    <a:pt x="344" y="979"/>
                  </a:lnTo>
                  <a:lnTo>
                    <a:pt x="345" y="971"/>
                  </a:lnTo>
                  <a:lnTo>
                    <a:pt x="340" y="950"/>
                  </a:lnTo>
                  <a:lnTo>
                    <a:pt x="345" y="928"/>
                  </a:lnTo>
                  <a:lnTo>
                    <a:pt x="350" y="910"/>
                  </a:lnTo>
                  <a:lnTo>
                    <a:pt x="343" y="901"/>
                  </a:lnTo>
                  <a:lnTo>
                    <a:pt x="340" y="892"/>
                  </a:lnTo>
                  <a:lnTo>
                    <a:pt x="340" y="879"/>
                  </a:lnTo>
                  <a:lnTo>
                    <a:pt x="356" y="887"/>
                  </a:lnTo>
                  <a:lnTo>
                    <a:pt x="357" y="885"/>
                  </a:lnTo>
                  <a:lnTo>
                    <a:pt x="361" y="881"/>
                  </a:lnTo>
                  <a:lnTo>
                    <a:pt x="367" y="872"/>
                  </a:lnTo>
                  <a:lnTo>
                    <a:pt x="368" y="870"/>
                  </a:lnTo>
                  <a:lnTo>
                    <a:pt x="367" y="866"/>
                  </a:lnTo>
                  <a:lnTo>
                    <a:pt x="370" y="850"/>
                  </a:lnTo>
                  <a:lnTo>
                    <a:pt x="365" y="839"/>
                  </a:lnTo>
                  <a:lnTo>
                    <a:pt x="366" y="831"/>
                  </a:lnTo>
                  <a:lnTo>
                    <a:pt x="368" y="840"/>
                  </a:lnTo>
                  <a:lnTo>
                    <a:pt x="377" y="848"/>
                  </a:lnTo>
                  <a:lnTo>
                    <a:pt x="381" y="847"/>
                  </a:lnTo>
                  <a:lnTo>
                    <a:pt x="386" y="837"/>
                  </a:lnTo>
                  <a:lnTo>
                    <a:pt x="393" y="840"/>
                  </a:lnTo>
                  <a:lnTo>
                    <a:pt x="394" y="833"/>
                  </a:lnTo>
                  <a:lnTo>
                    <a:pt x="398" y="827"/>
                  </a:lnTo>
                  <a:lnTo>
                    <a:pt x="387" y="822"/>
                  </a:lnTo>
                  <a:lnTo>
                    <a:pt x="394" y="823"/>
                  </a:lnTo>
                  <a:lnTo>
                    <a:pt x="403" y="817"/>
                  </a:lnTo>
                  <a:lnTo>
                    <a:pt x="403" y="812"/>
                  </a:lnTo>
                  <a:lnTo>
                    <a:pt x="410" y="809"/>
                  </a:lnTo>
                  <a:lnTo>
                    <a:pt x="411" y="799"/>
                  </a:lnTo>
                  <a:lnTo>
                    <a:pt x="417" y="796"/>
                  </a:lnTo>
                  <a:lnTo>
                    <a:pt x="417" y="784"/>
                  </a:lnTo>
                  <a:lnTo>
                    <a:pt x="425" y="783"/>
                  </a:lnTo>
                  <a:lnTo>
                    <a:pt x="435" y="785"/>
                  </a:lnTo>
                  <a:lnTo>
                    <a:pt x="446" y="775"/>
                  </a:lnTo>
                  <a:lnTo>
                    <a:pt x="449" y="764"/>
                  </a:lnTo>
                  <a:lnTo>
                    <a:pt x="464" y="753"/>
                  </a:lnTo>
                  <a:lnTo>
                    <a:pt x="470" y="761"/>
                  </a:lnTo>
                  <a:lnTo>
                    <a:pt x="481" y="753"/>
                  </a:lnTo>
                  <a:lnTo>
                    <a:pt x="484" y="743"/>
                  </a:lnTo>
                  <a:lnTo>
                    <a:pt x="492" y="737"/>
                  </a:lnTo>
                  <a:lnTo>
                    <a:pt x="500" y="740"/>
                  </a:lnTo>
                  <a:lnTo>
                    <a:pt x="503" y="735"/>
                  </a:lnTo>
                  <a:lnTo>
                    <a:pt x="516" y="727"/>
                  </a:lnTo>
                  <a:lnTo>
                    <a:pt x="521" y="719"/>
                  </a:lnTo>
                  <a:lnTo>
                    <a:pt x="528" y="715"/>
                  </a:lnTo>
                  <a:lnTo>
                    <a:pt x="535" y="699"/>
                  </a:lnTo>
                  <a:lnTo>
                    <a:pt x="538" y="691"/>
                  </a:lnTo>
                  <a:lnTo>
                    <a:pt x="549" y="677"/>
                  </a:lnTo>
                  <a:lnTo>
                    <a:pt x="555" y="664"/>
                  </a:lnTo>
                  <a:lnTo>
                    <a:pt x="562" y="651"/>
                  </a:lnTo>
                  <a:lnTo>
                    <a:pt x="566" y="646"/>
                  </a:lnTo>
                  <a:lnTo>
                    <a:pt x="567" y="651"/>
                  </a:lnTo>
                  <a:lnTo>
                    <a:pt x="566" y="662"/>
                  </a:lnTo>
                  <a:lnTo>
                    <a:pt x="576" y="649"/>
                  </a:lnTo>
                  <a:lnTo>
                    <a:pt x="577" y="644"/>
                  </a:lnTo>
                  <a:lnTo>
                    <a:pt x="572" y="639"/>
                  </a:lnTo>
                  <a:lnTo>
                    <a:pt x="571" y="633"/>
                  </a:lnTo>
                  <a:lnTo>
                    <a:pt x="556" y="618"/>
                  </a:lnTo>
                  <a:lnTo>
                    <a:pt x="555" y="612"/>
                  </a:lnTo>
                  <a:lnTo>
                    <a:pt x="558" y="610"/>
                  </a:lnTo>
                  <a:lnTo>
                    <a:pt x="556" y="602"/>
                  </a:lnTo>
                  <a:lnTo>
                    <a:pt x="551" y="596"/>
                  </a:lnTo>
                  <a:lnTo>
                    <a:pt x="551" y="594"/>
                  </a:lnTo>
                  <a:lnTo>
                    <a:pt x="556" y="589"/>
                  </a:lnTo>
                  <a:lnTo>
                    <a:pt x="558" y="582"/>
                  </a:lnTo>
                  <a:lnTo>
                    <a:pt x="566" y="579"/>
                  </a:lnTo>
                  <a:lnTo>
                    <a:pt x="576" y="554"/>
                  </a:lnTo>
                  <a:lnTo>
                    <a:pt x="577" y="547"/>
                  </a:lnTo>
                  <a:lnTo>
                    <a:pt x="567" y="530"/>
                  </a:lnTo>
                  <a:lnTo>
                    <a:pt x="569" y="527"/>
                  </a:lnTo>
                  <a:lnTo>
                    <a:pt x="580" y="520"/>
                  </a:lnTo>
                  <a:lnTo>
                    <a:pt x="580" y="512"/>
                  </a:lnTo>
                  <a:lnTo>
                    <a:pt x="585" y="511"/>
                  </a:lnTo>
                  <a:lnTo>
                    <a:pt x="592" y="515"/>
                  </a:lnTo>
                  <a:lnTo>
                    <a:pt x="596" y="514"/>
                  </a:lnTo>
                  <a:lnTo>
                    <a:pt x="597" y="506"/>
                  </a:lnTo>
                  <a:lnTo>
                    <a:pt x="593" y="503"/>
                  </a:lnTo>
                  <a:lnTo>
                    <a:pt x="603" y="501"/>
                  </a:lnTo>
                  <a:lnTo>
                    <a:pt x="604" y="495"/>
                  </a:lnTo>
                  <a:lnTo>
                    <a:pt x="593" y="481"/>
                  </a:lnTo>
                  <a:lnTo>
                    <a:pt x="593" y="476"/>
                  </a:lnTo>
                  <a:lnTo>
                    <a:pt x="605" y="484"/>
                  </a:lnTo>
                  <a:lnTo>
                    <a:pt x="610" y="493"/>
                  </a:lnTo>
                  <a:lnTo>
                    <a:pt x="614" y="493"/>
                  </a:lnTo>
                  <a:lnTo>
                    <a:pt x="613" y="476"/>
                  </a:lnTo>
                  <a:lnTo>
                    <a:pt x="614" y="478"/>
                  </a:lnTo>
                  <a:lnTo>
                    <a:pt x="618" y="476"/>
                  </a:lnTo>
                  <a:lnTo>
                    <a:pt x="619" y="455"/>
                  </a:lnTo>
                  <a:lnTo>
                    <a:pt x="623" y="454"/>
                  </a:lnTo>
                  <a:lnTo>
                    <a:pt x="628" y="454"/>
                  </a:lnTo>
                  <a:lnTo>
                    <a:pt x="628" y="460"/>
                  </a:lnTo>
                  <a:lnTo>
                    <a:pt x="631" y="465"/>
                  </a:lnTo>
                  <a:lnTo>
                    <a:pt x="635" y="467"/>
                  </a:lnTo>
                  <a:lnTo>
                    <a:pt x="640" y="454"/>
                  </a:lnTo>
                  <a:lnTo>
                    <a:pt x="645" y="457"/>
                  </a:lnTo>
                  <a:lnTo>
                    <a:pt x="651" y="468"/>
                  </a:lnTo>
                  <a:lnTo>
                    <a:pt x="655" y="468"/>
                  </a:lnTo>
                  <a:lnTo>
                    <a:pt x="661" y="473"/>
                  </a:lnTo>
                  <a:lnTo>
                    <a:pt x="666" y="461"/>
                  </a:lnTo>
                  <a:lnTo>
                    <a:pt x="691" y="458"/>
                  </a:lnTo>
                  <a:lnTo>
                    <a:pt x="700" y="465"/>
                  </a:lnTo>
                  <a:lnTo>
                    <a:pt x="706" y="472"/>
                  </a:lnTo>
                  <a:lnTo>
                    <a:pt x="710" y="465"/>
                  </a:lnTo>
                  <a:lnTo>
                    <a:pt x="715" y="461"/>
                  </a:lnTo>
                  <a:lnTo>
                    <a:pt x="712" y="449"/>
                  </a:lnTo>
                  <a:lnTo>
                    <a:pt x="698" y="415"/>
                  </a:lnTo>
                  <a:lnTo>
                    <a:pt x="694" y="395"/>
                  </a:lnTo>
                  <a:lnTo>
                    <a:pt x="698" y="377"/>
                  </a:lnTo>
                  <a:lnTo>
                    <a:pt x="706" y="364"/>
                  </a:lnTo>
                  <a:lnTo>
                    <a:pt x="707" y="354"/>
                  </a:lnTo>
                  <a:lnTo>
                    <a:pt x="707" y="342"/>
                  </a:lnTo>
                  <a:lnTo>
                    <a:pt x="687" y="296"/>
                  </a:lnTo>
                  <a:lnTo>
                    <a:pt x="684" y="279"/>
                  </a:lnTo>
                  <a:lnTo>
                    <a:pt x="690" y="258"/>
                  </a:lnTo>
                  <a:lnTo>
                    <a:pt x="688" y="243"/>
                  </a:lnTo>
                  <a:lnTo>
                    <a:pt x="683" y="237"/>
                  </a:lnTo>
                  <a:lnTo>
                    <a:pt x="682" y="223"/>
                  </a:lnTo>
                  <a:lnTo>
                    <a:pt x="682" y="202"/>
                  </a:lnTo>
                  <a:lnTo>
                    <a:pt x="683" y="186"/>
                  </a:lnTo>
                  <a:lnTo>
                    <a:pt x="688" y="173"/>
                  </a:lnTo>
                  <a:lnTo>
                    <a:pt x="685" y="166"/>
                  </a:lnTo>
                  <a:lnTo>
                    <a:pt x="653" y="110"/>
                  </a:lnTo>
                  <a:lnTo>
                    <a:pt x="635" y="92"/>
                  </a:lnTo>
                  <a:lnTo>
                    <a:pt x="599" y="81"/>
                  </a:lnTo>
                  <a:lnTo>
                    <a:pt x="569" y="51"/>
                  </a:lnTo>
                  <a:lnTo>
                    <a:pt x="528" y="5"/>
                  </a:lnTo>
                  <a:lnTo>
                    <a:pt x="526" y="0"/>
                  </a:lnTo>
                  <a:lnTo>
                    <a:pt x="523" y="0"/>
                  </a:lnTo>
                  <a:lnTo>
                    <a:pt x="500" y="0"/>
                  </a:lnTo>
                  <a:lnTo>
                    <a:pt x="495" y="3"/>
                  </a:lnTo>
                  <a:lnTo>
                    <a:pt x="496" y="13"/>
                  </a:lnTo>
                  <a:lnTo>
                    <a:pt x="501" y="17"/>
                  </a:lnTo>
                  <a:lnTo>
                    <a:pt x="502" y="29"/>
                  </a:lnTo>
                  <a:lnTo>
                    <a:pt x="500" y="38"/>
                  </a:lnTo>
                  <a:lnTo>
                    <a:pt x="496" y="43"/>
                  </a:lnTo>
                  <a:lnTo>
                    <a:pt x="492" y="58"/>
                  </a:lnTo>
                  <a:lnTo>
                    <a:pt x="486" y="69"/>
                  </a:lnTo>
                  <a:lnTo>
                    <a:pt x="488" y="79"/>
                  </a:lnTo>
                  <a:lnTo>
                    <a:pt x="497" y="89"/>
                  </a:lnTo>
                  <a:lnTo>
                    <a:pt x="490" y="97"/>
                  </a:lnTo>
                  <a:lnTo>
                    <a:pt x="481" y="100"/>
                  </a:lnTo>
                  <a:lnTo>
                    <a:pt x="438" y="84"/>
                  </a:lnTo>
                  <a:lnTo>
                    <a:pt x="408" y="80"/>
                  </a:lnTo>
                  <a:lnTo>
                    <a:pt x="398" y="81"/>
                  </a:lnTo>
                  <a:lnTo>
                    <a:pt x="393" y="86"/>
                  </a:lnTo>
                  <a:lnTo>
                    <a:pt x="388" y="96"/>
                  </a:lnTo>
                  <a:lnTo>
                    <a:pt x="390" y="119"/>
                  </a:lnTo>
                  <a:lnTo>
                    <a:pt x="388" y="129"/>
                  </a:lnTo>
                  <a:lnTo>
                    <a:pt x="383" y="150"/>
                  </a:lnTo>
                  <a:lnTo>
                    <a:pt x="373" y="166"/>
                  </a:lnTo>
                  <a:lnTo>
                    <a:pt x="370" y="165"/>
                  </a:lnTo>
                  <a:lnTo>
                    <a:pt x="360" y="153"/>
                  </a:lnTo>
                  <a:lnTo>
                    <a:pt x="347" y="145"/>
                  </a:lnTo>
                  <a:lnTo>
                    <a:pt x="335" y="149"/>
                  </a:lnTo>
                  <a:lnTo>
                    <a:pt x="317" y="167"/>
                  </a:lnTo>
                  <a:lnTo>
                    <a:pt x="308" y="180"/>
                  </a:lnTo>
                  <a:lnTo>
                    <a:pt x="304" y="196"/>
                  </a:lnTo>
                  <a:lnTo>
                    <a:pt x="302" y="209"/>
                  </a:lnTo>
                  <a:lnTo>
                    <a:pt x="296" y="219"/>
                  </a:lnTo>
                  <a:lnTo>
                    <a:pt x="282" y="237"/>
                  </a:lnTo>
                  <a:lnTo>
                    <a:pt x="279" y="251"/>
                  </a:lnTo>
                  <a:lnTo>
                    <a:pt x="292" y="273"/>
                  </a:lnTo>
                  <a:lnTo>
                    <a:pt x="293" y="285"/>
                  </a:lnTo>
                  <a:lnTo>
                    <a:pt x="291" y="294"/>
                  </a:lnTo>
                  <a:lnTo>
                    <a:pt x="285" y="306"/>
                  </a:lnTo>
                  <a:lnTo>
                    <a:pt x="273" y="320"/>
                  </a:lnTo>
                  <a:lnTo>
                    <a:pt x="265" y="334"/>
                  </a:lnTo>
                  <a:lnTo>
                    <a:pt x="242" y="364"/>
                  </a:lnTo>
                  <a:lnTo>
                    <a:pt x="236" y="381"/>
                  </a:lnTo>
                  <a:lnTo>
                    <a:pt x="233" y="401"/>
                  </a:lnTo>
                  <a:lnTo>
                    <a:pt x="228" y="413"/>
                  </a:lnTo>
                  <a:lnTo>
                    <a:pt x="211" y="427"/>
                  </a:lnTo>
                  <a:lnTo>
                    <a:pt x="200" y="427"/>
                  </a:lnTo>
                  <a:lnTo>
                    <a:pt x="193" y="431"/>
                  </a:lnTo>
                  <a:lnTo>
                    <a:pt x="194" y="446"/>
                  </a:lnTo>
                  <a:lnTo>
                    <a:pt x="194" y="467"/>
                  </a:lnTo>
                  <a:lnTo>
                    <a:pt x="193" y="497"/>
                  </a:lnTo>
                  <a:lnTo>
                    <a:pt x="184" y="547"/>
                  </a:lnTo>
                  <a:lnTo>
                    <a:pt x="167" y="584"/>
                  </a:lnTo>
                  <a:lnTo>
                    <a:pt x="147" y="616"/>
                  </a:lnTo>
                  <a:lnTo>
                    <a:pt x="148" y="625"/>
                  </a:lnTo>
                  <a:lnTo>
                    <a:pt x="163" y="641"/>
                  </a:lnTo>
                  <a:lnTo>
                    <a:pt x="169" y="653"/>
                  </a:lnTo>
                  <a:lnTo>
                    <a:pt x="169" y="672"/>
                  </a:lnTo>
                  <a:lnTo>
                    <a:pt x="167" y="683"/>
                  </a:lnTo>
                  <a:lnTo>
                    <a:pt x="157" y="695"/>
                  </a:lnTo>
                  <a:lnTo>
                    <a:pt x="142" y="695"/>
                  </a:lnTo>
                  <a:lnTo>
                    <a:pt x="125" y="692"/>
                  </a:lnTo>
                  <a:lnTo>
                    <a:pt x="104" y="697"/>
                  </a:lnTo>
                  <a:lnTo>
                    <a:pt x="87" y="708"/>
                  </a:lnTo>
                  <a:lnTo>
                    <a:pt x="62" y="738"/>
                  </a:lnTo>
                  <a:lnTo>
                    <a:pt x="56" y="754"/>
                  </a:lnTo>
                  <a:lnTo>
                    <a:pt x="51" y="774"/>
                  </a:lnTo>
                  <a:lnTo>
                    <a:pt x="55" y="793"/>
                  </a:lnTo>
                  <a:lnTo>
                    <a:pt x="61" y="806"/>
                  </a:lnTo>
                  <a:lnTo>
                    <a:pt x="66" y="811"/>
                  </a:lnTo>
                  <a:lnTo>
                    <a:pt x="60" y="821"/>
                  </a:lnTo>
                  <a:lnTo>
                    <a:pt x="59" y="833"/>
                  </a:lnTo>
                  <a:lnTo>
                    <a:pt x="55" y="843"/>
                  </a:lnTo>
                  <a:lnTo>
                    <a:pt x="55" y="863"/>
                  </a:lnTo>
                  <a:lnTo>
                    <a:pt x="53" y="871"/>
                  </a:lnTo>
                  <a:lnTo>
                    <a:pt x="53" y="883"/>
                  </a:lnTo>
                  <a:lnTo>
                    <a:pt x="55" y="886"/>
                  </a:lnTo>
                  <a:lnTo>
                    <a:pt x="60" y="902"/>
                  </a:lnTo>
                  <a:lnTo>
                    <a:pt x="59" y="944"/>
                  </a:lnTo>
                  <a:lnTo>
                    <a:pt x="60" y="964"/>
                  </a:lnTo>
                  <a:lnTo>
                    <a:pt x="69" y="979"/>
                  </a:lnTo>
                  <a:lnTo>
                    <a:pt x="89" y="995"/>
                  </a:lnTo>
                  <a:lnTo>
                    <a:pt x="92" y="1016"/>
                  </a:lnTo>
                  <a:lnTo>
                    <a:pt x="86" y="1035"/>
                  </a:lnTo>
                  <a:lnTo>
                    <a:pt x="76" y="1046"/>
                  </a:lnTo>
                  <a:lnTo>
                    <a:pt x="61" y="1052"/>
                  </a:lnTo>
                  <a:lnTo>
                    <a:pt x="59" y="1058"/>
                  </a:lnTo>
                  <a:lnTo>
                    <a:pt x="69" y="1071"/>
                  </a:lnTo>
                  <a:lnTo>
                    <a:pt x="77" y="1105"/>
                  </a:lnTo>
                  <a:lnTo>
                    <a:pt x="70" y="1134"/>
                  </a:lnTo>
                  <a:lnTo>
                    <a:pt x="74" y="1143"/>
                  </a:lnTo>
                  <a:lnTo>
                    <a:pt x="72" y="1157"/>
                  </a:lnTo>
                  <a:lnTo>
                    <a:pt x="66" y="1168"/>
                  </a:lnTo>
                  <a:lnTo>
                    <a:pt x="39" y="1179"/>
                  </a:lnTo>
                  <a:lnTo>
                    <a:pt x="39" y="1193"/>
                  </a:lnTo>
                  <a:lnTo>
                    <a:pt x="27" y="1214"/>
                  </a:lnTo>
                  <a:lnTo>
                    <a:pt x="28" y="1230"/>
                  </a:lnTo>
                  <a:lnTo>
                    <a:pt x="32" y="1242"/>
                  </a:lnTo>
                  <a:lnTo>
                    <a:pt x="24" y="1280"/>
                  </a:lnTo>
                  <a:lnTo>
                    <a:pt x="16" y="1286"/>
                  </a:lnTo>
                  <a:lnTo>
                    <a:pt x="12" y="1278"/>
                  </a:lnTo>
                  <a:lnTo>
                    <a:pt x="8" y="1291"/>
                  </a:lnTo>
                  <a:lnTo>
                    <a:pt x="8" y="1268"/>
                  </a:lnTo>
                  <a:lnTo>
                    <a:pt x="6" y="1264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68" name="Freeform 350">
              <a:extLst>
                <a:ext uri="{FF2B5EF4-FFF2-40B4-BE49-F238E27FC236}">
                  <a16:creationId xmlns:a16="http://schemas.microsoft.com/office/drawing/2014/main" id="{55F64641-150A-F968-A731-D2117A4C1F41}"/>
                </a:ext>
              </a:extLst>
            </p:cNvPr>
            <p:cNvSpPr>
              <a:spLocks/>
            </p:cNvSpPr>
            <p:nvPr/>
          </p:nvSpPr>
          <p:spPr bwMode="gray">
            <a:xfrm>
              <a:off x="4413153" y="1871269"/>
              <a:ext cx="64041" cy="55718"/>
            </a:xfrm>
            <a:custGeom>
              <a:avLst/>
              <a:gdLst>
                <a:gd name="T0" fmla="*/ 13588 w 188"/>
                <a:gd name="T1" fmla="*/ 13077 h 161"/>
                <a:gd name="T2" fmla="*/ 13150 w 188"/>
                <a:gd name="T3" fmla="*/ 13077 h 161"/>
                <a:gd name="T4" fmla="*/ 12273 w 188"/>
                <a:gd name="T5" fmla="*/ 13077 h 161"/>
                <a:gd name="T6" fmla="*/ 11397 w 188"/>
                <a:gd name="T7" fmla="*/ 12259 h 161"/>
                <a:gd name="T8" fmla="*/ 10520 w 188"/>
                <a:gd name="T9" fmla="*/ 11851 h 161"/>
                <a:gd name="T10" fmla="*/ 10520 w 188"/>
                <a:gd name="T11" fmla="*/ 11442 h 161"/>
                <a:gd name="T12" fmla="*/ 10082 w 188"/>
                <a:gd name="T13" fmla="*/ 11033 h 161"/>
                <a:gd name="T14" fmla="*/ 10082 w 188"/>
                <a:gd name="T15" fmla="*/ 9399 h 161"/>
                <a:gd name="T16" fmla="*/ 9643 w 188"/>
                <a:gd name="T17" fmla="*/ 9399 h 161"/>
                <a:gd name="T18" fmla="*/ 9205 w 188"/>
                <a:gd name="T19" fmla="*/ 9808 h 161"/>
                <a:gd name="T20" fmla="*/ 8767 w 188"/>
                <a:gd name="T21" fmla="*/ 10625 h 161"/>
                <a:gd name="T22" fmla="*/ 7890 w 188"/>
                <a:gd name="T23" fmla="*/ 10625 h 161"/>
                <a:gd name="T24" fmla="*/ 7013 w 188"/>
                <a:gd name="T25" fmla="*/ 10216 h 161"/>
                <a:gd name="T26" fmla="*/ 7013 w 188"/>
                <a:gd name="T27" fmla="*/ 8990 h 161"/>
                <a:gd name="T28" fmla="*/ 6575 w 188"/>
                <a:gd name="T29" fmla="*/ 8173 h 161"/>
                <a:gd name="T30" fmla="*/ 6137 w 188"/>
                <a:gd name="T31" fmla="*/ 7764 h 161"/>
                <a:gd name="T32" fmla="*/ 4822 w 188"/>
                <a:gd name="T33" fmla="*/ 7356 h 161"/>
                <a:gd name="T34" fmla="*/ 3945 w 188"/>
                <a:gd name="T35" fmla="*/ 6947 h 161"/>
                <a:gd name="T36" fmla="*/ 3068 w 188"/>
                <a:gd name="T37" fmla="*/ 6538 h 161"/>
                <a:gd name="T38" fmla="*/ 2192 w 188"/>
                <a:gd name="T39" fmla="*/ 4904 h 161"/>
                <a:gd name="T40" fmla="*/ 1315 w 188"/>
                <a:gd name="T41" fmla="*/ 5312 h 161"/>
                <a:gd name="T42" fmla="*/ 0 w 188"/>
                <a:gd name="T43" fmla="*/ 4904 h 161"/>
                <a:gd name="T44" fmla="*/ 0 w 188"/>
                <a:gd name="T45" fmla="*/ 4086 h 161"/>
                <a:gd name="T46" fmla="*/ 0 w 188"/>
                <a:gd name="T47" fmla="*/ 2452 h 161"/>
                <a:gd name="T48" fmla="*/ 0 w 188"/>
                <a:gd name="T49" fmla="*/ 2452 h 161"/>
                <a:gd name="T50" fmla="*/ 2192 w 188"/>
                <a:gd name="T51" fmla="*/ 1226 h 161"/>
                <a:gd name="T52" fmla="*/ 2630 w 188"/>
                <a:gd name="T53" fmla="*/ 817 h 161"/>
                <a:gd name="T54" fmla="*/ 3507 w 188"/>
                <a:gd name="T55" fmla="*/ 817 h 161"/>
                <a:gd name="T56" fmla="*/ 3507 w 188"/>
                <a:gd name="T57" fmla="*/ 817 h 161"/>
                <a:gd name="T58" fmla="*/ 4822 w 188"/>
                <a:gd name="T59" fmla="*/ 1635 h 161"/>
                <a:gd name="T60" fmla="*/ 6575 w 188"/>
                <a:gd name="T61" fmla="*/ 1226 h 161"/>
                <a:gd name="T62" fmla="*/ 7890 w 188"/>
                <a:gd name="T63" fmla="*/ 409 h 161"/>
                <a:gd name="T64" fmla="*/ 8767 w 188"/>
                <a:gd name="T65" fmla="*/ 0 h 161"/>
                <a:gd name="T66" fmla="*/ 10082 w 188"/>
                <a:gd name="T67" fmla="*/ 0 h 161"/>
                <a:gd name="T68" fmla="*/ 10520 w 188"/>
                <a:gd name="T69" fmla="*/ 409 h 161"/>
                <a:gd name="T70" fmla="*/ 10958 w 188"/>
                <a:gd name="T71" fmla="*/ 409 h 161"/>
                <a:gd name="T72" fmla="*/ 10958 w 188"/>
                <a:gd name="T73" fmla="*/ 1226 h 161"/>
                <a:gd name="T74" fmla="*/ 11835 w 188"/>
                <a:gd name="T75" fmla="*/ 1226 h 161"/>
                <a:gd name="T76" fmla="*/ 12712 w 188"/>
                <a:gd name="T77" fmla="*/ 1635 h 161"/>
                <a:gd name="T78" fmla="*/ 13588 w 188"/>
                <a:gd name="T79" fmla="*/ 2043 h 161"/>
                <a:gd name="T80" fmla="*/ 13588 w 188"/>
                <a:gd name="T81" fmla="*/ 2861 h 161"/>
                <a:gd name="T82" fmla="*/ 13150 w 188"/>
                <a:gd name="T83" fmla="*/ 3678 h 161"/>
                <a:gd name="T84" fmla="*/ 13588 w 188"/>
                <a:gd name="T85" fmla="*/ 4495 h 161"/>
                <a:gd name="T86" fmla="*/ 14027 w 188"/>
                <a:gd name="T87" fmla="*/ 4904 h 161"/>
                <a:gd name="T88" fmla="*/ 15342 w 188"/>
                <a:gd name="T89" fmla="*/ 4904 h 161"/>
                <a:gd name="T90" fmla="*/ 15780 w 188"/>
                <a:gd name="T91" fmla="*/ 5721 h 161"/>
                <a:gd name="T92" fmla="*/ 15780 w 188"/>
                <a:gd name="T93" fmla="*/ 6538 h 161"/>
                <a:gd name="T94" fmla="*/ 16218 w 188"/>
                <a:gd name="T95" fmla="*/ 6947 h 161"/>
                <a:gd name="T96" fmla="*/ 16218 w 188"/>
                <a:gd name="T97" fmla="*/ 7764 h 161"/>
                <a:gd name="T98" fmla="*/ 15342 w 188"/>
                <a:gd name="T99" fmla="*/ 8990 h 161"/>
                <a:gd name="T100" fmla="*/ 14903 w 188"/>
                <a:gd name="T101" fmla="*/ 8990 h 161"/>
                <a:gd name="T102" fmla="*/ 14027 w 188"/>
                <a:gd name="T103" fmla="*/ 9808 h 161"/>
                <a:gd name="T104" fmla="*/ 13588 w 188"/>
                <a:gd name="T105" fmla="*/ 10625 h 161"/>
                <a:gd name="T106" fmla="*/ 13588 w 188"/>
                <a:gd name="T107" fmla="*/ 11851 h 161"/>
                <a:gd name="T108" fmla="*/ 13588 w 188"/>
                <a:gd name="T109" fmla="*/ 13077 h 161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88"/>
                <a:gd name="T166" fmla="*/ 0 h 161"/>
                <a:gd name="T167" fmla="*/ 188 w 188"/>
                <a:gd name="T168" fmla="*/ 161 h 161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88" h="161">
                  <a:moveTo>
                    <a:pt x="158" y="160"/>
                  </a:moveTo>
                  <a:lnTo>
                    <a:pt x="150" y="161"/>
                  </a:lnTo>
                  <a:lnTo>
                    <a:pt x="140" y="159"/>
                  </a:lnTo>
                  <a:lnTo>
                    <a:pt x="131" y="152"/>
                  </a:lnTo>
                  <a:lnTo>
                    <a:pt x="120" y="146"/>
                  </a:lnTo>
                  <a:lnTo>
                    <a:pt x="123" y="140"/>
                  </a:lnTo>
                  <a:lnTo>
                    <a:pt x="118" y="138"/>
                  </a:lnTo>
                  <a:lnTo>
                    <a:pt x="118" y="114"/>
                  </a:lnTo>
                  <a:lnTo>
                    <a:pt x="112" y="114"/>
                  </a:lnTo>
                  <a:lnTo>
                    <a:pt x="106" y="122"/>
                  </a:lnTo>
                  <a:lnTo>
                    <a:pt x="101" y="129"/>
                  </a:lnTo>
                  <a:lnTo>
                    <a:pt x="91" y="129"/>
                  </a:lnTo>
                  <a:lnTo>
                    <a:pt x="81" y="125"/>
                  </a:lnTo>
                  <a:lnTo>
                    <a:pt x="79" y="110"/>
                  </a:lnTo>
                  <a:lnTo>
                    <a:pt x="76" y="101"/>
                  </a:lnTo>
                  <a:lnTo>
                    <a:pt x="70" y="96"/>
                  </a:lnTo>
                  <a:lnTo>
                    <a:pt x="58" y="92"/>
                  </a:lnTo>
                  <a:lnTo>
                    <a:pt x="44" y="84"/>
                  </a:lnTo>
                  <a:lnTo>
                    <a:pt x="34" y="80"/>
                  </a:lnTo>
                  <a:lnTo>
                    <a:pt x="25" y="62"/>
                  </a:lnTo>
                  <a:lnTo>
                    <a:pt x="13" y="63"/>
                  </a:lnTo>
                  <a:lnTo>
                    <a:pt x="2" y="58"/>
                  </a:lnTo>
                  <a:lnTo>
                    <a:pt x="0" y="48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23" y="15"/>
                  </a:lnTo>
                  <a:lnTo>
                    <a:pt x="33" y="11"/>
                  </a:lnTo>
                  <a:lnTo>
                    <a:pt x="39" y="10"/>
                  </a:lnTo>
                  <a:lnTo>
                    <a:pt x="39" y="11"/>
                  </a:lnTo>
                  <a:lnTo>
                    <a:pt x="56" y="20"/>
                  </a:lnTo>
                  <a:lnTo>
                    <a:pt x="76" y="14"/>
                  </a:lnTo>
                  <a:lnTo>
                    <a:pt x="91" y="4"/>
                  </a:lnTo>
                  <a:lnTo>
                    <a:pt x="103" y="1"/>
                  </a:lnTo>
                  <a:lnTo>
                    <a:pt x="118" y="0"/>
                  </a:lnTo>
                  <a:lnTo>
                    <a:pt x="124" y="6"/>
                  </a:lnTo>
                  <a:lnTo>
                    <a:pt x="127" y="6"/>
                  </a:lnTo>
                  <a:lnTo>
                    <a:pt x="129" y="14"/>
                  </a:lnTo>
                  <a:lnTo>
                    <a:pt x="138" y="17"/>
                  </a:lnTo>
                  <a:lnTo>
                    <a:pt x="146" y="19"/>
                  </a:lnTo>
                  <a:lnTo>
                    <a:pt x="155" y="24"/>
                  </a:lnTo>
                  <a:lnTo>
                    <a:pt x="155" y="35"/>
                  </a:lnTo>
                  <a:lnTo>
                    <a:pt x="154" y="44"/>
                  </a:lnTo>
                  <a:lnTo>
                    <a:pt x="156" y="55"/>
                  </a:lnTo>
                  <a:lnTo>
                    <a:pt x="163" y="62"/>
                  </a:lnTo>
                  <a:lnTo>
                    <a:pt x="176" y="62"/>
                  </a:lnTo>
                  <a:lnTo>
                    <a:pt x="181" y="68"/>
                  </a:lnTo>
                  <a:lnTo>
                    <a:pt x="182" y="79"/>
                  </a:lnTo>
                  <a:lnTo>
                    <a:pt x="188" y="87"/>
                  </a:lnTo>
                  <a:lnTo>
                    <a:pt x="188" y="96"/>
                  </a:lnTo>
                  <a:lnTo>
                    <a:pt x="177" y="112"/>
                  </a:lnTo>
                  <a:lnTo>
                    <a:pt x="171" y="112"/>
                  </a:lnTo>
                  <a:lnTo>
                    <a:pt x="161" y="119"/>
                  </a:lnTo>
                  <a:lnTo>
                    <a:pt x="155" y="132"/>
                  </a:lnTo>
                  <a:lnTo>
                    <a:pt x="158" y="145"/>
                  </a:lnTo>
                  <a:lnTo>
                    <a:pt x="158" y="160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69" name="Freeform 351">
              <a:extLst>
                <a:ext uri="{FF2B5EF4-FFF2-40B4-BE49-F238E27FC236}">
                  <a16:creationId xmlns:a16="http://schemas.microsoft.com/office/drawing/2014/main" id="{14027E0A-D8B4-CA33-3E18-A426B401EDDC}"/>
                </a:ext>
              </a:extLst>
            </p:cNvPr>
            <p:cNvSpPr>
              <a:spLocks/>
            </p:cNvSpPr>
            <p:nvPr/>
          </p:nvSpPr>
          <p:spPr bwMode="gray">
            <a:xfrm>
              <a:off x="4424455" y="1807399"/>
              <a:ext cx="70320" cy="84256"/>
            </a:xfrm>
            <a:custGeom>
              <a:avLst/>
              <a:gdLst>
                <a:gd name="T0" fmla="*/ 11363 w 196"/>
                <a:gd name="T1" fmla="*/ 19820 h 239"/>
                <a:gd name="T2" fmla="*/ 10909 w 196"/>
                <a:gd name="T3" fmla="*/ 18168 h 239"/>
                <a:gd name="T4" fmla="*/ 10909 w 196"/>
                <a:gd name="T5" fmla="*/ 16517 h 239"/>
                <a:gd name="T6" fmla="*/ 9091 w 196"/>
                <a:gd name="T7" fmla="*/ 16104 h 239"/>
                <a:gd name="T8" fmla="*/ 8181 w 196"/>
                <a:gd name="T9" fmla="*/ 15278 h 239"/>
                <a:gd name="T10" fmla="*/ 7272 w 196"/>
                <a:gd name="T11" fmla="*/ 14865 h 239"/>
                <a:gd name="T12" fmla="*/ 5000 w 196"/>
                <a:gd name="T13" fmla="*/ 14865 h 239"/>
                <a:gd name="T14" fmla="*/ 1364 w 196"/>
                <a:gd name="T15" fmla="*/ 16517 h 239"/>
                <a:gd name="T16" fmla="*/ 0 w 196"/>
                <a:gd name="T17" fmla="*/ 15691 h 239"/>
                <a:gd name="T18" fmla="*/ 909 w 196"/>
                <a:gd name="T19" fmla="*/ 15278 h 239"/>
                <a:gd name="T20" fmla="*/ 2727 w 196"/>
                <a:gd name="T21" fmla="*/ 15278 h 239"/>
                <a:gd name="T22" fmla="*/ 4091 w 196"/>
                <a:gd name="T23" fmla="*/ 15278 h 239"/>
                <a:gd name="T24" fmla="*/ 2273 w 196"/>
                <a:gd name="T25" fmla="*/ 15278 h 239"/>
                <a:gd name="T26" fmla="*/ 2273 w 196"/>
                <a:gd name="T27" fmla="*/ 14452 h 239"/>
                <a:gd name="T28" fmla="*/ 5000 w 196"/>
                <a:gd name="T29" fmla="*/ 13626 h 239"/>
                <a:gd name="T30" fmla="*/ 7272 w 196"/>
                <a:gd name="T31" fmla="*/ 12800 h 239"/>
                <a:gd name="T32" fmla="*/ 5909 w 196"/>
                <a:gd name="T33" fmla="*/ 12800 h 239"/>
                <a:gd name="T34" fmla="*/ 4091 w 196"/>
                <a:gd name="T35" fmla="*/ 12800 h 239"/>
                <a:gd name="T36" fmla="*/ 3636 w 196"/>
                <a:gd name="T37" fmla="*/ 11562 h 239"/>
                <a:gd name="T38" fmla="*/ 5909 w 196"/>
                <a:gd name="T39" fmla="*/ 8671 h 239"/>
                <a:gd name="T40" fmla="*/ 6818 w 196"/>
                <a:gd name="T41" fmla="*/ 4129 h 239"/>
                <a:gd name="T42" fmla="*/ 8181 w 196"/>
                <a:gd name="T43" fmla="*/ 4542 h 239"/>
                <a:gd name="T44" fmla="*/ 8636 w 196"/>
                <a:gd name="T45" fmla="*/ 5368 h 239"/>
                <a:gd name="T46" fmla="*/ 7727 w 196"/>
                <a:gd name="T47" fmla="*/ 5781 h 239"/>
                <a:gd name="T48" fmla="*/ 7727 w 196"/>
                <a:gd name="T49" fmla="*/ 6607 h 239"/>
                <a:gd name="T50" fmla="*/ 7727 w 196"/>
                <a:gd name="T51" fmla="*/ 7845 h 239"/>
                <a:gd name="T52" fmla="*/ 9091 w 196"/>
                <a:gd name="T53" fmla="*/ 8671 h 239"/>
                <a:gd name="T54" fmla="*/ 10000 w 196"/>
                <a:gd name="T55" fmla="*/ 8258 h 239"/>
                <a:gd name="T56" fmla="*/ 9545 w 196"/>
                <a:gd name="T57" fmla="*/ 7432 h 239"/>
                <a:gd name="T58" fmla="*/ 9545 w 196"/>
                <a:gd name="T59" fmla="*/ 6607 h 239"/>
                <a:gd name="T60" fmla="*/ 10454 w 196"/>
                <a:gd name="T61" fmla="*/ 5368 h 239"/>
                <a:gd name="T62" fmla="*/ 10454 w 196"/>
                <a:gd name="T63" fmla="*/ 4129 h 239"/>
                <a:gd name="T64" fmla="*/ 9545 w 196"/>
                <a:gd name="T65" fmla="*/ 4129 h 239"/>
                <a:gd name="T66" fmla="*/ 9545 w 196"/>
                <a:gd name="T67" fmla="*/ 2065 h 239"/>
                <a:gd name="T68" fmla="*/ 10909 w 196"/>
                <a:gd name="T69" fmla="*/ 826 h 239"/>
                <a:gd name="T70" fmla="*/ 12727 w 196"/>
                <a:gd name="T71" fmla="*/ 413 h 239"/>
                <a:gd name="T72" fmla="*/ 14999 w 196"/>
                <a:gd name="T73" fmla="*/ 0 h 239"/>
                <a:gd name="T74" fmla="*/ 16817 w 196"/>
                <a:gd name="T75" fmla="*/ 413 h 239"/>
                <a:gd name="T76" fmla="*/ 18181 w 196"/>
                <a:gd name="T77" fmla="*/ 1239 h 239"/>
                <a:gd name="T78" fmla="*/ 15908 w 196"/>
                <a:gd name="T79" fmla="*/ 6194 h 239"/>
                <a:gd name="T80" fmla="*/ 17726 w 196"/>
                <a:gd name="T81" fmla="*/ 7432 h 239"/>
                <a:gd name="T82" fmla="*/ 16817 w 196"/>
                <a:gd name="T83" fmla="*/ 9084 h 239"/>
                <a:gd name="T84" fmla="*/ 15908 w 196"/>
                <a:gd name="T85" fmla="*/ 10736 h 239"/>
                <a:gd name="T86" fmla="*/ 14545 w 196"/>
                <a:gd name="T87" fmla="*/ 11975 h 239"/>
                <a:gd name="T88" fmla="*/ 12727 w 196"/>
                <a:gd name="T89" fmla="*/ 11562 h 239"/>
                <a:gd name="T90" fmla="*/ 12727 w 196"/>
                <a:gd name="T91" fmla="*/ 13213 h 239"/>
                <a:gd name="T92" fmla="*/ 12727 w 196"/>
                <a:gd name="T93" fmla="*/ 15278 h 239"/>
                <a:gd name="T94" fmla="*/ 12272 w 196"/>
                <a:gd name="T95" fmla="*/ 17342 h 239"/>
                <a:gd name="T96" fmla="*/ 12727 w 196"/>
                <a:gd name="T97" fmla="*/ 19407 h 239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96"/>
                <a:gd name="T148" fmla="*/ 0 h 239"/>
                <a:gd name="T149" fmla="*/ 196 w 196"/>
                <a:gd name="T150" fmla="*/ 239 h 239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96" h="239">
                  <a:moveTo>
                    <a:pt x="137" y="239"/>
                  </a:moveTo>
                  <a:lnTo>
                    <a:pt x="124" y="239"/>
                  </a:lnTo>
                  <a:lnTo>
                    <a:pt x="117" y="232"/>
                  </a:lnTo>
                  <a:lnTo>
                    <a:pt x="116" y="221"/>
                  </a:lnTo>
                  <a:lnTo>
                    <a:pt x="117" y="212"/>
                  </a:lnTo>
                  <a:lnTo>
                    <a:pt x="116" y="201"/>
                  </a:lnTo>
                  <a:lnTo>
                    <a:pt x="107" y="196"/>
                  </a:lnTo>
                  <a:lnTo>
                    <a:pt x="99" y="194"/>
                  </a:lnTo>
                  <a:lnTo>
                    <a:pt x="90" y="189"/>
                  </a:lnTo>
                  <a:lnTo>
                    <a:pt x="88" y="183"/>
                  </a:lnTo>
                  <a:lnTo>
                    <a:pt x="85" y="183"/>
                  </a:lnTo>
                  <a:lnTo>
                    <a:pt x="79" y="177"/>
                  </a:lnTo>
                  <a:lnTo>
                    <a:pt x="64" y="178"/>
                  </a:lnTo>
                  <a:lnTo>
                    <a:pt x="52" y="181"/>
                  </a:lnTo>
                  <a:lnTo>
                    <a:pt x="37" y="191"/>
                  </a:lnTo>
                  <a:lnTo>
                    <a:pt x="17" y="197"/>
                  </a:lnTo>
                  <a:lnTo>
                    <a:pt x="0" y="188"/>
                  </a:lnTo>
                  <a:lnTo>
                    <a:pt x="0" y="187"/>
                  </a:lnTo>
                  <a:lnTo>
                    <a:pt x="3" y="185"/>
                  </a:lnTo>
                  <a:lnTo>
                    <a:pt x="10" y="185"/>
                  </a:lnTo>
                  <a:lnTo>
                    <a:pt x="21" y="191"/>
                  </a:lnTo>
                  <a:lnTo>
                    <a:pt x="30" y="186"/>
                  </a:lnTo>
                  <a:lnTo>
                    <a:pt x="38" y="186"/>
                  </a:lnTo>
                  <a:lnTo>
                    <a:pt x="42" y="182"/>
                  </a:lnTo>
                  <a:lnTo>
                    <a:pt x="35" y="181"/>
                  </a:lnTo>
                  <a:lnTo>
                    <a:pt x="25" y="182"/>
                  </a:lnTo>
                  <a:lnTo>
                    <a:pt x="20" y="181"/>
                  </a:lnTo>
                  <a:lnTo>
                    <a:pt x="24" y="172"/>
                  </a:lnTo>
                  <a:lnTo>
                    <a:pt x="43" y="169"/>
                  </a:lnTo>
                  <a:lnTo>
                    <a:pt x="54" y="162"/>
                  </a:lnTo>
                  <a:lnTo>
                    <a:pt x="72" y="159"/>
                  </a:lnTo>
                  <a:lnTo>
                    <a:pt x="78" y="155"/>
                  </a:lnTo>
                  <a:lnTo>
                    <a:pt x="73" y="151"/>
                  </a:lnTo>
                  <a:lnTo>
                    <a:pt x="62" y="156"/>
                  </a:lnTo>
                  <a:lnTo>
                    <a:pt x="52" y="155"/>
                  </a:lnTo>
                  <a:lnTo>
                    <a:pt x="45" y="153"/>
                  </a:lnTo>
                  <a:lnTo>
                    <a:pt x="38" y="146"/>
                  </a:lnTo>
                  <a:lnTo>
                    <a:pt x="38" y="138"/>
                  </a:lnTo>
                  <a:lnTo>
                    <a:pt x="40" y="133"/>
                  </a:lnTo>
                  <a:lnTo>
                    <a:pt x="62" y="106"/>
                  </a:lnTo>
                  <a:lnTo>
                    <a:pt x="68" y="69"/>
                  </a:lnTo>
                  <a:lnTo>
                    <a:pt x="74" y="52"/>
                  </a:lnTo>
                  <a:lnTo>
                    <a:pt x="84" y="48"/>
                  </a:lnTo>
                  <a:lnTo>
                    <a:pt x="88" y="57"/>
                  </a:lnTo>
                  <a:lnTo>
                    <a:pt x="94" y="62"/>
                  </a:lnTo>
                  <a:lnTo>
                    <a:pt x="94" y="65"/>
                  </a:lnTo>
                  <a:lnTo>
                    <a:pt x="94" y="67"/>
                  </a:lnTo>
                  <a:lnTo>
                    <a:pt x="85" y="69"/>
                  </a:lnTo>
                  <a:lnTo>
                    <a:pt x="84" y="73"/>
                  </a:lnTo>
                  <a:lnTo>
                    <a:pt x="83" y="79"/>
                  </a:lnTo>
                  <a:lnTo>
                    <a:pt x="84" y="90"/>
                  </a:lnTo>
                  <a:lnTo>
                    <a:pt x="84" y="94"/>
                  </a:lnTo>
                  <a:lnTo>
                    <a:pt x="89" y="100"/>
                  </a:lnTo>
                  <a:lnTo>
                    <a:pt x="100" y="103"/>
                  </a:lnTo>
                  <a:lnTo>
                    <a:pt x="105" y="103"/>
                  </a:lnTo>
                  <a:lnTo>
                    <a:pt x="106" y="101"/>
                  </a:lnTo>
                  <a:lnTo>
                    <a:pt x="105" y="94"/>
                  </a:lnTo>
                  <a:lnTo>
                    <a:pt x="101" y="88"/>
                  </a:lnTo>
                  <a:lnTo>
                    <a:pt x="100" y="83"/>
                  </a:lnTo>
                  <a:lnTo>
                    <a:pt x="103" y="81"/>
                  </a:lnTo>
                  <a:lnTo>
                    <a:pt x="110" y="76"/>
                  </a:lnTo>
                  <a:lnTo>
                    <a:pt x="111" y="65"/>
                  </a:lnTo>
                  <a:lnTo>
                    <a:pt x="116" y="53"/>
                  </a:lnTo>
                  <a:lnTo>
                    <a:pt x="112" y="51"/>
                  </a:lnTo>
                  <a:lnTo>
                    <a:pt x="106" y="51"/>
                  </a:lnTo>
                  <a:lnTo>
                    <a:pt x="105" y="48"/>
                  </a:lnTo>
                  <a:lnTo>
                    <a:pt x="102" y="31"/>
                  </a:lnTo>
                  <a:lnTo>
                    <a:pt x="103" y="26"/>
                  </a:lnTo>
                  <a:lnTo>
                    <a:pt x="108" y="19"/>
                  </a:lnTo>
                  <a:lnTo>
                    <a:pt x="117" y="11"/>
                  </a:lnTo>
                  <a:lnTo>
                    <a:pt x="128" y="6"/>
                  </a:lnTo>
                  <a:lnTo>
                    <a:pt x="138" y="4"/>
                  </a:lnTo>
                  <a:lnTo>
                    <a:pt x="151" y="6"/>
                  </a:lnTo>
                  <a:lnTo>
                    <a:pt x="161" y="2"/>
                  </a:lnTo>
                  <a:lnTo>
                    <a:pt x="173" y="0"/>
                  </a:lnTo>
                  <a:lnTo>
                    <a:pt x="182" y="3"/>
                  </a:lnTo>
                  <a:lnTo>
                    <a:pt x="191" y="10"/>
                  </a:lnTo>
                  <a:lnTo>
                    <a:pt x="196" y="16"/>
                  </a:lnTo>
                  <a:lnTo>
                    <a:pt x="186" y="62"/>
                  </a:lnTo>
                  <a:lnTo>
                    <a:pt x="170" y="73"/>
                  </a:lnTo>
                  <a:lnTo>
                    <a:pt x="172" y="81"/>
                  </a:lnTo>
                  <a:lnTo>
                    <a:pt x="191" y="90"/>
                  </a:lnTo>
                  <a:lnTo>
                    <a:pt x="189" y="101"/>
                  </a:lnTo>
                  <a:lnTo>
                    <a:pt x="182" y="111"/>
                  </a:lnTo>
                  <a:lnTo>
                    <a:pt x="172" y="118"/>
                  </a:lnTo>
                  <a:lnTo>
                    <a:pt x="171" y="129"/>
                  </a:lnTo>
                  <a:lnTo>
                    <a:pt x="166" y="140"/>
                  </a:lnTo>
                  <a:lnTo>
                    <a:pt x="158" y="142"/>
                  </a:lnTo>
                  <a:lnTo>
                    <a:pt x="145" y="137"/>
                  </a:lnTo>
                  <a:lnTo>
                    <a:pt x="135" y="137"/>
                  </a:lnTo>
                  <a:lnTo>
                    <a:pt x="134" y="145"/>
                  </a:lnTo>
                  <a:lnTo>
                    <a:pt x="138" y="160"/>
                  </a:lnTo>
                  <a:lnTo>
                    <a:pt x="139" y="170"/>
                  </a:lnTo>
                  <a:lnTo>
                    <a:pt x="138" y="182"/>
                  </a:lnTo>
                  <a:lnTo>
                    <a:pt x="138" y="201"/>
                  </a:lnTo>
                  <a:lnTo>
                    <a:pt x="132" y="208"/>
                  </a:lnTo>
                  <a:lnTo>
                    <a:pt x="132" y="215"/>
                  </a:lnTo>
                  <a:lnTo>
                    <a:pt x="137" y="232"/>
                  </a:lnTo>
                  <a:lnTo>
                    <a:pt x="137" y="239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70" name="Freeform 352">
              <a:extLst>
                <a:ext uri="{FF2B5EF4-FFF2-40B4-BE49-F238E27FC236}">
                  <a16:creationId xmlns:a16="http://schemas.microsoft.com/office/drawing/2014/main" id="{C2A6CC3F-D017-E298-7C98-0971B43EAE0B}"/>
                </a:ext>
              </a:extLst>
            </p:cNvPr>
            <p:cNvSpPr>
              <a:spLocks/>
            </p:cNvSpPr>
            <p:nvPr/>
          </p:nvSpPr>
          <p:spPr bwMode="gray">
            <a:xfrm>
              <a:off x="4472172" y="1759835"/>
              <a:ext cx="173287" cy="231022"/>
            </a:xfrm>
            <a:custGeom>
              <a:avLst/>
              <a:gdLst>
                <a:gd name="T0" fmla="*/ 24054 w 490"/>
                <a:gd name="T1" fmla="*/ 5722 h 659"/>
                <a:gd name="T2" fmla="*/ 22717 w 490"/>
                <a:gd name="T3" fmla="*/ 4496 h 659"/>
                <a:gd name="T4" fmla="*/ 20490 w 490"/>
                <a:gd name="T5" fmla="*/ 4087 h 659"/>
                <a:gd name="T6" fmla="*/ 18708 w 490"/>
                <a:gd name="T7" fmla="*/ 3270 h 659"/>
                <a:gd name="T8" fmla="*/ 17372 w 490"/>
                <a:gd name="T9" fmla="*/ 409 h 659"/>
                <a:gd name="T10" fmla="*/ 14254 w 490"/>
                <a:gd name="T11" fmla="*/ 0 h 659"/>
                <a:gd name="T12" fmla="*/ 14699 w 490"/>
                <a:gd name="T13" fmla="*/ 2452 h 659"/>
                <a:gd name="T14" fmla="*/ 13363 w 490"/>
                <a:gd name="T15" fmla="*/ 4496 h 659"/>
                <a:gd name="T16" fmla="*/ 14254 w 490"/>
                <a:gd name="T17" fmla="*/ 5722 h 659"/>
                <a:gd name="T18" fmla="*/ 14254 w 490"/>
                <a:gd name="T19" fmla="*/ 6948 h 659"/>
                <a:gd name="T20" fmla="*/ 12918 w 490"/>
                <a:gd name="T21" fmla="*/ 8583 h 659"/>
                <a:gd name="T22" fmla="*/ 12472 w 490"/>
                <a:gd name="T23" fmla="*/ 11444 h 659"/>
                <a:gd name="T24" fmla="*/ 11136 w 490"/>
                <a:gd name="T25" fmla="*/ 11035 h 659"/>
                <a:gd name="T26" fmla="*/ 6236 w 490"/>
                <a:gd name="T27" fmla="*/ 9400 h 659"/>
                <a:gd name="T28" fmla="*/ 5345 w 490"/>
                <a:gd name="T29" fmla="*/ 11444 h 659"/>
                <a:gd name="T30" fmla="*/ 7572 w 490"/>
                <a:gd name="T31" fmla="*/ 13078 h 659"/>
                <a:gd name="T32" fmla="*/ 4900 w 490"/>
                <a:gd name="T33" fmla="*/ 16348 h 659"/>
                <a:gd name="T34" fmla="*/ 4900 w 490"/>
                <a:gd name="T35" fmla="*/ 19618 h 659"/>
                <a:gd name="T36" fmla="*/ 3118 w 490"/>
                <a:gd name="T37" fmla="*/ 22479 h 659"/>
                <a:gd name="T38" fmla="*/ 0 w 490"/>
                <a:gd name="T39" fmla="*/ 22887 h 659"/>
                <a:gd name="T40" fmla="*/ 445 w 490"/>
                <a:gd name="T41" fmla="*/ 27383 h 659"/>
                <a:gd name="T42" fmla="*/ 445 w 490"/>
                <a:gd name="T43" fmla="*/ 30653 h 659"/>
                <a:gd name="T44" fmla="*/ 1336 w 490"/>
                <a:gd name="T45" fmla="*/ 33514 h 659"/>
                <a:gd name="T46" fmla="*/ 891 w 490"/>
                <a:gd name="T47" fmla="*/ 35966 h 659"/>
                <a:gd name="T48" fmla="*/ 1336 w 490"/>
                <a:gd name="T49" fmla="*/ 38827 h 659"/>
                <a:gd name="T50" fmla="*/ 5345 w 490"/>
                <a:gd name="T51" fmla="*/ 41279 h 659"/>
                <a:gd name="T52" fmla="*/ 8463 w 490"/>
                <a:gd name="T53" fmla="*/ 45775 h 659"/>
                <a:gd name="T54" fmla="*/ 7572 w 490"/>
                <a:gd name="T55" fmla="*/ 51497 h 659"/>
                <a:gd name="T56" fmla="*/ 13809 w 490"/>
                <a:gd name="T57" fmla="*/ 51497 h 659"/>
                <a:gd name="T58" fmla="*/ 18708 w 490"/>
                <a:gd name="T59" fmla="*/ 52314 h 659"/>
                <a:gd name="T60" fmla="*/ 21381 w 490"/>
                <a:gd name="T61" fmla="*/ 53540 h 659"/>
                <a:gd name="T62" fmla="*/ 24499 w 490"/>
                <a:gd name="T63" fmla="*/ 53131 h 659"/>
                <a:gd name="T64" fmla="*/ 30735 w 490"/>
                <a:gd name="T65" fmla="*/ 51088 h 659"/>
                <a:gd name="T66" fmla="*/ 34299 w 490"/>
                <a:gd name="T67" fmla="*/ 51905 h 659"/>
                <a:gd name="T68" fmla="*/ 33853 w 490"/>
                <a:gd name="T69" fmla="*/ 47818 h 659"/>
                <a:gd name="T70" fmla="*/ 37862 w 490"/>
                <a:gd name="T71" fmla="*/ 44957 h 659"/>
                <a:gd name="T72" fmla="*/ 34744 w 490"/>
                <a:gd name="T73" fmla="*/ 41279 h 659"/>
                <a:gd name="T74" fmla="*/ 31181 w 490"/>
                <a:gd name="T75" fmla="*/ 35557 h 659"/>
                <a:gd name="T76" fmla="*/ 29399 w 490"/>
                <a:gd name="T77" fmla="*/ 33514 h 659"/>
                <a:gd name="T78" fmla="*/ 32962 w 490"/>
                <a:gd name="T79" fmla="*/ 33105 h 659"/>
                <a:gd name="T80" fmla="*/ 39644 w 490"/>
                <a:gd name="T81" fmla="*/ 29835 h 659"/>
                <a:gd name="T82" fmla="*/ 42316 w 490"/>
                <a:gd name="T83" fmla="*/ 29835 h 659"/>
                <a:gd name="T84" fmla="*/ 43653 w 490"/>
                <a:gd name="T85" fmla="*/ 26157 h 659"/>
                <a:gd name="T86" fmla="*/ 41871 w 490"/>
                <a:gd name="T87" fmla="*/ 21253 h 659"/>
                <a:gd name="T88" fmla="*/ 41426 w 490"/>
                <a:gd name="T89" fmla="*/ 16757 h 659"/>
                <a:gd name="T90" fmla="*/ 40980 w 490"/>
                <a:gd name="T91" fmla="*/ 13078 h 659"/>
                <a:gd name="T92" fmla="*/ 40089 w 490"/>
                <a:gd name="T93" fmla="*/ 8583 h 659"/>
                <a:gd name="T94" fmla="*/ 36080 w 490"/>
                <a:gd name="T95" fmla="*/ 6131 h 659"/>
                <a:gd name="T96" fmla="*/ 34299 w 490"/>
                <a:gd name="T97" fmla="*/ 4496 h 659"/>
                <a:gd name="T98" fmla="*/ 31181 w 490"/>
                <a:gd name="T99" fmla="*/ 4904 h 659"/>
                <a:gd name="T100" fmla="*/ 32071 w 490"/>
                <a:gd name="T101" fmla="*/ 3270 h 659"/>
                <a:gd name="T102" fmla="*/ 29399 w 490"/>
                <a:gd name="T103" fmla="*/ 5722 h 659"/>
                <a:gd name="T104" fmla="*/ 26726 w 490"/>
                <a:gd name="T105" fmla="*/ 6948 h 659"/>
                <a:gd name="T106" fmla="*/ 23163 w 490"/>
                <a:gd name="T107" fmla="*/ 6948 h 659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490"/>
                <a:gd name="T163" fmla="*/ 0 h 659"/>
                <a:gd name="T164" fmla="*/ 490 w 490"/>
                <a:gd name="T165" fmla="*/ 659 h 659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490" h="659">
                  <a:moveTo>
                    <a:pt x="261" y="88"/>
                  </a:moveTo>
                  <a:lnTo>
                    <a:pt x="260" y="83"/>
                  </a:lnTo>
                  <a:lnTo>
                    <a:pt x="264" y="73"/>
                  </a:lnTo>
                  <a:lnTo>
                    <a:pt x="271" y="68"/>
                  </a:lnTo>
                  <a:lnTo>
                    <a:pt x="276" y="62"/>
                  </a:lnTo>
                  <a:lnTo>
                    <a:pt x="276" y="52"/>
                  </a:lnTo>
                  <a:lnTo>
                    <a:pt x="272" y="49"/>
                  </a:lnTo>
                  <a:lnTo>
                    <a:pt x="255" y="55"/>
                  </a:lnTo>
                  <a:lnTo>
                    <a:pt x="249" y="55"/>
                  </a:lnTo>
                  <a:lnTo>
                    <a:pt x="244" y="49"/>
                  </a:lnTo>
                  <a:lnTo>
                    <a:pt x="233" y="44"/>
                  </a:lnTo>
                  <a:lnTo>
                    <a:pt x="228" y="50"/>
                  </a:lnTo>
                  <a:lnTo>
                    <a:pt x="223" y="50"/>
                  </a:lnTo>
                  <a:lnTo>
                    <a:pt x="222" y="42"/>
                  </a:lnTo>
                  <a:lnTo>
                    <a:pt x="215" y="42"/>
                  </a:lnTo>
                  <a:lnTo>
                    <a:pt x="211" y="39"/>
                  </a:lnTo>
                  <a:lnTo>
                    <a:pt x="217" y="31"/>
                  </a:lnTo>
                  <a:lnTo>
                    <a:pt x="217" y="22"/>
                  </a:lnTo>
                  <a:lnTo>
                    <a:pt x="212" y="11"/>
                  </a:lnTo>
                  <a:lnTo>
                    <a:pt x="196" y="6"/>
                  </a:lnTo>
                  <a:lnTo>
                    <a:pt x="189" y="7"/>
                  </a:lnTo>
                  <a:lnTo>
                    <a:pt x="190" y="2"/>
                  </a:lnTo>
                  <a:lnTo>
                    <a:pt x="182" y="6"/>
                  </a:lnTo>
                  <a:lnTo>
                    <a:pt x="158" y="0"/>
                  </a:lnTo>
                  <a:lnTo>
                    <a:pt x="150" y="1"/>
                  </a:lnTo>
                  <a:lnTo>
                    <a:pt x="150" y="11"/>
                  </a:lnTo>
                  <a:lnTo>
                    <a:pt x="158" y="25"/>
                  </a:lnTo>
                  <a:lnTo>
                    <a:pt x="164" y="31"/>
                  </a:lnTo>
                  <a:lnTo>
                    <a:pt x="167" y="38"/>
                  </a:lnTo>
                  <a:lnTo>
                    <a:pt x="153" y="46"/>
                  </a:lnTo>
                  <a:lnTo>
                    <a:pt x="152" y="50"/>
                  </a:lnTo>
                  <a:lnTo>
                    <a:pt x="148" y="55"/>
                  </a:lnTo>
                  <a:lnTo>
                    <a:pt x="155" y="55"/>
                  </a:lnTo>
                  <a:lnTo>
                    <a:pt x="159" y="58"/>
                  </a:lnTo>
                  <a:lnTo>
                    <a:pt x="157" y="65"/>
                  </a:lnTo>
                  <a:lnTo>
                    <a:pt x="161" y="71"/>
                  </a:lnTo>
                  <a:lnTo>
                    <a:pt x="166" y="74"/>
                  </a:lnTo>
                  <a:lnTo>
                    <a:pt x="164" y="78"/>
                  </a:lnTo>
                  <a:lnTo>
                    <a:pt x="159" y="79"/>
                  </a:lnTo>
                  <a:lnTo>
                    <a:pt x="159" y="87"/>
                  </a:lnTo>
                  <a:lnTo>
                    <a:pt x="172" y="97"/>
                  </a:lnTo>
                  <a:lnTo>
                    <a:pt x="170" y="99"/>
                  </a:lnTo>
                  <a:lnTo>
                    <a:pt x="148" y="99"/>
                  </a:lnTo>
                  <a:lnTo>
                    <a:pt x="145" y="106"/>
                  </a:lnTo>
                  <a:lnTo>
                    <a:pt x="142" y="110"/>
                  </a:lnTo>
                  <a:lnTo>
                    <a:pt x="142" y="128"/>
                  </a:lnTo>
                  <a:lnTo>
                    <a:pt x="148" y="148"/>
                  </a:lnTo>
                  <a:lnTo>
                    <a:pt x="142" y="142"/>
                  </a:lnTo>
                  <a:lnTo>
                    <a:pt x="137" y="128"/>
                  </a:lnTo>
                  <a:lnTo>
                    <a:pt x="130" y="126"/>
                  </a:lnTo>
                  <a:lnTo>
                    <a:pt x="129" y="137"/>
                  </a:lnTo>
                  <a:lnTo>
                    <a:pt x="123" y="137"/>
                  </a:lnTo>
                  <a:lnTo>
                    <a:pt x="120" y="125"/>
                  </a:lnTo>
                  <a:lnTo>
                    <a:pt x="115" y="115"/>
                  </a:lnTo>
                  <a:lnTo>
                    <a:pt x="99" y="113"/>
                  </a:lnTo>
                  <a:lnTo>
                    <a:pt x="72" y="117"/>
                  </a:lnTo>
                  <a:lnTo>
                    <a:pt x="69" y="126"/>
                  </a:lnTo>
                  <a:lnTo>
                    <a:pt x="65" y="130"/>
                  </a:lnTo>
                  <a:lnTo>
                    <a:pt x="61" y="137"/>
                  </a:lnTo>
                  <a:lnTo>
                    <a:pt x="62" y="140"/>
                  </a:lnTo>
                  <a:lnTo>
                    <a:pt x="73" y="142"/>
                  </a:lnTo>
                  <a:lnTo>
                    <a:pt x="78" y="146"/>
                  </a:lnTo>
                  <a:lnTo>
                    <a:pt x="83" y="152"/>
                  </a:lnTo>
                  <a:lnTo>
                    <a:pt x="86" y="160"/>
                  </a:lnTo>
                  <a:lnTo>
                    <a:pt x="83" y="159"/>
                  </a:lnTo>
                  <a:lnTo>
                    <a:pt x="78" y="151"/>
                  </a:lnTo>
                  <a:lnTo>
                    <a:pt x="64" y="154"/>
                  </a:lnTo>
                  <a:lnTo>
                    <a:pt x="54" y="200"/>
                  </a:lnTo>
                  <a:lnTo>
                    <a:pt x="38" y="211"/>
                  </a:lnTo>
                  <a:lnTo>
                    <a:pt x="40" y="219"/>
                  </a:lnTo>
                  <a:lnTo>
                    <a:pt x="59" y="228"/>
                  </a:lnTo>
                  <a:lnTo>
                    <a:pt x="57" y="239"/>
                  </a:lnTo>
                  <a:lnTo>
                    <a:pt x="50" y="249"/>
                  </a:lnTo>
                  <a:lnTo>
                    <a:pt x="40" y="256"/>
                  </a:lnTo>
                  <a:lnTo>
                    <a:pt x="39" y="267"/>
                  </a:lnTo>
                  <a:lnTo>
                    <a:pt x="34" y="278"/>
                  </a:lnTo>
                  <a:lnTo>
                    <a:pt x="26" y="280"/>
                  </a:lnTo>
                  <a:lnTo>
                    <a:pt x="13" y="275"/>
                  </a:lnTo>
                  <a:lnTo>
                    <a:pt x="3" y="275"/>
                  </a:lnTo>
                  <a:lnTo>
                    <a:pt x="2" y="283"/>
                  </a:lnTo>
                  <a:lnTo>
                    <a:pt x="6" y="298"/>
                  </a:lnTo>
                  <a:lnTo>
                    <a:pt x="7" y="308"/>
                  </a:lnTo>
                  <a:lnTo>
                    <a:pt x="6" y="320"/>
                  </a:lnTo>
                  <a:lnTo>
                    <a:pt x="6" y="339"/>
                  </a:lnTo>
                  <a:lnTo>
                    <a:pt x="0" y="346"/>
                  </a:lnTo>
                  <a:lnTo>
                    <a:pt x="0" y="353"/>
                  </a:lnTo>
                  <a:lnTo>
                    <a:pt x="5" y="370"/>
                  </a:lnTo>
                  <a:lnTo>
                    <a:pt x="5" y="377"/>
                  </a:lnTo>
                  <a:lnTo>
                    <a:pt x="10" y="383"/>
                  </a:lnTo>
                  <a:lnTo>
                    <a:pt x="11" y="394"/>
                  </a:lnTo>
                  <a:lnTo>
                    <a:pt x="17" y="402"/>
                  </a:lnTo>
                  <a:lnTo>
                    <a:pt x="17" y="410"/>
                  </a:lnTo>
                  <a:lnTo>
                    <a:pt x="6" y="427"/>
                  </a:lnTo>
                  <a:lnTo>
                    <a:pt x="14" y="431"/>
                  </a:lnTo>
                  <a:lnTo>
                    <a:pt x="12" y="438"/>
                  </a:lnTo>
                  <a:lnTo>
                    <a:pt x="12" y="445"/>
                  </a:lnTo>
                  <a:lnTo>
                    <a:pt x="17" y="453"/>
                  </a:lnTo>
                  <a:lnTo>
                    <a:pt x="21" y="460"/>
                  </a:lnTo>
                  <a:lnTo>
                    <a:pt x="22" y="472"/>
                  </a:lnTo>
                  <a:lnTo>
                    <a:pt x="17" y="479"/>
                  </a:lnTo>
                  <a:lnTo>
                    <a:pt x="29" y="490"/>
                  </a:lnTo>
                  <a:lnTo>
                    <a:pt x="37" y="496"/>
                  </a:lnTo>
                  <a:lnTo>
                    <a:pt x="43" y="507"/>
                  </a:lnTo>
                  <a:lnTo>
                    <a:pt x="61" y="508"/>
                  </a:lnTo>
                  <a:lnTo>
                    <a:pt x="102" y="520"/>
                  </a:lnTo>
                  <a:lnTo>
                    <a:pt x="115" y="526"/>
                  </a:lnTo>
                  <a:lnTo>
                    <a:pt x="113" y="538"/>
                  </a:lnTo>
                  <a:lnTo>
                    <a:pt x="96" y="561"/>
                  </a:lnTo>
                  <a:lnTo>
                    <a:pt x="93" y="573"/>
                  </a:lnTo>
                  <a:lnTo>
                    <a:pt x="86" y="598"/>
                  </a:lnTo>
                  <a:lnTo>
                    <a:pt x="84" y="626"/>
                  </a:lnTo>
                  <a:lnTo>
                    <a:pt x="86" y="636"/>
                  </a:lnTo>
                  <a:lnTo>
                    <a:pt x="88" y="638"/>
                  </a:lnTo>
                  <a:lnTo>
                    <a:pt x="94" y="644"/>
                  </a:lnTo>
                  <a:lnTo>
                    <a:pt x="130" y="639"/>
                  </a:lnTo>
                  <a:lnTo>
                    <a:pt x="156" y="635"/>
                  </a:lnTo>
                  <a:lnTo>
                    <a:pt x="175" y="639"/>
                  </a:lnTo>
                  <a:lnTo>
                    <a:pt x="193" y="648"/>
                  </a:lnTo>
                  <a:lnTo>
                    <a:pt x="204" y="644"/>
                  </a:lnTo>
                  <a:lnTo>
                    <a:pt x="212" y="644"/>
                  </a:lnTo>
                  <a:lnTo>
                    <a:pt x="221" y="646"/>
                  </a:lnTo>
                  <a:lnTo>
                    <a:pt x="227" y="654"/>
                  </a:lnTo>
                  <a:lnTo>
                    <a:pt x="237" y="659"/>
                  </a:lnTo>
                  <a:lnTo>
                    <a:pt x="242" y="657"/>
                  </a:lnTo>
                  <a:lnTo>
                    <a:pt x="244" y="649"/>
                  </a:lnTo>
                  <a:lnTo>
                    <a:pt x="252" y="643"/>
                  </a:lnTo>
                  <a:lnTo>
                    <a:pt x="263" y="644"/>
                  </a:lnTo>
                  <a:lnTo>
                    <a:pt x="276" y="652"/>
                  </a:lnTo>
                  <a:lnTo>
                    <a:pt x="290" y="652"/>
                  </a:lnTo>
                  <a:lnTo>
                    <a:pt x="309" y="639"/>
                  </a:lnTo>
                  <a:lnTo>
                    <a:pt x="342" y="636"/>
                  </a:lnTo>
                  <a:lnTo>
                    <a:pt x="346" y="631"/>
                  </a:lnTo>
                  <a:lnTo>
                    <a:pt x="357" y="635"/>
                  </a:lnTo>
                  <a:lnTo>
                    <a:pt x="372" y="635"/>
                  </a:lnTo>
                  <a:lnTo>
                    <a:pt x="377" y="642"/>
                  </a:lnTo>
                  <a:lnTo>
                    <a:pt x="384" y="638"/>
                  </a:lnTo>
                  <a:lnTo>
                    <a:pt x="384" y="631"/>
                  </a:lnTo>
                  <a:lnTo>
                    <a:pt x="377" y="615"/>
                  </a:lnTo>
                  <a:lnTo>
                    <a:pt x="376" y="599"/>
                  </a:lnTo>
                  <a:lnTo>
                    <a:pt x="381" y="587"/>
                  </a:lnTo>
                  <a:lnTo>
                    <a:pt x="403" y="578"/>
                  </a:lnTo>
                  <a:lnTo>
                    <a:pt x="406" y="568"/>
                  </a:lnTo>
                  <a:lnTo>
                    <a:pt x="410" y="560"/>
                  </a:lnTo>
                  <a:lnTo>
                    <a:pt x="427" y="552"/>
                  </a:lnTo>
                  <a:lnTo>
                    <a:pt x="428" y="545"/>
                  </a:lnTo>
                  <a:lnTo>
                    <a:pt x="425" y="539"/>
                  </a:lnTo>
                  <a:lnTo>
                    <a:pt x="399" y="519"/>
                  </a:lnTo>
                  <a:lnTo>
                    <a:pt x="389" y="506"/>
                  </a:lnTo>
                  <a:lnTo>
                    <a:pt x="361" y="483"/>
                  </a:lnTo>
                  <a:lnTo>
                    <a:pt x="351" y="470"/>
                  </a:lnTo>
                  <a:lnTo>
                    <a:pt x="351" y="453"/>
                  </a:lnTo>
                  <a:lnTo>
                    <a:pt x="349" y="440"/>
                  </a:lnTo>
                  <a:lnTo>
                    <a:pt x="336" y="434"/>
                  </a:lnTo>
                  <a:lnTo>
                    <a:pt x="328" y="425"/>
                  </a:lnTo>
                  <a:lnTo>
                    <a:pt x="328" y="416"/>
                  </a:lnTo>
                  <a:lnTo>
                    <a:pt x="329" y="411"/>
                  </a:lnTo>
                  <a:lnTo>
                    <a:pt x="345" y="426"/>
                  </a:lnTo>
                  <a:lnTo>
                    <a:pt x="347" y="426"/>
                  </a:lnTo>
                  <a:lnTo>
                    <a:pt x="352" y="412"/>
                  </a:lnTo>
                  <a:lnTo>
                    <a:pt x="368" y="405"/>
                  </a:lnTo>
                  <a:lnTo>
                    <a:pt x="385" y="399"/>
                  </a:lnTo>
                  <a:lnTo>
                    <a:pt x="403" y="391"/>
                  </a:lnTo>
                  <a:lnTo>
                    <a:pt x="409" y="379"/>
                  </a:lnTo>
                  <a:lnTo>
                    <a:pt x="447" y="366"/>
                  </a:lnTo>
                  <a:lnTo>
                    <a:pt x="451" y="343"/>
                  </a:lnTo>
                  <a:lnTo>
                    <a:pt x="460" y="346"/>
                  </a:lnTo>
                  <a:lnTo>
                    <a:pt x="468" y="358"/>
                  </a:lnTo>
                  <a:lnTo>
                    <a:pt x="474" y="367"/>
                  </a:lnTo>
                  <a:lnTo>
                    <a:pt x="481" y="367"/>
                  </a:lnTo>
                  <a:lnTo>
                    <a:pt x="485" y="358"/>
                  </a:lnTo>
                  <a:lnTo>
                    <a:pt x="489" y="341"/>
                  </a:lnTo>
                  <a:lnTo>
                    <a:pt x="490" y="320"/>
                  </a:lnTo>
                  <a:lnTo>
                    <a:pt x="489" y="316"/>
                  </a:lnTo>
                  <a:lnTo>
                    <a:pt x="473" y="297"/>
                  </a:lnTo>
                  <a:lnTo>
                    <a:pt x="470" y="273"/>
                  </a:lnTo>
                  <a:lnTo>
                    <a:pt x="470" y="262"/>
                  </a:lnTo>
                  <a:lnTo>
                    <a:pt x="469" y="246"/>
                  </a:lnTo>
                  <a:lnTo>
                    <a:pt x="467" y="237"/>
                  </a:lnTo>
                  <a:lnTo>
                    <a:pt x="464" y="213"/>
                  </a:lnTo>
                  <a:lnTo>
                    <a:pt x="463" y="205"/>
                  </a:lnTo>
                  <a:lnTo>
                    <a:pt x="448" y="194"/>
                  </a:lnTo>
                  <a:lnTo>
                    <a:pt x="447" y="186"/>
                  </a:lnTo>
                  <a:lnTo>
                    <a:pt x="452" y="174"/>
                  </a:lnTo>
                  <a:lnTo>
                    <a:pt x="458" y="162"/>
                  </a:lnTo>
                  <a:lnTo>
                    <a:pt x="459" y="149"/>
                  </a:lnTo>
                  <a:lnTo>
                    <a:pt x="459" y="132"/>
                  </a:lnTo>
                  <a:lnTo>
                    <a:pt x="451" y="115"/>
                  </a:lnTo>
                  <a:lnTo>
                    <a:pt x="448" y="106"/>
                  </a:lnTo>
                  <a:lnTo>
                    <a:pt x="426" y="99"/>
                  </a:lnTo>
                  <a:lnTo>
                    <a:pt x="424" y="85"/>
                  </a:lnTo>
                  <a:lnTo>
                    <a:pt x="415" y="72"/>
                  </a:lnTo>
                  <a:lnTo>
                    <a:pt x="405" y="73"/>
                  </a:lnTo>
                  <a:lnTo>
                    <a:pt x="399" y="68"/>
                  </a:lnTo>
                  <a:lnTo>
                    <a:pt x="397" y="67"/>
                  </a:lnTo>
                  <a:lnTo>
                    <a:pt x="394" y="60"/>
                  </a:lnTo>
                  <a:lnTo>
                    <a:pt x="387" y="55"/>
                  </a:lnTo>
                  <a:lnTo>
                    <a:pt x="381" y="49"/>
                  </a:lnTo>
                  <a:lnTo>
                    <a:pt x="365" y="51"/>
                  </a:lnTo>
                  <a:lnTo>
                    <a:pt x="357" y="55"/>
                  </a:lnTo>
                  <a:lnTo>
                    <a:pt x="351" y="60"/>
                  </a:lnTo>
                  <a:lnTo>
                    <a:pt x="352" y="54"/>
                  </a:lnTo>
                  <a:lnTo>
                    <a:pt x="358" y="49"/>
                  </a:lnTo>
                  <a:lnTo>
                    <a:pt x="368" y="42"/>
                  </a:lnTo>
                  <a:lnTo>
                    <a:pt x="361" y="41"/>
                  </a:lnTo>
                  <a:lnTo>
                    <a:pt x="352" y="42"/>
                  </a:lnTo>
                  <a:lnTo>
                    <a:pt x="339" y="60"/>
                  </a:lnTo>
                  <a:lnTo>
                    <a:pt x="335" y="70"/>
                  </a:lnTo>
                  <a:lnTo>
                    <a:pt x="330" y="72"/>
                  </a:lnTo>
                  <a:lnTo>
                    <a:pt x="330" y="66"/>
                  </a:lnTo>
                  <a:lnTo>
                    <a:pt x="312" y="71"/>
                  </a:lnTo>
                  <a:lnTo>
                    <a:pt x="296" y="83"/>
                  </a:lnTo>
                  <a:lnTo>
                    <a:pt x="299" y="88"/>
                  </a:lnTo>
                  <a:lnTo>
                    <a:pt x="290" y="88"/>
                  </a:lnTo>
                  <a:lnTo>
                    <a:pt x="277" y="84"/>
                  </a:lnTo>
                  <a:lnTo>
                    <a:pt x="264" y="94"/>
                  </a:lnTo>
                  <a:lnTo>
                    <a:pt x="261" y="88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71" name="Freeform 353">
              <a:extLst>
                <a:ext uri="{FF2B5EF4-FFF2-40B4-BE49-F238E27FC236}">
                  <a16:creationId xmlns:a16="http://schemas.microsoft.com/office/drawing/2014/main" id="{C49B0DEC-E9B1-576C-2991-7B05C3097FEE}"/>
                </a:ext>
              </a:extLst>
            </p:cNvPr>
            <p:cNvSpPr>
              <a:spLocks/>
            </p:cNvSpPr>
            <p:nvPr/>
          </p:nvSpPr>
          <p:spPr bwMode="gray">
            <a:xfrm>
              <a:off x="4747170" y="2141702"/>
              <a:ext cx="123059" cy="104639"/>
            </a:xfrm>
            <a:custGeom>
              <a:avLst/>
              <a:gdLst>
                <a:gd name="T0" fmla="*/ 27460 w 352"/>
                <a:gd name="T1" fmla="*/ 5796 h 293"/>
                <a:gd name="T2" fmla="*/ 22588 w 352"/>
                <a:gd name="T3" fmla="*/ 5382 h 293"/>
                <a:gd name="T4" fmla="*/ 21702 w 352"/>
                <a:gd name="T5" fmla="*/ 5382 h 293"/>
                <a:gd name="T6" fmla="*/ 19488 w 352"/>
                <a:gd name="T7" fmla="*/ 6210 h 293"/>
                <a:gd name="T8" fmla="*/ 16830 w 352"/>
                <a:gd name="T9" fmla="*/ 7038 h 293"/>
                <a:gd name="T10" fmla="*/ 19045 w 352"/>
                <a:gd name="T11" fmla="*/ 8280 h 293"/>
                <a:gd name="T12" fmla="*/ 19931 w 352"/>
                <a:gd name="T13" fmla="*/ 9522 h 293"/>
                <a:gd name="T14" fmla="*/ 17716 w 352"/>
                <a:gd name="T15" fmla="*/ 8694 h 293"/>
                <a:gd name="T16" fmla="*/ 18159 w 352"/>
                <a:gd name="T17" fmla="*/ 9936 h 293"/>
                <a:gd name="T18" fmla="*/ 17716 w 352"/>
                <a:gd name="T19" fmla="*/ 10350 h 293"/>
                <a:gd name="T20" fmla="*/ 16388 w 352"/>
                <a:gd name="T21" fmla="*/ 9108 h 293"/>
                <a:gd name="T22" fmla="*/ 16388 w 352"/>
                <a:gd name="T23" fmla="*/ 10350 h 293"/>
                <a:gd name="T24" fmla="*/ 16388 w 352"/>
                <a:gd name="T25" fmla="*/ 11178 h 293"/>
                <a:gd name="T26" fmla="*/ 15059 w 352"/>
                <a:gd name="T27" fmla="*/ 9108 h 293"/>
                <a:gd name="T28" fmla="*/ 12844 w 352"/>
                <a:gd name="T29" fmla="*/ 7866 h 293"/>
                <a:gd name="T30" fmla="*/ 11958 w 352"/>
                <a:gd name="T31" fmla="*/ 7452 h 293"/>
                <a:gd name="T32" fmla="*/ 11958 w 352"/>
                <a:gd name="T33" fmla="*/ 9936 h 293"/>
                <a:gd name="T34" fmla="*/ 12844 w 352"/>
                <a:gd name="T35" fmla="*/ 11592 h 293"/>
                <a:gd name="T36" fmla="*/ 14616 w 352"/>
                <a:gd name="T37" fmla="*/ 14490 h 293"/>
                <a:gd name="T38" fmla="*/ 15059 w 352"/>
                <a:gd name="T39" fmla="*/ 15732 h 293"/>
                <a:gd name="T40" fmla="*/ 14173 w 352"/>
                <a:gd name="T41" fmla="*/ 15732 h 293"/>
                <a:gd name="T42" fmla="*/ 14173 w 352"/>
                <a:gd name="T43" fmla="*/ 14904 h 293"/>
                <a:gd name="T44" fmla="*/ 13287 w 352"/>
                <a:gd name="T45" fmla="*/ 15318 h 293"/>
                <a:gd name="T46" fmla="*/ 13287 w 352"/>
                <a:gd name="T47" fmla="*/ 16974 h 293"/>
                <a:gd name="T48" fmla="*/ 12401 w 352"/>
                <a:gd name="T49" fmla="*/ 16974 h 293"/>
                <a:gd name="T50" fmla="*/ 11958 w 352"/>
                <a:gd name="T51" fmla="*/ 17802 h 293"/>
                <a:gd name="T52" fmla="*/ 13730 w 352"/>
                <a:gd name="T53" fmla="*/ 18216 h 293"/>
                <a:gd name="T54" fmla="*/ 15059 w 352"/>
                <a:gd name="T55" fmla="*/ 18630 h 293"/>
                <a:gd name="T56" fmla="*/ 16388 w 352"/>
                <a:gd name="T57" fmla="*/ 19872 h 293"/>
                <a:gd name="T58" fmla="*/ 17716 w 352"/>
                <a:gd name="T59" fmla="*/ 20700 h 293"/>
                <a:gd name="T60" fmla="*/ 18602 w 352"/>
                <a:gd name="T61" fmla="*/ 21114 h 293"/>
                <a:gd name="T62" fmla="*/ 17716 w 352"/>
                <a:gd name="T63" fmla="*/ 23598 h 293"/>
                <a:gd name="T64" fmla="*/ 15502 w 352"/>
                <a:gd name="T65" fmla="*/ 22770 h 293"/>
                <a:gd name="T66" fmla="*/ 13287 w 352"/>
                <a:gd name="T67" fmla="*/ 22356 h 293"/>
                <a:gd name="T68" fmla="*/ 14616 w 352"/>
                <a:gd name="T69" fmla="*/ 21528 h 293"/>
                <a:gd name="T70" fmla="*/ 12401 w 352"/>
                <a:gd name="T71" fmla="*/ 20286 h 293"/>
                <a:gd name="T72" fmla="*/ 10630 w 352"/>
                <a:gd name="T73" fmla="*/ 20286 h 293"/>
                <a:gd name="T74" fmla="*/ 8415 w 352"/>
                <a:gd name="T75" fmla="*/ 20286 h 293"/>
                <a:gd name="T76" fmla="*/ 5758 w 352"/>
                <a:gd name="T77" fmla="*/ 20286 h 293"/>
                <a:gd name="T78" fmla="*/ 5315 w 352"/>
                <a:gd name="T79" fmla="*/ 20286 h 293"/>
                <a:gd name="T80" fmla="*/ 4429 w 352"/>
                <a:gd name="T81" fmla="*/ 19872 h 293"/>
                <a:gd name="T82" fmla="*/ 3100 w 352"/>
                <a:gd name="T83" fmla="*/ 17388 h 293"/>
                <a:gd name="T84" fmla="*/ 4872 w 352"/>
                <a:gd name="T85" fmla="*/ 17388 h 293"/>
                <a:gd name="T86" fmla="*/ 3100 w 352"/>
                <a:gd name="T87" fmla="*/ 16146 h 293"/>
                <a:gd name="T88" fmla="*/ 1329 w 352"/>
                <a:gd name="T89" fmla="*/ 14904 h 293"/>
                <a:gd name="T90" fmla="*/ 443 w 352"/>
                <a:gd name="T91" fmla="*/ 12834 h 293"/>
                <a:gd name="T92" fmla="*/ 0 w 352"/>
                <a:gd name="T93" fmla="*/ 12834 h 293"/>
                <a:gd name="T94" fmla="*/ 886 w 352"/>
                <a:gd name="T95" fmla="*/ 12006 h 293"/>
                <a:gd name="T96" fmla="*/ 1329 w 352"/>
                <a:gd name="T97" fmla="*/ 10764 h 293"/>
                <a:gd name="T98" fmla="*/ 3100 w 352"/>
                <a:gd name="T99" fmla="*/ 8694 h 293"/>
                <a:gd name="T100" fmla="*/ 4429 w 352"/>
                <a:gd name="T101" fmla="*/ 6624 h 293"/>
                <a:gd name="T102" fmla="*/ 7087 w 352"/>
                <a:gd name="T103" fmla="*/ 4968 h 293"/>
                <a:gd name="T104" fmla="*/ 9744 w 352"/>
                <a:gd name="T105" fmla="*/ 3726 h 293"/>
                <a:gd name="T106" fmla="*/ 12844 w 352"/>
                <a:gd name="T107" fmla="*/ 2484 h 293"/>
                <a:gd name="T108" fmla="*/ 14616 w 352"/>
                <a:gd name="T109" fmla="*/ 2484 h 293"/>
                <a:gd name="T110" fmla="*/ 18159 w 352"/>
                <a:gd name="T111" fmla="*/ 2070 h 293"/>
                <a:gd name="T112" fmla="*/ 21702 w 352"/>
                <a:gd name="T113" fmla="*/ 1242 h 293"/>
                <a:gd name="T114" fmla="*/ 25689 w 352"/>
                <a:gd name="T115" fmla="*/ 2898 h 293"/>
                <a:gd name="T116" fmla="*/ 28789 w 352"/>
                <a:gd name="T117" fmla="*/ 1656 h 293"/>
                <a:gd name="T118" fmla="*/ 30118 w 352"/>
                <a:gd name="T119" fmla="*/ 0 h 293"/>
                <a:gd name="T120" fmla="*/ 31003 w 352"/>
                <a:gd name="T121" fmla="*/ 1242 h 293"/>
                <a:gd name="T122" fmla="*/ 30118 w 352"/>
                <a:gd name="T123" fmla="*/ 2898 h 293"/>
                <a:gd name="T124" fmla="*/ 29232 w 352"/>
                <a:gd name="T125" fmla="*/ 5382 h 293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52"/>
                <a:gd name="T190" fmla="*/ 0 h 293"/>
                <a:gd name="T191" fmla="*/ 352 w 352"/>
                <a:gd name="T192" fmla="*/ 293 h 293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52" h="293">
                  <a:moveTo>
                    <a:pt x="324" y="78"/>
                  </a:moveTo>
                  <a:lnTo>
                    <a:pt x="314" y="70"/>
                  </a:lnTo>
                  <a:lnTo>
                    <a:pt x="268" y="57"/>
                  </a:lnTo>
                  <a:lnTo>
                    <a:pt x="258" y="65"/>
                  </a:lnTo>
                  <a:lnTo>
                    <a:pt x="253" y="66"/>
                  </a:lnTo>
                  <a:lnTo>
                    <a:pt x="245" y="66"/>
                  </a:lnTo>
                  <a:lnTo>
                    <a:pt x="234" y="62"/>
                  </a:lnTo>
                  <a:lnTo>
                    <a:pt x="223" y="73"/>
                  </a:lnTo>
                  <a:lnTo>
                    <a:pt x="207" y="76"/>
                  </a:lnTo>
                  <a:lnTo>
                    <a:pt x="193" y="86"/>
                  </a:lnTo>
                  <a:lnTo>
                    <a:pt x="201" y="94"/>
                  </a:lnTo>
                  <a:lnTo>
                    <a:pt x="216" y="100"/>
                  </a:lnTo>
                  <a:lnTo>
                    <a:pt x="225" y="110"/>
                  </a:lnTo>
                  <a:lnTo>
                    <a:pt x="227" y="116"/>
                  </a:lnTo>
                  <a:lnTo>
                    <a:pt x="217" y="106"/>
                  </a:lnTo>
                  <a:lnTo>
                    <a:pt x="201" y="103"/>
                  </a:lnTo>
                  <a:lnTo>
                    <a:pt x="196" y="113"/>
                  </a:lnTo>
                  <a:lnTo>
                    <a:pt x="207" y="120"/>
                  </a:lnTo>
                  <a:lnTo>
                    <a:pt x="209" y="133"/>
                  </a:lnTo>
                  <a:lnTo>
                    <a:pt x="201" y="125"/>
                  </a:lnTo>
                  <a:lnTo>
                    <a:pt x="195" y="115"/>
                  </a:lnTo>
                  <a:lnTo>
                    <a:pt x="185" y="111"/>
                  </a:lnTo>
                  <a:lnTo>
                    <a:pt x="182" y="113"/>
                  </a:lnTo>
                  <a:lnTo>
                    <a:pt x="184" y="124"/>
                  </a:lnTo>
                  <a:lnTo>
                    <a:pt x="193" y="131"/>
                  </a:lnTo>
                  <a:lnTo>
                    <a:pt x="188" y="135"/>
                  </a:lnTo>
                  <a:lnTo>
                    <a:pt x="177" y="125"/>
                  </a:lnTo>
                  <a:lnTo>
                    <a:pt x="172" y="111"/>
                  </a:lnTo>
                  <a:lnTo>
                    <a:pt x="148" y="97"/>
                  </a:lnTo>
                  <a:lnTo>
                    <a:pt x="148" y="93"/>
                  </a:lnTo>
                  <a:lnTo>
                    <a:pt x="151" y="86"/>
                  </a:lnTo>
                  <a:lnTo>
                    <a:pt x="137" y="90"/>
                  </a:lnTo>
                  <a:lnTo>
                    <a:pt x="135" y="105"/>
                  </a:lnTo>
                  <a:lnTo>
                    <a:pt x="135" y="120"/>
                  </a:lnTo>
                  <a:lnTo>
                    <a:pt x="136" y="132"/>
                  </a:lnTo>
                  <a:lnTo>
                    <a:pt x="144" y="140"/>
                  </a:lnTo>
                  <a:lnTo>
                    <a:pt x="147" y="154"/>
                  </a:lnTo>
                  <a:lnTo>
                    <a:pt x="164" y="172"/>
                  </a:lnTo>
                  <a:lnTo>
                    <a:pt x="169" y="181"/>
                  </a:lnTo>
                  <a:lnTo>
                    <a:pt x="172" y="190"/>
                  </a:lnTo>
                  <a:lnTo>
                    <a:pt x="167" y="192"/>
                  </a:lnTo>
                  <a:lnTo>
                    <a:pt x="163" y="191"/>
                  </a:lnTo>
                  <a:lnTo>
                    <a:pt x="164" y="185"/>
                  </a:lnTo>
                  <a:lnTo>
                    <a:pt x="161" y="179"/>
                  </a:lnTo>
                  <a:lnTo>
                    <a:pt x="151" y="178"/>
                  </a:lnTo>
                  <a:lnTo>
                    <a:pt x="150" y="186"/>
                  </a:lnTo>
                  <a:lnTo>
                    <a:pt x="155" y="200"/>
                  </a:lnTo>
                  <a:lnTo>
                    <a:pt x="151" y="203"/>
                  </a:lnTo>
                  <a:lnTo>
                    <a:pt x="147" y="203"/>
                  </a:lnTo>
                  <a:lnTo>
                    <a:pt x="141" y="203"/>
                  </a:lnTo>
                  <a:lnTo>
                    <a:pt x="131" y="206"/>
                  </a:lnTo>
                  <a:lnTo>
                    <a:pt x="135" y="212"/>
                  </a:lnTo>
                  <a:lnTo>
                    <a:pt x="147" y="217"/>
                  </a:lnTo>
                  <a:lnTo>
                    <a:pt x="156" y="219"/>
                  </a:lnTo>
                  <a:lnTo>
                    <a:pt x="163" y="224"/>
                  </a:lnTo>
                  <a:lnTo>
                    <a:pt x="172" y="224"/>
                  </a:lnTo>
                  <a:lnTo>
                    <a:pt x="177" y="237"/>
                  </a:lnTo>
                  <a:lnTo>
                    <a:pt x="184" y="237"/>
                  </a:lnTo>
                  <a:lnTo>
                    <a:pt x="190" y="244"/>
                  </a:lnTo>
                  <a:lnTo>
                    <a:pt x="199" y="250"/>
                  </a:lnTo>
                  <a:lnTo>
                    <a:pt x="204" y="250"/>
                  </a:lnTo>
                  <a:lnTo>
                    <a:pt x="211" y="255"/>
                  </a:lnTo>
                  <a:lnTo>
                    <a:pt x="212" y="293"/>
                  </a:lnTo>
                  <a:lnTo>
                    <a:pt x="199" y="285"/>
                  </a:lnTo>
                  <a:lnTo>
                    <a:pt x="189" y="272"/>
                  </a:lnTo>
                  <a:lnTo>
                    <a:pt x="175" y="275"/>
                  </a:lnTo>
                  <a:lnTo>
                    <a:pt x="161" y="275"/>
                  </a:lnTo>
                  <a:lnTo>
                    <a:pt x="152" y="270"/>
                  </a:lnTo>
                  <a:lnTo>
                    <a:pt x="162" y="266"/>
                  </a:lnTo>
                  <a:lnTo>
                    <a:pt x="164" y="259"/>
                  </a:lnTo>
                  <a:lnTo>
                    <a:pt x="152" y="256"/>
                  </a:lnTo>
                  <a:lnTo>
                    <a:pt x="139" y="243"/>
                  </a:lnTo>
                  <a:lnTo>
                    <a:pt x="132" y="249"/>
                  </a:lnTo>
                  <a:lnTo>
                    <a:pt x="123" y="245"/>
                  </a:lnTo>
                  <a:lnTo>
                    <a:pt x="110" y="248"/>
                  </a:lnTo>
                  <a:lnTo>
                    <a:pt x="98" y="245"/>
                  </a:lnTo>
                  <a:lnTo>
                    <a:pt x="81" y="248"/>
                  </a:lnTo>
                  <a:lnTo>
                    <a:pt x="67" y="242"/>
                  </a:lnTo>
                  <a:lnTo>
                    <a:pt x="64" y="242"/>
                  </a:lnTo>
                  <a:lnTo>
                    <a:pt x="61" y="245"/>
                  </a:lnTo>
                  <a:lnTo>
                    <a:pt x="55" y="248"/>
                  </a:lnTo>
                  <a:lnTo>
                    <a:pt x="51" y="240"/>
                  </a:lnTo>
                  <a:lnTo>
                    <a:pt x="45" y="228"/>
                  </a:lnTo>
                  <a:lnTo>
                    <a:pt x="33" y="208"/>
                  </a:lnTo>
                  <a:lnTo>
                    <a:pt x="43" y="210"/>
                  </a:lnTo>
                  <a:lnTo>
                    <a:pt x="53" y="208"/>
                  </a:lnTo>
                  <a:lnTo>
                    <a:pt x="49" y="200"/>
                  </a:lnTo>
                  <a:lnTo>
                    <a:pt x="35" y="194"/>
                  </a:lnTo>
                  <a:lnTo>
                    <a:pt x="33" y="203"/>
                  </a:lnTo>
                  <a:lnTo>
                    <a:pt x="17" y="178"/>
                  </a:lnTo>
                  <a:lnTo>
                    <a:pt x="7" y="170"/>
                  </a:lnTo>
                  <a:lnTo>
                    <a:pt x="3" y="154"/>
                  </a:lnTo>
                  <a:lnTo>
                    <a:pt x="1" y="152"/>
                  </a:lnTo>
                  <a:lnTo>
                    <a:pt x="0" y="152"/>
                  </a:lnTo>
                  <a:lnTo>
                    <a:pt x="1" y="152"/>
                  </a:lnTo>
                  <a:lnTo>
                    <a:pt x="10" y="146"/>
                  </a:lnTo>
                  <a:lnTo>
                    <a:pt x="15" y="140"/>
                  </a:lnTo>
                  <a:lnTo>
                    <a:pt x="17" y="127"/>
                  </a:lnTo>
                  <a:lnTo>
                    <a:pt x="27" y="120"/>
                  </a:lnTo>
                  <a:lnTo>
                    <a:pt x="35" y="103"/>
                  </a:lnTo>
                  <a:lnTo>
                    <a:pt x="49" y="92"/>
                  </a:lnTo>
                  <a:lnTo>
                    <a:pt x="49" y="77"/>
                  </a:lnTo>
                  <a:lnTo>
                    <a:pt x="46" y="67"/>
                  </a:lnTo>
                  <a:lnTo>
                    <a:pt x="82" y="62"/>
                  </a:lnTo>
                  <a:lnTo>
                    <a:pt x="93" y="52"/>
                  </a:lnTo>
                  <a:lnTo>
                    <a:pt x="112" y="45"/>
                  </a:lnTo>
                  <a:lnTo>
                    <a:pt x="132" y="45"/>
                  </a:lnTo>
                  <a:lnTo>
                    <a:pt x="147" y="31"/>
                  </a:lnTo>
                  <a:lnTo>
                    <a:pt x="153" y="29"/>
                  </a:lnTo>
                  <a:lnTo>
                    <a:pt x="166" y="29"/>
                  </a:lnTo>
                  <a:lnTo>
                    <a:pt x="183" y="25"/>
                  </a:lnTo>
                  <a:lnTo>
                    <a:pt x="205" y="25"/>
                  </a:lnTo>
                  <a:lnTo>
                    <a:pt x="236" y="16"/>
                  </a:lnTo>
                  <a:lnTo>
                    <a:pt x="248" y="16"/>
                  </a:lnTo>
                  <a:lnTo>
                    <a:pt x="258" y="24"/>
                  </a:lnTo>
                  <a:lnTo>
                    <a:pt x="293" y="36"/>
                  </a:lnTo>
                  <a:lnTo>
                    <a:pt x="313" y="33"/>
                  </a:lnTo>
                  <a:lnTo>
                    <a:pt x="327" y="20"/>
                  </a:lnTo>
                  <a:lnTo>
                    <a:pt x="329" y="1"/>
                  </a:lnTo>
                  <a:lnTo>
                    <a:pt x="340" y="0"/>
                  </a:lnTo>
                  <a:lnTo>
                    <a:pt x="343" y="6"/>
                  </a:lnTo>
                  <a:lnTo>
                    <a:pt x="352" y="13"/>
                  </a:lnTo>
                  <a:lnTo>
                    <a:pt x="351" y="24"/>
                  </a:lnTo>
                  <a:lnTo>
                    <a:pt x="340" y="33"/>
                  </a:lnTo>
                  <a:lnTo>
                    <a:pt x="338" y="49"/>
                  </a:lnTo>
                  <a:lnTo>
                    <a:pt x="334" y="63"/>
                  </a:lnTo>
                  <a:lnTo>
                    <a:pt x="324" y="78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72" name="Freeform 354">
              <a:extLst>
                <a:ext uri="{FF2B5EF4-FFF2-40B4-BE49-F238E27FC236}">
                  <a16:creationId xmlns:a16="http://schemas.microsoft.com/office/drawing/2014/main" id="{711BC922-653A-1C78-92A8-9644E885E356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9979" y="1944652"/>
              <a:ext cx="146916" cy="72025"/>
            </a:xfrm>
            <a:custGeom>
              <a:avLst/>
              <a:gdLst>
                <a:gd name="T0" fmla="*/ 20935 w 420"/>
                <a:gd name="T1" fmla="*/ 2056 h 205"/>
                <a:gd name="T2" fmla="*/ 19154 w 420"/>
                <a:gd name="T3" fmla="*/ 3701 h 205"/>
                <a:gd name="T4" fmla="*/ 16927 w 420"/>
                <a:gd name="T5" fmla="*/ 4934 h 205"/>
                <a:gd name="T6" fmla="*/ 16481 w 420"/>
                <a:gd name="T7" fmla="*/ 7402 h 205"/>
                <a:gd name="T8" fmla="*/ 16927 w 420"/>
                <a:gd name="T9" fmla="*/ 9458 h 205"/>
                <a:gd name="T10" fmla="*/ 16036 w 420"/>
                <a:gd name="T11" fmla="*/ 9046 h 205"/>
                <a:gd name="T12" fmla="*/ 13809 w 420"/>
                <a:gd name="T13" fmla="*/ 8635 h 205"/>
                <a:gd name="T14" fmla="*/ 10245 w 420"/>
                <a:gd name="T15" fmla="*/ 9458 h 205"/>
                <a:gd name="T16" fmla="*/ 7572 w 420"/>
                <a:gd name="T17" fmla="*/ 10280 h 205"/>
                <a:gd name="T18" fmla="*/ 5345 w 420"/>
                <a:gd name="T19" fmla="*/ 9869 h 205"/>
                <a:gd name="T20" fmla="*/ 4454 w 420"/>
                <a:gd name="T21" fmla="*/ 10691 h 205"/>
                <a:gd name="T22" fmla="*/ 3118 w 420"/>
                <a:gd name="T23" fmla="*/ 10691 h 205"/>
                <a:gd name="T24" fmla="*/ 1782 w 420"/>
                <a:gd name="T25" fmla="*/ 9869 h 205"/>
                <a:gd name="T26" fmla="*/ 0 w 420"/>
                <a:gd name="T27" fmla="*/ 10280 h 205"/>
                <a:gd name="T28" fmla="*/ 1336 w 420"/>
                <a:gd name="T29" fmla="*/ 11102 h 205"/>
                <a:gd name="T30" fmla="*/ 1336 w 420"/>
                <a:gd name="T31" fmla="*/ 12747 h 205"/>
                <a:gd name="T32" fmla="*/ 1336 w 420"/>
                <a:gd name="T33" fmla="*/ 13570 h 205"/>
                <a:gd name="T34" fmla="*/ 3118 w 420"/>
                <a:gd name="T35" fmla="*/ 13981 h 205"/>
                <a:gd name="T36" fmla="*/ 4454 w 420"/>
                <a:gd name="T37" fmla="*/ 14392 h 205"/>
                <a:gd name="T38" fmla="*/ 6236 w 420"/>
                <a:gd name="T39" fmla="*/ 14392 h 205"/>
                <a:gd name="T40" fmla="*/ 9354 w 420"/>
                <a:gd name="T41" fmla="*/ 13570 h 205"/>
                <a:gd name="T42" fmla="*/ 11581 w 420"/>
                <a:gd name="T43" fmla="*/ 13158 h 205"/>
                <a:gd name="T44" fmla="*/ 12918 w 420"/>
                <a:gd name="T45" fmla="*/ 12747 h 205"/>
                <a:gd name="T46" fmla="*/ 12918 w 420"/>
                <a:gd name="T47" fmla="*/ 13570 h 205"/>
                <a:gd name="T48" fmla="*/ 13363 w 420"/>
                <a:gd name="T49" fmla="*/ 14803 h 205"/>
                <a:gd name="T50" fmla="*/ 15145 w 420"/>
                <a:gd name="T51" fmla="*/ 15214 h 205"/>
                <a:gd name="T52" fmla="*/ 18708 w 420"/>
                <a:gd name="T53" fmla="*/ 16448 h 205"/>
                <a:gd name="T54" fmla="*/ 20490 w 420"/>
                <a:gd name="T55" fmla="*/ 16859 h 205"/>
                <a:gd name="T56" fmla="*/ 24499 w 420"/>
                <a:gd name="T57" fmla="*/ 16859 h 205"/>
                <a:gd name="T58" fmla="*/ 25835 w 420"/>
                <a:gd name="T59" fmla="*/ 15626 h 205"/>
                <a:gd name="T60" fmla="*/ 28953 w 420"/>
                <a:gd name="T61" fmla="*/ 15626 h 205"/>
                <a:gd name="T62" fmla="*/ 29844 w 420"/>
                <a:gd name="T63" fmla="*/ 14803 h 205"/>
                <a:gd name="T64" fmla="*/ 31626 w 420"/>
                <a:gd name="T65" fmla="*/ 14392 h 205"/>
                <a:gd name="T66" fmla="*/ 32962 w 420"/>
                <a:gd name="T67" fmla="*/ 13158 h 205"/>
                <a:gd name="T68" fmla="*/ 33853 w 420"/>
                <a:gd name="T69" fmla="*/ 12336 h 205"/>
                <a:gd name="T70" fmla="*/ 34744 w 420"/>
                <a:gd name="T71" fmla="*/ 9869 h 205"/>
                <a:gd name="T72" fmla="*/ 34744 w 420"/>
                <a:gd name="T73" fmla="*/ 8635 h 205"/>
                <a:gd name="T74" fmla="*/ 37417 w 420"/>
                <a:gd name="T75" fmla="*/ 7813 h 205"/>
                <a:gd name="T76" fmla="*/ 36526 w 420"/>
                <a:gd name="T77" fmla="*/ 4934 h 205"/>
                <a:gd name="T78" fmla="*/ 36080 w 420"/>
                <a:gd name="T79" fmla="*/ 2056 h 205"/>
                <a:gd name="T80" fmla="*/ 32071 w 420"/>
                <a:gd name="T81" fmla="*/ 1645 h 205"/>
                <a:gd name="T82" fmla="*/ 30290 w 420"/>
                <a:gd name="T83" fmla="*/ 0 h 205"/>
                <a:gd name="T84" fmla="*/ 26726 w 420"/>
                <a:gd name="T85" fmla="*/ 822 h 205"/>
                <a:gd name="T86" fmla="*/ 25390 w 420"/>
                <a:gd name="T87" fmla="*/ 2056 h 205"/>
                <a:gd name="T88" fmla="*/ 23608 w 420"/>
                <a:gd name="T89" fmla="*/ 2467 h 205"/>
                <a:gd name="T90" fmla="*/ 22272 w 420"/>
                <a:gd name="T91" fmla="*/ 2056 h 20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20"/>
                <a:gd name="T139" fmla="*/ 0 h 205"/>
                <a:gd name="T140" fmla="*/ 420 w 420"/>
                <a:gd name="T141" fmla="*/ 205 h 205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20" h="205">
                  <a:moveTo>
                    <a:pt x="235" y="20"/>
                  </a:moveTo>
                  <a:lnTo>
                    <a:pt x="234" y="27"/>
                  </a:lnTo>
                  <a:lnTo>
                    <a:pt x="217" y="35"/>
                  </a:lnTo>
                  <a:lnTo>
                    <a:pt x="213" y="43"/>
                  </a:lnTo>
                  <a:lnTo>
                    <a:pt x="210" y="53"/>
                  </a:lnTo>
                  <a:lnTo>
                    <a:pt x="188" y="62"/>
                  </a:lnTo>
                  <a:lnTo>
                    <a:pt x="183" y="74"/>
                  </a:lnTo>
                  <a:lnTo>
                    <a:pt x="184" y="90"/>
                  </a:lnTo>
                  <a:lnTo>
                    <a:pt x="191" y="106"/>
                  </a:lnTo>
                  <a:lnTo>
                    <a:pt x="191" y="113"/>
                  </a:lnTo>
                  <a:lnTo>
                    <a:pt x="184" y="117"/>
                  </a:lnTo>
                  <a:lnTo>
                    <a:pt x="179" y="110"/>
                  </a:lnTo>
                  <a:lnTo>
                    <a:pt x="164" y="110"/>
                  </a:lnTo>
                  <a:lnTo>
                    <a:pt x="153" y="106"/>
                  </a:lnTo>
                  <a:lnTo>
                    <a:pt x="149" y="111"/>
                  </a:lnTo>
                  <a:lnTo>
                    <a:pt x="116" y="114"/>
                  </a:lnTo>
                  <a:lnTo>
                    <a:pt x="97" y="127"/>
                  </a:lnTo>
                  <a:lnTo>
                    <a:pt x="83" y="127"/>
                  </a:lnTo>
                  <a:lnTo>
                    <a:pt x="70" y="119"/>
                  </a:lnTo>
                  <a:lnTo>
                    <a:pt x="59" y="118"/>
                  </a:lnTo>
                  <a:lnTo>
                    <a:pt x="51" y="124"/>
                  </a:lnTo>
                  <a:lnTo>
                    <a:pt x="49" y="132"/>
                  </a:lnTo>
                  <a:lnTo>
                    <a:pt x="44" y="134"/>
                  </a:lnTo>
                  <a:lnTo>
                    <a:pt x="34" y="129"/>
                  </a:lnTo>
                  <a:lnTo>
                    <a:pt x="28" y="121"/>
                  </a:lnTo>
                  <a:lnTo>
                    <a:pt x="19" y="119"/>
                  </a:lnTo>
                  <a:lnTo>
                    <a:pt x="11" y="119"/>
                  </a:lnTo>
                  <a:lnTo>
                    <a:pt x="0" y="123"/>
                  </a:lnTo>
                  <a:lnTo>
                    <a:pt x="7" y="132"/>
                  </a:lnTo>
                  <a:lnTo>
                    <a:pt x="16" y="137"/>
                  </a:lnTo>
                  <a:lnTo>
                    <a:pt x="17" y="144"/>
                  </a:lnTo>
                  <a:lnTo>
                    <a:pt x="17" y="155"/>
                  </a:lnTo>
                  <a:lnTo>
                    <a:pt x="11" y="162"/>
                  </a:lnTo>
                  <a:lnTo>
                    <a:pt x="17" y="167"/>
                  </a:lnTo>
                  <a:lnTo>
                    <a:pt x="27" y="171"/>
                  </a:lnTo>
                  <a:lnTo>
                    <a:pt x="36" y="172"/>
                  </a:lnTo>
                  <a:lnTo>
                    <a:pt x="44" y="168"/>
                  </a:lnTo>
                  <a:lnTo>
                    <a:pt x="51" y="173"/>
                  </a:lnTo>
                  <a:lnTo>
                    <a:pt x="65" y="178"/>
                  </a:lnTo>
                  <a:lnTo>
                    <a:pt x="68" y="177"/>
                  </a:lnTo>
                  <a:lnTo>
                    <a:pt x="84" y="172"/>
                  </a:lnTo>
                  <a:lnTo>
                    <a:pt x="104" y="165"/>
                  </a:lnTo>
                  <a:lnTo>
                    <a:pt x="122" y="164"/>
                  </a:lnTo>
                  <a:lnTo>
                    <a:pt x="132" y="161"/>
                  </a:lnTo>
                  <a:lnTo>
                    <a:pt x="137" y="157"/>
                  </a:lnTo>
                  <a:lnTo>
                    <a:pt x="143" y="156"/>
                  </a:lnTo>
                  <a:lnTo>
                    <a:pt x="146" y="159"/>
                  </a:lnTo>
                  <a:lnTo>
                    <a:pt x="146" y="164"/>
                  </a:lnTo>
                  <a:lnTo>
                    <a:pt x="148" y="171"/>
                  </a:lnTo>
                  <a:lnTo>
                    <a:pt x="152" y="178"/>
                  </a:lnTo>
                  <a:lnTo>
                    <a:pt x="163" y="187"/>
                  </a:lnTo>
                  <a:lnTo>
                    <a:pt x="168" y="187"/>
                  </a:lnTo>
                  <a:lnTo>
                    <a:pt x="178" y="193"/>
                  </a:lnTo>
                  <a:lnTo>
                    <a:pt x="208" y="198"/>
                  </a:lnTo>
                  <a:lnTo>
                    <a:pt x="222" y="203"/>
                  </a:lnTo>
                  <a:lnTo>
                    <a:pt x="231" y="203"/>
                  </a:lnTo>
                  <a:lnTo>
                    <a:pt x="247" y="203"/>
                  </a:lnTo>
                  <a:lnTo>
                    <a:pt x="275" y="205"/>
                  </a:lnTo>
                  <a:lnTo>
                    <a:pt x="283" y="200"/>
                  </a:lnTo>
                  <a:lnTo>
                    <a:pt x="292" y="189"/>
                  </a:lnTo>
                  <a:lnTo>
                    <a:pt x="305" y="187"/>
                  </a:lnTo>
                  <a:lnTo>
                    <a:pt x="325" y="191"/>
                  </a:lnTo>
                  <a:lnTo>
                    <a:pt x="330" y="182"/>
                  </a:lnTo>
                  <a:lnTo>
                    <a:pt x="334" y="182"/>
                  </a:lnTo>
                  <a:lnTo>
                    <a:pt x="351" y="184"/>
                  </a:lnTo>
                  <a:lnTo>
                    <a:pt x="353" y="176"/>
                  </a:lnTo>
                  <a:lnTo>
                    <a:pt x="362" y="172"/>
                  </a:lnTo>
                  <a:lnTo>
                    <a:pt x="372" y="161"/>
                  </a:lnTo>
                  <a:lnTo>
                    <a:pt x="383" y="159"/>
                  </a:lnTo>
                  <a:lnTo>
                    <a:pt x="382" y="148"/>
                  </a:lnTo>
                  <a:lnTo>
                    <a:pt x="382" y="138"/>
                  </a:lnTo>
                  <a:lnTo>
                    <a:pt x="390" y="119"/>
                  </a:lnTo>
                  <a:lnTo>
                    <a:pt x="384" y="111"/>
                  </a:lnTo>
                  <a:lnTo>
                    <a:pt x="388" y="103"/>
                  </a:lnTo>
                  <a:lnTo>
                    <a:pt x="415" y="103"/>
                  </a:lnTo>
                  <a:lnTo>
                    <a:pt x="420" y="95"/>
                  </a:lnTo>
                  <a:lnTo>
                    <a:pt x="420" y="75"/>
                  </a:lnTo>
                  <a:lnTo>
                    <a:pt x="412" y="62"/>
                  </a:lnTo>
                  <a:lnTo>
                    <a:pt x="406" y="40"/>
                  </a:lnTo>
                  <a:lnTo>
                    <a:pt x="406" y="26"/>
                  </a:lnTo>
                  <a:lnTo>
                    <a:pt x="398" y="15"/>
                  </a:lnTo>
                  <a:lnTo>
                    <a:pt x="362" y="19"/>
                  </a:lnTo>
                  <a:lnTo>
                    <a:pt x="348" y="6"/>
                  </a:lnTo>
                  <a:lnTo>
                    <a:pt x="340" y="1"/>
                  </a:lnTo>
                  <a:lnTo>
                    <a:pt x="307" y="0"/>
                  </a:lnTo>
                  <a:lnTo>
                    <a:pt x="301" y="10"/>
                  </a:lnTo>
                  <a:lnTo>
                    <a:pt x="297" y="19"/>
                  </a:lnTo>
                  <a:lnTo>
                    <a:pt x="287" y="27"/>
                  </a:lnTo>
                  <a:lnTo>
                    <a:pt x="278" y="31"/>
                  </a:lnTo>
                  <a:lnTo>
                    <a:pt x="267" y="32"/>
                  </a:lnTo>
                  <a:lnTo>
                    <a:pt x="256" y="31"/>
                  </a:lnTo>
                  <a:lnTo>
                    <a:pt x="249" y="25"/>
                  </a:lnTo>
                  <a:lnTo>
                    <a:pt x="235" y="20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73" name="Freeform 355">
              <a:extLst>
                <a:ext uri="{FF2B5EF4-FFF2-40B4-BE49-F238E27FC236}">
                  <a16:creationId xmlns:a16="http://schemas.microsoft.com/office/drawing/2014/main" id="{56B7189C-927D-894E-5E17-45A8E534161A}"/>
                </a:ext>
              </a:extLst>
            </p:cNvPr>
            <p:cNvSpPr>
              <a:spLocks/>
            </p:cNvSpPr>
            <p:nvPr/>
          </p:nvSpPr>
          <p:spPr bwMode="gray">
            <a:xfrm>
              <a:off x="4629134" y="1759835"/>
              <a:ext cx="192122" cy="182101"/>
            </a:xfrm>
            <a:custGeom>
              <a:avLst/>
              <a:gdLst>
                <a:gd name="T0" fmla="*/ 46325 w 545"/>
                <a:gd name="T1" fmla="*/ 26937 h 511"/>
                <a:gd name="T2" fmla="*/ 48107 w 545"/>
                <a:gd name="T3" fmla="*/ 29838 h 511"/>
                <a:gd name="T4" fmla="*/ 48107 w 545"/>
                <a:gd name="T5" fmla="*/ 33153 h 511"/>
                <a:gd name="T6" fmla="*/ 43653 w 545"/>
                <a:gd name="T7" fmla="*/ 36883 h 511"/>
                <a:gd name="T8" fmla="*/ 41871 w 545"/>
                <a:gd name="T9" fmla="*/ 42685 h 511"/>
                <a:gd name="T10" fmla="*/ 39644 w 545"/>
                <a:gd name="T11" fmla="*/ 42271 h 511"/>
                <a:gd name="T12" fmla="*/ 36971 w 545"/>
                <a:gd name="T13" fmla="*/ 40198 h 511"/>
                <a:gd name="T14" fmla="*/ 33853 w 545"/>
                <a:gd name="T15" fmla="*/ 40613 h 511"/>
                <a:gd name="T16" fmla="*/ 30735 w 545"/>
                <a:gd name="T17" fmla="*/ 40613 h 511"/>
                <a:gd name="T18" fmla="*/ 28063 w 545"/>
                <a:gd name="T19" fmla="*/ 41442 h 511"/>
                <a:gd name="T20" fmla="*/ 25835 w 545"/>
                <a:gd name="T21" fmla="*/ 39370 h 511"/>
                <a:gd name="T22" fmla="*/ 23163 w 545"/>
                <a:gd name="T23" fmla="*/ 39784 h 511"/>
                <a:gd name="T24" fmla="*/ 18708 w 545"/>
                <a:gd name="T25" fmla="*/ 36054 h 511"/>
                <a:gd name="T26" fmla="*/ 17817 w 545"/>
                <a:gd name="T27" fmla="*/ 34397 h 511"/>
                <a:gd name="T28" fmla="*/ 13363 w 545"/>
                <a:gd name="T29" fmla="*/ 33982 h 511"/>
                <a:gd name="T30" fmla="*/ 12027 w 545"/>
                <a:gd name="T31" fmla="*/ 34811 h 511"/>
                <a:gd name="T32" fmla="*/ 10690 w 545"/>
                <a:gd name="T33" fmla="*/ 32325 h 511"/>
                <a:gd name="T34" fmla="*/ 8909 w 545"/>
                <a:gd name="T35" fmla="*/ 31081 h 511"/>
                <a:gd name="T36" fmla="*/ 5791 w 545"/>
                <a:gd name="T37" fmla="*/ 29838 h 511"/>
                <a:gd name="T38" fmla="*/ 3118 w 545"/>
                <a:gd name="T39" fmla="*/ 30252 h 511"/>
                <a:gd name="T40" fmla="*/ 4009 w 545"/>
                <a:gd name="T41" fmla="*/ 26523 h 511"/>
                <a:gd name="T42" fmla="*/ 2227 w 545"/>
                <a:gd name="T43" fmla="*/ 22379 h 511"/>
                <a:gd name="T44" fmla="*/ 1782 w 545"/>
                <a:gd name="T45" fmla="*/ 19478 h 511"/>
                <a:gd name="T46" fmla="*/ 0 w 545"/>
                <a:gd name="T47" fmla="*/ 15748 h 511"/>
                <a:gd name="T48" fmla="*/ 891 w 545"/>
                <a:gd name="T49" fmla="*/ 13261 h 511"/>
                <a:gd name="T50" fmla="*/ 445 w 545"/>
                <a:gd name="T51" fmla="*/ 9117 h 511"/>
                <a:gd name="T52" fmla="*/ 1782 w 545"/>
                <a:gd name="T53" fmla="*/ 8703 h 511"/>
                <a:gd name="T54" fmla="*/ 1336 w 545"/>
                <a:gd name="T55" fmla="*/ 7045 h 511"/>
                <a:gd name="T56" fmla="*/ 3563 w 545"/>
                <a:gd name="T57" fmla="*/ 6216 h 511"/>
                <a:gd name="T58" fmla="*/ 8909 w 545"/>
                <a:gd name="T59" fmla="*/ 4559 h 511"/>
                <a:gd name="T60" fmla="*/ 15145 w 545"/>
                <a:gd name="T61" fmla="*/ 829 h 511"/>
                <a:gd name="T62" fmla="*/ 21381 w 545"/>
                <a:gd name="T63" fmla="*/ 414 h 511"/>
                <a:gd name="T64" fmla="*/ 22717 w 545"/>
                <a:gd name="T65" fmla="*/ 1658 h 511"/>
                <a:gd name="T66" fmla="*/ 22272 w 545"/>
                <a:gd name="T67" fmla="*/ 4144 h 511"/>
                <a:gd name="T68" fmla="*/ 23163 w 545"/>
                <a:gd name="T69" fmla="*/ 3730 h 511"/>
                <a:gd name="T70" fmla="*/ 25835 w 545"/>
                <a:gd name="T71" fmla="*/ 3315 h 511"/>
                <a:gd name="T72" fmla="*/ 33853 w 545"/>
                <a:gd name="T73" fmla="*/ 4144 h 511"/>
                <a:gd name="T74" fmla="*/ 42316 w 545"/>
                <a:gd name="T75" fmla="*/ 3315 h 511"/>
                <a:gd name="T76" fmla="*/ 45880 w 545"/>
                <a:gd name="T77" fmla="*/ 6216 h 511"/>
                <a:gd name="T78" fmla="*/ 47662 w 545"/>
                <a:gd name="T79" fmla="*/ 13676 h 511"/>
                <a:gd name="T80" fmla="*/ 46325 w 545"/>
                <a:gd name="T81" fmla="*/ 17820 h 511"/>
                <a:gd name="T82" fmla="*/ 44544 w 545"/>
                <a:gd name="T83" fmla="*/ 20306 h 511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545"/>
                <a:gd name="T127" fmla="*/ 0 h 511"/>
                <a:gd name="T128" fmla="*/ 545 w 545"/>
                <a:gd name="T129" fmla="*/ 511 h 511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545" h="511">
                  <a:moveTo>
                    <a:pt x="513" y="298"/>
                  </a:moveTo>
                  <a:lnTo>
                    <a:pt x="520" y="311"/>
                  </a:lnTo>
                  <a:lnTo>
                    <a:pt x="521" y="323"/>
                  </a:lnTo>
                  <a:lnTo>
                    <a:pt x="528" y="342"/>
                  </a:lnTo>
                  <a:lnTo>
                    <a:pt x="529" y="346"/>
                  </a:lnTo>
                  <a:lnTo>
                    <a:pt x="540" y="357"/>
                  </a:lnTo>
                  <a:lnTo>
                    <a:pt x="539" y="368"/>
                  </a:lnTo>
                  <a:lnTo>
                    <a:pt x="545" y="382"/>
                  </a:lnTo>
                  <a:lnTo>
                    <a:pt x="540" y="397"/>
                  </a:lnTo>
                  <a:lnTo>
                    <a:pt x="522" y="412"/>
                  </a:lnTo>
                  <a:lnTo>
                    <a:pt x="502" y="425"/>
                  </a:lnTo>
                  <a:lnTo>
                    <a:pt x="488" y="444"/>
                  </a:lnTo>
                  <a:lnTo>
                    <a:pt x="470" y="482"/>
                  </a:lnTo>
                  <a:lnTo>
                    <a:pt x="468" y="497"/>
                  </a:lnTo>
                  <a:lnTo>
                    <a:pt x="470" y="509"/>
                  </a:lnTo>
                  <a:lnTo>
                    <a:pt x="461" y="511"/>
                  </a:lnTo>
                  <a:lnTo>
                    <a:pt x="456" y="510"/>
                  </a:lnTo>
                  <a:lnTo>
                    <a:pt x="446" y="506"/>
                  </a:lnTo>
                  <a:lnTo>
                    <a:pt x="435" y="498"/>
                  </a:lnTo>
                  <a:lnTo>
                    <a:pt x="426" y="491"/>
                  </a:lnTo>
                  <a:lnTo>
                    <a:pt x="416" y="483"/>
                  </a:lnTo>
                  <a:lnTo>
                    <a:pt x="403" y="482"/>
                  </a:lnTo>
                  <a:lnTo>
                    <a:pt x="391" y="483"/>
                  </a:lnTo>
                  <a:lnTo>
                    <a:pt x="379" y="488"/>
                  </a:lnTo>
                  <a:lnTo>
                    <a:pt x="372" y="494"/>
                  </a:lnTo>
                  <a:lnTo>
                    <a:pt x="362" y="487"/>
                  </a:lnTo>
                  <a:lnTo>
                    <a:pt x="343" y="487"/>
                  </a:lnTo>
                  <a:lnTo>
                    <a:pt x="334" y="495"/>
                  </a:lnTo>
                  <a:lnTo>
                    <a:pt x="324" y="500"/>
                  </a:lnTo>
                  <a:lnTo>
                    <a:pt x="317" y="498"/>
                  </a:lnTo>
                  <a:lnTo>
                    <a:pt x="309" y="489"/>
                  </a:lnTo>
                  <a:lnTo>
                    <a:pt x="300" y="479"/>
                  </a:lnTo>
                  <a:lnTo>
                    <a:pt x="291" y="473"/>
                  </a:lnTo>
                  <a:lnTo>
                    <a:pt x="281" y="478"/>
                  </a:lnTo>
                  <a:lnTo>
                    <a:pt x="270" y="481"/>
                  </a:lnTo>
                  <a:lnTo>
                    <a:pt x="259" y="475"/>
                  </a:lnTo>
                  <a:lnTo>
                    <a:pt x="241" y="466"/>
                  </a:lnTo>
                  <a:lnTo>
                    <a:pt x="221" y="438"/>
                  </a:lnTo>
                  <a:lnTo>
                    <a:pt x="212" y="433"/>
                  </a:lnTo>
                  <a:lnTo>
                    <a:pt x="207" y="435"/>
                  </a:lnTo>
                  <a:lnTo>
                    <a:pt x="198" y="428"/>
                  </a:lnTo>
                  <a:lnTo>
                    <a:pt x="198" y="412"/>
                  </a:lnTo>
                  <a:lnTo>
                    <a:pt x="178" y="409"/>
                  </a:lnTo>
                  <a:lnTo>
                    <a:pt x="153" y="401"/>
                  </a:lnTo>
                  <a:lnTo>
                    <a:pt x="152" y="407"/>
                  </a:lnTo>
                  <a:lnTo>
                    <a:pt x="155" y="413"/>
                  </a:lnTo>
                  <a:lnTo>
                    <a:pt x="144" y="421"/>
                  </a:lnTo>
                  <a:lnTo>
                    <a:pt x="136" y="418"/>
                  </a:lnTo>
                  <a:lnTo>
                    <a:pt x="117" y="400"/>
                  </a:lnTo>
                  <a:lnTo>
                    <a:pt x="121" y="389"/>
                  </a:lnTo>
                  <a:lnTo>
                    <a:pt x="121" y="386"/>
                  </a:lnTo>
                  <a:lnTo>
                    <a:pt x="120" y="384"/>
                  </a:lnTo>
                  <a:lnTo>
                    <a:pt x="109" y="382"/>
                  </a:lnTo>
                  <a:lnTo>
                    <a:pt x="99" y="370"/>
                  </a:lnTo>
                  <a:lnTo>
                    <a:pt x="79" y="365"/>
                  </a:lnTo>
                  <a:lnTo>
                    <a:pt x="71" y="366"/>
                  </a:lnTo>
                  <a:lnTo>
                    <a:pt x="65" y="357"/>
                  </a:lnTo>
                  <a:lnTo>
                    <a:pt x="55" y="352"/>
                  </a:lnTo>
                  <a:lnTo>
                    <a:pt x="40" y="366"/>
                  </a:lnTo>
                  <a:lnTo>
                    <a:pt x="34" y="363"/>
                  </a:lnTo>
                  <a:lnTo>
                    <a:pt x="38" y="354"/>
                  </a:lnTo>
                  <a:lnTo>
                    <a:pt x="42" y="337"/>
                  </a:lnTo>
                  <a:lnTo>
                    <a:pt x="43" y="316"/>
                  </a:lnTo>
                  <a:lnTo>
                    <a:pt x="42" y="312"/>
                  </a:lnTo>
                  <a:lnTo>
                    <a:pt x="26" y="293"/>
                  </a:lnTo>
                  <a:lnTo>
                    <a:pt x="23" y="269"/>
                  </a:lnTo>
                  <a:lnTo>
                    <a:pt x="23" y="258"/>
                  </a:lnTo>
                  <a:lnTo>
                    <a:pt x="22" y="242"/>
                  </a:lnTo>
                  <a:lnTo>
                    <a:pt x="20" y="233"/>
                  </a:lnTo>
                  <a:lnTo>
                    <a:pt x="17" y="209"/>
                  </a:lnTo>
                  <a:lnTo>
                    <a:pt x="16" y="201"/>
                  </a:lnTo>
                  <a:lnTo>
                    <a:pt x="1" y="190"/>
                  </a:lnTo>
                  <a:lnTo>
                    <a:pt x="0" y="182"/>
                  </a:lnTo>
                  <a:lnTo>
                    <a:pt x="5" y="170"/>
                  </a:lnTo>
                  <a:lnTo>
                    <a:pt x="11" y="158"/>
                  </a:lnTo>
                  <a:lnTo>
                    <a:pt x="12" y="145"/>
                  </a:lnTo>
                  <a:lnTo>
                    <a:pt x="12" y="128"/>
                  </a:lnTo>
                  <a:lnTo>
                    <a:pt x="4" y="111"/>
                  </a:lnTo>
                  <a:lnTo>
                    <a:pt x="1" y="102"/>
                  </a:lnTo>
                  <a:lnTo>
                    <a:pt x="18" y="110"/>
                  </a:lnTo>
                  <a:lnTo>
                    <a:pt x="21" y="105"/>
                  </a:lnTo>
                  <a:lnTo>
                    <a:pt x="21" y="96"/>
                  </a:lnTo>
                  <a:lnTo>
                    <a:pt x="7" y="93"/>
                  </a:lnTo>
                  <a:lnTo>
                    <a:pt x="16" y="86"/>
                  </a:lnTo>
                  <a:lnTo>
                    <a:pt x="26" y="83"/>
                  </a:lnTo>
                  <a:lnTo>
                    <a:pt x="27" y="86"/>
                  </a:lnTo>
                  <a:lnTo>
                    <a:pt x="38" y="74"/>
                  </a:lnTo>
                  <a:lnTo>
                    <a:pt x="51" y="67"/>
                  </a:lnTo>
                  <a:lnTo>
                    <a:pt x="70" y="63"/>
                  </a:lnTo>
                  <a:lnTo>
                    <a:pt x="102" y="53"/>
                  </a:lnTo>
                  <a:lnTo>
                    <a:pt x="134" y="26"/>
                  </a:lnTo>
                  <a:lnTo>
                    <a:pt x="149" y="21"/>
                  </a:lnTo>
                  <a:lnTo>
                    <a:pt x="172" y="9"/>
                  </a:lnTo>
                  <a:lnTo>
                    <a:pt x="215" y="0"/>
                  </a:lnTo>
                  <a:lnTo>
                    <a:pt x="228" y="0"/>
                  </a:lnTo>
                  <a:lnTo>
                    <a:pt x="239" y="3"/>
                  </a:lnTo>
                  <a:lnTo>
                    <a:pt x="248" y="7"/>
                  </a:lnTo>
                  <a:lnTo>
                    <a:pt x="255" y="15"/>
                  </a:lnTo>
                  <a:lnTo>
                    <a:pt x="254" y="21"/>
                  </a:lnTo>
                  <a:lnTo>
                    <a:pt x="236" y="10"/>
                  </a:lnTo>
                  <a:lnTo>
                    <a:pt x="237" y="16"/>
                  </a:lnTo>
                  <a:lnTo>
                    <a:pt x="250" y="50"/>
                  </a:lnTo>
                  <a:lnTo>
                    <a:pt x="257" y="52"/>
                  </a:lnTo>
                  <a:lnTo>
                    <a:pt x="258" y="48"/>
                  </a:lnTo>
                  <a:lnTo>
                    <a:pt x="262" y="45"/>
                  </a:lnTo>
                  <a:lnTo>
                    <a:pt x="266" y="48"/>
                  </a:lnTo>
                  <a:lnTo>
                    <a:pt x="276" y="45"/>
                  </a:lnTo>
                  <a:lnTo>
                    <a:pt x="290" y="42"/>
                  </a:lnTo>
                  <a:lnTo>
                    <a:pt x="300" y="36"/>
                  </a:lnTo>
                  <a:lnTo>
                    <a:pt x="314" y="41"/>
                  </a:lnTo>
                  <a:lnTo>
                    <a:pt x="378" y="52"/>
                  </a:lnTo>
                  <a:lnTo>
                    <a:pt x="426" y="51"/>
                  </a:lnTo>
                  <a:lnTo>
                    <a:pt x="453" y="45"/>
                  </a:lnTo>
                  <a:lnTo>
                    <a:pt x="477" y="42"/>
                  </a:lnTo>
                  <a:lnTo>
                    <a:pt x="491" y="50"/>
                  </a:lnTo>
                  <a:lnTo>
                    <a:pt x="510" y="63"/>
                  </a:lnTo>
                  <a:lnTo>
                    <a:pt x="515" y="74"/>
                  </a:lnTo>
                  <a:lnTo>
                    <a:pt x="515" y="81"/>
                  </a:lnTo>
                  <a:lnTo>
                    <a:pt x="516" y="91"/>
                  </a:lnTo>
                  <a:lnTo>
                    <a:pt x="534" y="163"/>
                  </a:lnTo>
                  <a:lnTo>
                    <a:pt x="534" y="179"/>
                  </a:lnTo>
                  <a:lnTo>
                    <a:pt x="533" y="196"/>
                  </a:lnTo>
                  <a:lnTo>
                    <a:pt x="522" y="212"/>
                  </a:lnTo>
                  <a:lnTo>
                    <a:pt x="507" y="220"/>
                  </a:lnTo>
                  <a:lnTo>
                    <a:pt x="496" y="234"/>
                  </a:lnTo>
                  <a:lnTo>
                    <a:pt x="502" y="245"/>
                  </a:lnTo>
                  <a:lnTo>
                    <a:pt x="517" y="257"/>
                  </a:lnTo>
                  <a:lnTo>
                    <a:pt x="513" y="298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74" name="Freeform 356">
              <a:extLst>
                <a:ext uri="{FF2B5EF4-FFF2-40B4-BE49-F238E27FC236}">
                  <a16:creationId xmlns:a16="http://schemas.microsoft.com/office/drawing/2014/main" id="{07203630-4B1A-C114-3220-1B789366C284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3494" y="1705476"/>
              <a:ext cx="110501" cy="84256"/>
            </a:xfrm>
            <a:custGeom>
              <a:avLst/>
              <a:gdLst>
                <a:gd name="T0" fmla="*/ 443 w 317"/>
                <a:gd name="T1" fmla="*/ 4449 h 244"/>
                <a:gd name="T2" fmla="*/ 443 w 317"/>
                <a:gd name="T3" fmla="*/ 6067 h 244"/>
                <a:gd name="T4" fmla="*/ 443 w 317"/>
                <a:gd name="T5" fmla="*/ 5258 h 244"/>
                <a:gd name="T6" fmla="*/ 885 w 317"/>
                <a:gd name="T7" fmla="*/ 7280 h 244"/>
                <a:gd name="T8" fmla="*/ 885 w 317"/>
                <a:gd name="T9" fmla="*/ 8898 h 244"/>
                <a:gd name="T10" fmla="*/ 1328 w 317"/>
                <a:gd name="T11" fmla="*/ 9302 h 244"/>
                <a:gd name="T12" fmla="*/ 2656 w 317"/>
                <a:gd name="T13" fmla="*/ 9707 h 244"/>
                <a:gd name="T14" fmla="*/ 3984 w 317"/>
                <a:gd name="T15" fmla="*/ 10111 h 244"/>
                <a:gd name="T16" fmla="*/ 6197 w 317"/>
                <a:gd name="T17" fmla="*/ 10516 h 244"/>
                <a:gd name="T18" fmla="*/ 7967 w 317"/>
                <a:gd name="T19" fmla="*/ 10920 h 244"/>
                <a:gd name="T20" fmla="*/ 8410 w 317"/>
                <a:gd name="T21" fmla="*/ 13751 h 244"/>
                <a:gd name="T22" fmla="*/ 8853 w 317"/>
                <a:gd name="T23" fmla="*/ 16178 h 244"/>
                <a:gd name="T24" fmla="*/ 11508 w 317"/>
                <a:gd name="T25" fmla="*/ 17796 h 244"/>
                <a:gd name="T26" fmla="*/ 11951 w 317"/>
                <a:gd name="T27" fmla="*/ 19009 h 244"/>
                <a:gd name="T28" fmla="*/ 14607 w 317"/>
                <a:gd name="T29" fmla="*/ 19009 h 244"/>
                <a:gd name="T30" fmla="*/ 16820 w 317"/>
                <a:gd name="T31" fmla="*/ 19009 h 244"/>
                <a:gd name="T32" fmla="*/ 18148 w 317"/>
                <a:gd name="T33" fmla="*/ 19009 h 244"/>
                <a:gd name="T34" fmla="*/ 18590 w 317"/>
                <a:gd name="T35" fmla="*/ 17796 h 244"/>
                <a:gd name="T36" fmla="*/ 19918 w 317"/>
                <a:gd name="T37" fmla="*/ 17392 h 244"/>
                <a:gd name="T38" fmla="*/ 20804 w 317"/>
                <a:gd name="T39" fmla="*/ 16583 h 244"/>
                <a:gd name="T40" fmla="*/ 21689 w 317"/>
                <a:gd name="T41" fmla="*/ 17392 h 244"/>
                <a:gd name="T42" fmla="*/ 23017 w 317"/>
                <a:gd name="T43" fmla="*/ 17392 h 244"/>
                <a:gd name="T44" fmla="*/ 22574 w 317"/>
                <a:gd name="T45" fmla="*/ 16178 h 244"/>
                <a:gd name="T46" fmla="*/ 22574 w 317"/>
                <a:gd name="T47" fmla="*/ 14965 h 244"/>
                <a:gd name="T48" fmla="*/ 23017 w 317"/>
                <a:gd name="T49" fmla="*/ 13347 h 244"/>
                <a:gd name="T50" fmla="*/ 23459 w 317"/>
                <a:gd name="T51" fmla="*/ 12134 h 244"/>
                <a:gd name="T52" fmla="*/ 23902 w 317"/>
                <a:gd name="T53" fmla="*/ 11325 h 244"/>
                <a:gd name="T54" fmla="*/ 25230 w 317"/>
                <a:gd name="T55" fmla="*/ 10516 h 244"/>
                <a:gd name="T56" fmla="*/ 27000 w 317"/>
                <a:gd name="T57" fmla="*/ 10111 h 244"/>
                <a:gd name="T58" fmla="*/ 27443 w 317"/>
                <a:gd name="T59" fmla="*/ 8494 h 244"/>
                <a:gd name="T60" fmla="*/ 26558 w 317"/>
                <a:gd name="T61" fmla="*/ 7685 h 244"/>
                <a:gd name="T62" fmla="*/ 27000 w 317"/>
                <a:gd name="T63" fmla="*/ 6876 h 244"/>
                <a:gd name="T64" fmla="*/ 27443 w 317"/>
                <a:gd name="T65" fmla="*/ 6471 h 244"/>
                <a:gd name="T66" fmla="*/ 27000 w 317"/>
                <a:gd name="T67" fmla="*/ 5662 h 244"/>
                <a:gd name="T68" fmla="*/ 24787 w 317"/>
                <a:gd name="T69" fmla="*/ 3640 h 244"/>
                <a:gd name="T70" fmla="*/ 20804 w 317"/>
                <a:gd name="T71" fmla="*/ 2427 h 244"/>
                <a:gd name="T72" fmla="*/ 19476 w 317"/>
                <a:gd name="T73" fmla="*/ 404 h 244"/>
                <a:gd name="T74" fmla="*/ 18148 w 317"/>
                <a:gd name="T75" fmla="*/ 0 h 244"/>
                <a:gd name="T76" fmla="*/ 15935 w 317"/>
                <a:gd name="T77" fmla="*/ 1213 h 244"/>
                <a:gd name="T78" fmla="*/ 12394 w 317"/>
                <a:gd name="T79" fmla="*/ 404 h 244"/>
                <a:gd name="T80" fmla="*/ 10180 w 317"/>
                <a:gd name="T81" fmla="*/ 404 h 244"/>
                <a:gd name="T82" fmla="*/ 8853 w 317"/>
                <a:gd name="T83" fmla="*/ 404 h 244"/>
                <a:gd name="T84" fmla="*/ 7967 w 317"/>
                <a:gd name="T85" fmla="*/ 404 h 244"/>
                <a:gd name="T86" fmla="*/ 5754 w 317"/>
                <a:gd name="T87" fmla="*/ 404 h 244"/>
                <a:gd name="T88" fmla="*/ 2213 w 317"/>
                <a:gd name="T89" fmla="*/ 1618 h 244"/>
                <a:gd name="T90" fmla="*/ 885 w 317"/>
                <a:gd name="T91" fmla="*/ 2831 h 24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17"/>
                <a:gd name="T139" fmla="*/ 0 h 244"/>
                <a:gd name="T140" fmla="*/ 317 w 317"/>
                <a:gd name="T141" fmla="*/ 244 h 24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17" h="244">
                  <a:moveTo>
                    <a:pt x="0" y="35"/>
                  </a:moveTo>
                  <a:lnTo>
                    <a:pt x="3" y="57"/>
                  </a:lnTo>
                  <a:lnTo>
                    <a:pt x="3" y="71"/>
                  </a:lnTo>
                  <a:lnTo>
                    <a:pt x="5" y="78"/>
                  </a:lnTo>
                  <a:lnTo>
                    <a:pt x="3" y="54"/>
                  </a:lnTo>
                  <a:lnTo>
                    <a:pt x="4" y="64"/>
                  </a:lnTo>
                  <a:lnTo>
                    <a:pt x="6" y="72"/>
                  </a:lnTo>
                  <a:lnTo>
                    <a:pt x="11" y="94"/>
                  </a:lnTo>
                  <a:lnTo>
                    <a:pt x="13" y="102"/>
                  </a:lnTo>
                  <a:lnTo>
                    <a:pt x="11" y="110"/>
                  </a:lnTo>
                  <a:lnTo>
                    <a:pt x="14" y="110"/>
                  </a:lnTo>
                  <a:lnTo>
                    <a:pt x="15" y="118"/>
                  </a:lnTo>
                  <a:lnTo>
                    <a:pt x="25" y="115"/>
                  </a:lnTo>
                  <a:lnTo>
                    <a:pt x="31" y="120"/>
                  </a:lnTo>
                  <a:lnTo>
                    <a:pt x="38" y="123"/>
                  </a:lnTo>
                  <a:lnTo>
                    <a:pt x="44" y="127"/>
                  </a:lnTo>
                  <a:lnTo>
                    <a:pt x="52" y="131"/>
                  </a:lnTo>
                  <a:lnTo>
                    <a:pt x="69" y="134"/>
                  </a:lnTo>
                  <a:lnTo>
                    <a:pt x="85" y="132"/>
                  </a:lnTo>
                  <a:lnTo>
                    <a:pt x="91" y="136"/>
                  </a:lnTo>
                  <a:lnTo>
                    <a:pt x="102" y="159"/>
                  </a:lnTo>
                  <a:lnTo>
                    <a:pt x="96" y="174"/>
                  </a:lnTo>
                  <a:lnTo>
                    <a:pt x="96" y="191"/>
                  </a:lnTo>
                  <a:lnTo>
                    <a:pt x="99" y="201"/>
                  </a:lnTo>
                  <a:lnTo>
                    <a:pt x="113" y="209"/>
                  </a:lnTo>
                  <a:lnTo>
                    <a:pt x="132" y="222"/>
                  </a:lnTo>
                  <a:lnTo>
                    <a:pt x="137" y="233"/>
                  </a:lnTo>
                  <a:lnTo>
                    <a:pt x="137" y="240"/>
                  </a:lnTo>
                  <a:lnTo>
                    <a:pt x="151" y="244"/>
                  </a:lnTo>
                  <a:lnTo>
                    <a:pt x="167" y="240"/>
                  </a:lnTo>
                  <a:lnTo>
                    <a:pt x="183" y="243"/>
                  </a:lnTo>
                  <a:lnTo>
                    <a:pt x="191" y="239"/>
                  </a:lnTo>
                  <a:lnTo>
                    <a:pt x="197" y="234"/>
                  </a:lnTo>
                  <a:lnTo>
                    <a:pt x="204" y="238"/>
                  </a:lnTo>
                  <a:lnTo>
                    <a:pt x="212" y="237"/>
                  </a:lnTo>
                  <a:lnTo>
                    <a:pt x="209" y="222"/>
                  </a:lnTo>
                  <a:lnTo>
                    <a:pt x="215" y="220"/>
                  </a:lnTo>
                  <a:lnTo>
                    <a:pt x="224" y="220"/>
                  </a:lnTo>
                  <a:lnTo>
                    <a:pt x="229" y="213"/>
                  </a:lnTo>
                  <a:lnTo>
                    <a:pt x="236" y="209"/>
                  </a:lnTo>
                  <a:lnTo>
                    <a:pt x="245" y="211"/>
                  </a:lnTo>
                  <a:lnTo>
                    <a:pt x="248" y="218"/>
                  </a:lnTo>
                  <a:lnTo>
                    <a:pt x="256" y="222"/>
                  </a:lnTo>
                  <a:lnTo>
                    <a:pt x="263" y="220"/>
                  </a:lnTo>
                  <a:lnTo>
                    <a:pt x="262" y="211"/>
                  </a:lnTo>
                  <a:lnTo>
                    <a:pt x="257" y="205"/>
                  </a:lnTo>
                  <a:lnTo>
                    <a:pt x="253" y="197"/>
                  </a:lnTo>
                  <a:lnTo>
                    <a:pt x="255" y="190"/>
                  </a:lnTo>
                  <a:lnTo>
                    <a:pt x="263" y="175"/>
                  </a:lnTo>
                  <a:lnTo>
                    <a:pt x="263" y="168"/>
                  </a:lnTo>
                  <a:lnTo>
                    <a:pt x="266" y="159"/>
                  </a:lnTo>
                  <a:lnTo>
                    <a:pt x="266" y="151"/>
                  </a:lnTo>
                  <a:lnTo>
                    <a:pt x="267" y="143"/>
                  </a:lnTo>
                  <a:lnTo>
                    <a:pt x="274" y="140"/>
                  </a:lnTo>
                  <a:lnTo>
                    <a:pt x="283" y="137"/>
                  </a:lnTo>
                  <a:lnTo>
                    <a:pt x="288" y="132"/>
                  </a:lnTo>
                  <a:lnTo>
                    <a:pt x="295" y="129"/>
                  </a:lnTo>
                  <a:lnTo>
                    <a:pt x="309" y="129"/>
                  </a:lnTo>
                  <a:lnTo>
                    <a:pt x="317" y="110"/>
                  </a:lnTo>
                  <a:lnTo>
                    <a:pt x="310" y="107"/>
                  </a:lnTo>
                  <a:lnTo>
                    <a:pt x="301" y="107"/>
                  </a:lnTo>
                  <a:lnTo>
                    <a:pt x="301" y="99"/>
                  </a:lnTo>
                  <a:lnTo>
                    <a:pt x="301" y="91"/>
                  </a:lnTo>
                  <a:lnTo>
                    <a:pt x="309" y="87"/>
                  </a:lnTo>
                  <a:lnTo>
                    <a:pt x="315" y="81"/>
                  </a:lnTo>
                  <a:lnTo>
                    <a:pt x="313" y="80"/>
                  </a:lnTo>
                  <a:lnTo>
                    <a:pt x="313" y="78"/>
                  </a:lnTo>
                  <a:lnTo>
                    <a:pt x="307" y="73"/>
                  </a:lnTo>
                  <a:lnTo>
                    <a:pt x="300" y="71"/>
                  </a:lnTo>
                  <a:lnTo>
                    <a:pt x="282" y="48"/>
                  </a:lnTo>
                  <a:lnTo>
                    <a:pt x="255" y="29"/>
                  </a:lnTo>
                  <a:lnTo>
                    <a:pt x="239" y="30"/>
                  </a:lnTo>
                  <a:lnTo>
                    <a:pt x="231" y="28"/>
                  </a:lnTo>
                  <a:lnTo>
                    <a:pt x="221" y="5"/>
                  </a:lnTo>
                  <a:lnTo>
                    <a:pt x="215" y="0"/>
                  </a:lnTo>
                  <a:lnTo>
                    <a:pt x="208" y="2"/>
                  </a:lnTo>
                  <a:lnTo>
                    <a:pt x="197" y="13"/>
                  </a:lnTo>
                  <a:lnTo>
                    <a:pt x="181" y="17"/>
                  </a:lnTo>
                  <a:lnTo>
                    <a:pt x="150" y="6"/>
                  </a:lnTo>
                  <a:lnTo>
                    <a:pt x="143" y="6"/>
                  </a:lnTo>
                  <a:lnTo>
                    <a:pt x="126" y="3"/>
                  </a:lnTo>
                  <a:lnTo>
                    <a:pt x="118" y="6"/>
                  </a:lnTo>
                  <a:lnTo>
                    <a:pt x="111" y="3"/>
                  </a:lnTo>
                  <a:lnTo>
                    <a:pt x="103" y="7"/>
                  </a:lnTo>
                  <a:lnTo>
                    <a:pt x="95" y="7"/>
                  </a:lnTo>
                  <a:lnTo>
                    <a:pt x="89" y="3"/>
                  </a:lnTo>
                  <a:lnTo>
                    <a:pt x="80" y="2"/>
                  </a:lnTo>
                  <a:lnTo>
                    <a:pt x="64" y="3"/>
                  </a:lnTo>
                  <a:lnTo>
                    <a:pt x="41" y="11"/>
                  </a:lnTo>
                  <a:lnTo>
                    <a:pt x="26" y="19"/>
                  </a:lnTo>
                  <a:lnTo>
                    <a:pt x="17" y="33"/>
                  </a:lnTo>
                  <a:lnTo>
                    <a:pt x="10" y="38"/>
                  </a:lnTo>
                  <a:lnTo>
                    <a:pt x="0" y="35"/>
                  </a:lnTo>
                  <a:close/>
                </a:path>
              </a:pathLst>
            </a:custGeom>
            <a:grpFill/>
            <a:ln w="6350" cap="flat" cmpd="sng">
              <a:solidFill>
                <a:srgbClr val="77E2C3">
                  <a:lumMod val="40000"/>
                  <a:lumOff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7789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</p:grpSp>
      <p:grpSp>
        <p:nvGrpSpPr>
          <p:cNvPr id="193" name="Группа 192">
            <a:extLst>
              <a:ext uri="{FF2B5EF4-FFF2-40B4-BE49-F238E27FC236}">
                <a16:creationId xmlns:a16="http://schemas.microsoft.com/office/drawing/2014/main" id="{664A77FE-43B1-62B8-DB05-6E7C3C006959}"/>
              </a:ext>
            </a:extLst>
          </p:cNvPr>
          <p:cNvGrpSpPr/>
          <p:nvPr/>
        </p:nvGrpSpPr>
        <p:grpSpPr>
          <a:xfrm>
            <a:off x="4839092" y="2340396"/>
            <a:ext cx="728420" cy="269406"/>
            <a:chOff x="4863051" y="1633630"/>
            <a:chExt cx="940036" cy="328532"/>
          </a:xfrm>
        </p:grpSpPr>
        <p:sp>
          <p:nvSpPr>
            <p:cNvPr id="194" name="Овал 193">
              <a:extLst>
                <a:ext uri="{FF2B5EF4-FFF2-40B4-BE49-F238E27FC236}">
                  <a16:creationId xmlns:a16="http://schemas.microsoft.com/office/drawing/2014/main" id="{31DDB93D-2272-73F7-C84D-3A782BC1F86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871596" y="1633630"/>
              <a:ext cx="92329" cy="92329"/>
            </a:xfrm>
            <a:prstGeom prst="ellipse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63500" sx="111000" sy="111000" algn="ctr" rotWithShape="0">
                <a:prstClr val="black">
                  <a:alpha val="35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 charset="0"/>
                <a:cs typeface="+mn-cs"/>
              </a:endParaRPr>
            </a:p>
          </p:txBody>
        </p:sp>
        <p:sp>
          <p:nvSpPr>
            <p:cNvPr id="195" name="Овал 194">
              <a:extLst>
                <a:ext uri="{FF2B5EF4-FFF2-40B4-BE49-F238E27FC236}">
                  <a16:creationId xmlns:a16="http://schemas.microsoft.com/office/drawing/2014/main" id="{2937E875-25FC-AECC-BC1C-7B9984C5482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343058" y="1733375"/>
              <a:ext cx="92329" cy="92329"/>
            </a:xfrm>
            <a:prstGeom prst="ellipse">
              <a:avLst/>
            </a:prstGeom>
            <a:solidFill>
              <a:srgbClr val="008C95"/>
            </a:solidFill>
            <a:ln w="3175" cap="flat" cmpd="sng" algn="ctr">
              <a:solidFill>
                <a:sysClr val="window" lastClr="FFFFFF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63500" sx="111000" sy="111000" algn="ctr" rotWithShape="0">
                <a:prstClr val="black">
                  <a:alpha val="35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 charset="0"/>
                <a:cs typeface="+mn-cs"/>
              </a:endParaRPr>
            </a:p>
          </p:txBody>
        </p:sp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5A413910-CF6C-D92F-49A5-A8A107D86851}"/>
                </a:ext>
              </a:extLst>
            </p:cNvPr>
            <p:cNvSpPr txBox="1"/>
            <p:nvPr/>
          </p:nvSpPr>
          <p:spPr>
            <a:xfrm>
              <a:off x="4863051" y="1739724"/>
              <a:ext cx="432565" cy="10259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778986" eaLnBrk="1" fontAlgn="auto" latinLnBrk="0" hangingPunct="1">
                <a:lnSpc>
                  <a:spcPts val="8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rPr>
                <a:t>Москва</a:t>
              </a:r>
              <a:endPara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97" name="TextBox 196">
              <a:extLst>
                <a:ext uri="{FF2B5EF4-FFF2-40B4-BE49-F238E27FC236}">
                  <a16:creationId xmlns:a16="http://schemas.microsoft.com/office/drawing/2014/main" id="{75F9EEE3-B2E7-1BFA-BF98-65D63893B232}"/>
                </a:ext>
              </a:extLst>
            </p:cNvPr>
            <p:cNvSpPr txBox="1"/>
            <p:nvPr/>
          </p:nvSpPr>
          <p:spPr>
            <a:xfrm>
              <a:off x="5382790" y="1859570"/>
              <a:ext cx="420297" cy="10259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778986" eaLnBrk="1" fontAlgn="auto" latinLnBrk="0" hangingPunct="1">
                <a:lnSpc>
                  <a:spcPts val="8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0" i="0" u="none" strike="noStrike" kern="0" cap="none" spc="0" normalizeH="0" baseline="0" noProof="0">
                  <a:ln>
                    <a:noFill/>
                  </a:ln>
                  <a:solidFill>
                    <a:srgbClr val="00313C"/>
                  </a:solidFill>
                  <a:effectLst/>
                  <a:uLnTx/>
                  <a:uFillTx/>
                  <a:latin typeface="Arial"/>
                  <a:cs typeface="+mn-cs"/>
                </a:rPr>
                <a:t>Казань</a:t>
              </a:r>
              <a:endPara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</p:grpSp>
      <p:sp>
        <p:nvSpPr>
          <p:cNvPr id="235" name="Прямоугольник 234">
            <a:extLst>
              <a:ext uri="{FF2B5EF4-FFF2-40B4-BE49-F238E27FC236}">
                <a16:creationId xmlns:a16="http://schemas.microsoft.com/office/drawing/2014/main" id="{F009B474-33D9-B461-DA38-9B34F01A8C86}"/>
              </a:ext>
            </a:extLst>
          </p:cNvPr>
          <p:cNvSpPr/>
          <p:nvPr/>
        </p:nvSpPr>
        <p:spPr bwMode="auto">
          <a:xfrm>
            <a:off x="352438" y="265294"/>
            <a:ext cx="8791563" cy="575242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lvl="0" eaLnBrk="1" hangingPunct="1">
              <a:defRPr/>
            </a:pPr>
            <a:r>
              <a:rPr lang="ru-RU" sz="2000" b="1" kern="0">
                <a:solidFill>
                  <a:srgbClr val="008C95"/>
                </a:solidFill>
                <a:latin typeface="Arial"/>
              </a:rPr>
              <a:t>Бизнес-модель Казаньоргсинтез</a:t>
            </a:r>
          </a:p>
        </p:txBody>
      </p:sp>
      <p:sp>
        <p:nvSpPr>
          <p:cNvPr id="240" name="Прямоугольник 239">
            <a:extLst>
              <a:ext uri="{FF2B5EF4-FFF2-40B4-BE49-F238E27FC236}">
                <a16:creationId xmlns:a16="http://schemas.microsoft.com/office/drawing/2014/main" id="{15AFFE90-88B1-E69D-D657-010FB7F03D8B}"/>
              </a:ext>
            </a:extLst>
          </p:cNvPr>
          <p:cNvSpPr/>
          <p:nvPr/>
        </p:nvSpPr>
        <p:spPr bwMode="auto">
          <a:xfrm>
            <a:off x="-6864" y="598470"/>
            <a:ext cx="3048000" cy="4554358"/>
          </a:xfrm>
          <a:prstGeom prst="rect">
            <a:avLst/>
          </a:prstGeom>
          <a:solidFill>
            <a:srgbClr val="008C9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  <p:sp>
        <p:nvSpPr>
          <p:cNvPr id="241" name="TextBox 131">
            <a:extLst>
              <a:ext uri="{FF2B5EF4-FFF2-40B4-BE49-F238E27FC236}">
                <a16:creationId xmlns:a16="http://schemas.microsoft.com/office/drawing/2014/main" id="{3351540F-F332-4161-5E71-45DCCE720B33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3306" y="840536"/>
            <a:ext cx="2386210" cy="8463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Один из крупнейших в России </a:t>
            </a:r>
            <a:b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</a:b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производителей полиэтилена</a:t>
            </a:r>
            <a:b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</a:b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Единственный в России </a:t>
            </a:r>
            <a:b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E04E39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</a:b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производитель </a:t>
            </a:r>
            <a:r>
              <a:rPr kumimoji="0" lang="ru-RU" sz="11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сэвилена</a:t>
            </a: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, поликарбонатов и бисфенола А. </a:t>
            </a:r>
          </a:p>
        </p:txBody>
      </p:sp>
      <p:sp>
        <p:nvSpPr>
          <p:cNvPr id="242" name="TextBox 241">
            <a:extLst>
              <a:ext uri="{FF2B5EF4-FFF2-40B4-BE49-F238E27FC236}">
                <a16:creationId xmlns:a16="http://schemas.microsoft.com/office/drawing/2014/main" id="{77980DB2-DC6D-957D-8B50-770049B8AA62}"/>
              </a:ext>
            </a:extLst>
          </p:cNvPr>
          <p:cNvSpPr txBox="1"/>
          <p:nvPr/>
        </p:nvSpPr>
        <p:spPr>
          <a:xfrm>
            <a:off x="373306" y="1831610"/>
            <a:ext cx="1241324" cy="4224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778986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2000" b="1">
                <a:solidFill>
                  <a:prstClr val="white"/>
                </a:solidFill>
                <a:latin typeface="Arial"/>
                <a:cs typeface="+mn-cs"/>
              </a:rPr>
              <a:t>727</a:t>
            </a:r>
            <a:r>
              <a:rPr lang="ru-RU" sz="1200" b="1">
                <a:solidFill>
                  <a:prstClr val="white"/>
                </a:solidFill>
                <a:latin typeface="Arial"/>
                <a:cs typeface="+mn-cs"/>
              </a:rPr>
              <a:t> </a:t>
            </a:r>
            <a:r>
              <a:rPr lang="ru-RU" sz="1050" b="1">
                <a:solidFill>
                  <a:prstClr val="white"/>
                </a:solidFill>
                <a:latin typeface="Arial"/>
                <a:cs typeface="+mn-cs"/>
              </a:rPr>
              <a:t>тыс. т</a:t>
            </a:r>
          </a:p>
          <a:p>
            <a:pPr defTabSz="778986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000">
                <a:solidFill>
                  <a:prstClr val="white"/>
                </a:solidFill>
                <a:latin typeface="Arial"/>
                <a:cs typeface="+mn-cs"/>
              </a:rPr>
              <a:t>Полиэтилен</a:t>
            </a:r>
            <a:endParaRPr lang="en-US" sz="1000" err="1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243" name="TextBox 242">
            <a:extLst>
              <a:ext uri="{FF2B5EF4-FFF2-40B4-BE49-F238E27FC236}">
                <a16:creationId xmlns:a16="http://schemas.microsoft.com/office/drawing/2014/main" id="{CCF2C649-61A5-6791-CF2E-46153515845F}"/>
              </a:ext>
            </a:extLst>
          </p:cNvPr>
          <p:cNvSpPr txBox="1"/>
          <p:nvPr/>
        </p:nvSpPr>
        <p:spPr>
          <a:xfrm>
            <a:off x="373306" y="2633064"/>
            <a:ext cx="1189962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778986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2000" b="1">
                <a:solidFill>
                  <a:prstClr val="white"/>
                </a:solidFill>
                <a:latin typeface="Arial"/>
                <a:cs typeface="+mn-cs"/>
              </a:rPr>
              <a:t>81</a:t>
            </a:r>
            <a:r>
              <a:rPr lang="ru-RU" sz="1200" b="1">
                <a:solidFill>
                  <a:prstClr val="white"/>
                </a:solidFill>
                <a:latin typeface="Arial"/>
                <a:cs typeface="+mn-cs"/>
              </a:rPr>
              <a:t> </a:t>
            </a:r>
            <a:r>
              <a:rPr lang="ru-RU" sz="900" b="1">
                <a:solidFill>
                  <a:prstClr val="white"/>
                </a:solidFill>
                <a:latin typeface="Arial"/>
                <a:cs typeface="+mn-cs"/>
              </a:rPr>
              <a:t>тыс. т </a:t>
            </a:r>
            <a:br>
              <a:rPr lang="ru-RU" sz="900" b="1">
                <a:solidFill>
                  <a:prstClr val="white"/>
                </a:solidFill>
                <a:latin typeface="Arial"/>
                <a:cs typeface="+mn-cs"/>
              </a:rPr>
            </a:br>
            <a:r>
              <a:rPr lang="ru-RU" sz="1000">
                <a:solidFill>
                  <a:prstClr val="white"/>
                </a:solidFill>
                <a:latin typeface="Arial"/>
                <a:cs typeface="+mn-cs"/>
              </a:rPr>
              <a:t>Поликарбонаты</a:t>
            </a:r>
            <a:endParaRPr lang="en-US" sz="1000" err="1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244" name="TextBox 243">
            <a:extLst>
              <a:ext uri="{FF2B5EF4-FFF2-40B4-BE49-F238E27FC236}">
                <a16:creationId xmlns:a16="http://schemas.microsoft.com/office/drawing/2014/main" id="{BA39D110-9792-B57B-374A-DA3C205A00D7}"/>
              </a:ext>
            </a:extLst>
          </p:cNvPr>
          <p:cNvSpPr txBox="1"/>
          <p:nvPr/>
        </p:nvSpPr>
        <p:spPr>
          <a:xfrm>
            <a:off x="1723615" y="1831610"/>
            <a:ext cx="1216356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778986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2000" b="1">
                <a:solidFill>
                  <a:prstClr val="white"/>
                </a:solidFill>
                <a:latin typeface="Arial"/>
                <a:cs typeface="+mn-cs"/>
              </a:rPr>
              <a:t>84</a:t>
            </a:r>
            <a:r>
              <a:rPr lang="ru-RU" sz="1200" b="1">
                <a:solidFill>
                  <a:prstClr val="white"/>
                </a:solidFill>
                <a:latin typeface="Arial"/>
                <a:cs typeface="+mn-cs"/>
              </a:rPr>
              <a:t> </a:t>
            </a:r>
            <a:r>
              <a:rPr lang="ru-RU" sz="900" b="1">
                <a:solidFill>
                  <a:prstClr val="white"/>
                </a:solidFill>
                <a:latin typeface="Arial"/>
                <a:cs typeface="+mn-cs"/>
              </a:rPr>
              <a:t>тыс. т </a:t>
            </a:r>
            <a:br>
              <a:rPr lang="ru-RU" sz="900" b="1">
                <a:solidFill>
                  <a:prstClr val="white"/>
                </a:solidFill>
                <a:latin typeface="Arial"/>
                <a:cs typeface="+mn-cs"/>
              </a:rPr>
            </a:br>
            <a:r>
              <a:rPr lang="ru-RU" sz="1000">
                <a:solidFill>
                  <a:prstClr val="white"/>
                </a:solidFill>
                <a:latin typeface="Arial"/>
                <a:cs typeface="+mn-cs"/>
              </a:rPr>
              <a:t>Бисфенол А</a:t>
            </a:r>
            <a:endParaRPr lang="en-US" sz="1000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245" name="TextBox 244">
            <a:extLst>
              <a:ext uri="{FF2B5EF4-FFF2-40B4-BE49-F238E27FC236}">
                <a16:creationId xmlns:a16="http://schemas.microsoft.com/office/drawing/2014/main" id="{227FA14C-A007-F74F-BAC2-9C2C43AED9E8}"/>
              </a:ext>
            </a:extLst>
          </p:cNvPr>
          <p:cNvSpPr txBox="1"/>
          <p:nvPr/>
        </p:nvSpPr>
        <p:spPr>
          <a:xfrm>
            <a:off x="1723582" y="2633064"/>
            <a:ext cx="1272931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778986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2000" b="1">
                <a:solidFill>
                  <a:prstClr val="white"/>
                </a:solidFill>
                <a:latin typeface="Arial"/>
                <a:cs typeface="+mn-cs"/>
              </a:rPr>
              <a:t>74 </a:t>
            </a:r>
            <a:r>
              <a:rPr lang="ru-RU" sz="900" b="1">
                <a:solidFill>
                  <a:prstClr val="white"/>
                </a:solidFill>
                <a:latin typeface="Arial"/>
                <a:cs typeface="+mn-cs"/>
              </a:rPr>
              <a:t>тыс. т </a:t>
            </a:r>
            <a:br>
              <a:rPr lang="ru-RU" sz="900" b="1">
                <a:solidFill>
                  <a:prstClr val="white"/>
                </a:solidFill>
                <a:latin typeface="Arial"/>
                <a:cs typeface="+mn-cs"/>
              </a:rPr>
            </a:br>
            <a:r>
              <a:rPr lang="ru-RU" sz="1000">
                <a:solidFill>
                  <a:prstClr val="white"/>
                </a:solidFill>
                <a:latin typeface="Arial"/>
                <a:cs typeface="+mn-cs"/>
              </a:rPr>
              <a:t>Фенол</a:t>
            </a:r>
            <a:endParaRPr lang="en-US" sz="1000" err="1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246" name="TextBox 245">
            <a:extLst>
              <a:ext uri="{FF2B5EF4-FFF2-40B4-BE49-F238E27FC236}">
                <a16:creationId xmlns:a16="http://schemas.microsoft.com/office/drawing/2014/main" id="{BC815975-97B4-BAAC-5F0D-E6698DA3AF51}"/>
              </a:ext>
            </a:extLst>
          </p:cNvPr>
          <p:cNvSpPr txBox="1"/>
          <p:nvPr/>
        </p:nvSpPr>
        <p:spPr>
          <a:xfrm>
            <a:off x="373306" y="3521890"/>
            <a:ext cx="1300534" cy="4893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778986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2000" b="1">
                <a:solidFill>
                  <a:prstClr val="white"/>
                </a:solidFill>
                <a:latin typeface="Arial"/>
                <a:cs typeface="+mn-cs"/>
              </a:rPr>
              <a:t>47</a:t>
            </a:r>
            <a:r>
              <a:rPr lang="ru-RU" sz="1200" b="1">
                <a:solidFill>
                  <a:prstClr val="white"/>
                </a:solidFill>
                <a:latin typeface="Arial"/>
                <a:cs typeface="+mn-cs"/>
              </a:rPr>
              <a:t> </a:t>
            </a:r>
            <a:r>
              <a:rPr lang="ru-RU" sz="900" b="1">
                <a:solidFill>
                  <a:prstClr val="white"/>
                </a:solidFill>
                <a:latin typeface="Arial"/>
                <a:cs typeface="+mn-cs"/>
              </a:rPr>
              <a:t>тыс. т</a:t>
            </a:r>
          </a:p>
          <a:p>
            <a:pPr defTabSz="778986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000">
                <a:solidFill>
                  <a:prstClr val="white"/>
                </a:solidFill>
                <a:latin typeface="Arial"/>
                <a:cs typeface="+mn-cs"/>
              </a:rPr>
              <a:t>Ацетон</a:t>
            </a:r>
            <a:br>
              <a:rPr lang="ru-RU" sz="900" b="1">
                <a:solidFill>
                  <a:prstClr val="white"/>
                </a:solidFill>
                <a:latin typeface="Arial"/>
                <a:cs typeface="+mn-cs"/>
              </a:rPr>
            </a:br>
            <a:endParaRPr lang="en-US" sz="800" baseline="30000" err="1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247" name="TextBox 246">
            <a:extLst>
              <a:ext uri="{FF2B5EF4-FFF2-40B4-BE49-F238E27FC236}">
                <a16:creationId xmlns:a16="http://schemas.microsoft.com/office/drawing/2014/main" id="{8E7F53E1-C577-17E4-4C99-E36512C459CD}"/>
              </a:ext>
            </a:extLst>
          </p:cNvPr>
          <p:cNvSpPr txBox="1"/>
          <p:nvPr/>
        </p:nvSpPr>
        <p:spPr>
          <a:xfrm>
            <a:off x="993968" y="4348873"/>
            <a:ext cx="1436700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778986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2000" b="1">
                <a:solidFill>
                  <a:prstClr val="white"/>
                </a:solidFill>
                <a:latin typeface="Arial"/>
                <a:cs typeface="+mn-cs"/>
              </a:rPr>
              <a:t>24</a:t>
            </a:r>
            <a:r>
              <a:rPr lang="ru-RU" sz="1200" b="1">
                <a:solidFill>
                  <a:prstClr val="white"/>
                </a:solidFill>
                <a:latin typeface="Arial"/>
                <a:cs typeface="+mn-cs"/>
              </a:rPr>
              <a:t> </a:t>
            </a:r>
            <a:r>
              <a:rPr lang="ru-RU" sz="900" b="1">
                <a:solidFill>
                  <a:prstClr val="white"/>
                </a:solidFill>
                <a:latin typeface="Arial"/>
                <a:cs typeface="+mn-cs"/>
              </a:rPr>
              <a:t>тыс. т</a:t>
            </a:r>
            <a:br>
              <a:rPr lang="ru-RU" sz="900" b="1">
                <a:solidFill>
                  <a:prstClr val="white"/>
                </a:solidFill>
                <a:latin typeface="Arial"/>
                <a:cs typeface="+mn-cs"/>
              </a:rPr>
            </a:br>
            <a:r>
              <a:rPr lang="ru-RU" sz="1000">
                <a:solidFill>
                  <a:prstClr val="white"/>
                </a:solidFill>
                <a:latin typeface="Arial"/>
                <a:cs typeface="+mn-cs"/>
              </a:rPr>
              <a:t>Полиэтиленовые трубы</a:t>
            </a:r>
            <a:endParaRPr lang="en-US" sz="900" baseline="30000" err="1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248" name="TextBox 247">
            <a:extLst>
              <a:ext uri="{FF2B5EF4-FFF2-40B4-BE49-F238E27FC236}">
                <a16:creationId xmlns:a16="http://schemas.microsoft.com/office/drawing/2014/main" id="{22B455DF-214C-F70F-90A1-2B394124A511}"/>
              </a:ext>
            </a:extLst>
          </p:cNvPr>
          <p:cNvSpPr txBox="1"/>
          <p:nvPr/>
        </p:nvSpPr>
        <p:spPr>
          <a:xfrm>
            <a:off x="1740729" y="3521890"/>
            <a:ext cx="1246237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778986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2000" b="1">
                <a:solidFill>
                  <a:prstClr val="white"/>
                </a:solidFill>
                <a:latin typeface="Arial"/>
                <a:cs typeface="+mn-cs"/>
              </a:rPr>
              <a:t>16</a:t>
            </a:r>
            <a:r>
              <a:rPr lang="ru-RU" sz="1200" b="1">
                <a:solidFill>
                  <a:prstClr val="white"/>
                </a:solidFill>
                <a:latin typeface="Arial"/>
                <a:cs typeface="+mn-cs"/>
              </a:rPr>
              <a:t> </a:t>
            </a:r>
            <a:r>
              <a:rPr lang="ru-RU" sz="900" b="1">
                <a:solidFill>
                  <a:prstClr val="white"/>
                </a:solidFill>
                <a:latin typeface="Arial"/>
                <a:cs typeface="+mn-cs"/>
              </a:rPr>
              <a:t>тыс. т</a:t>
            </a:r>
            <a:br>
              <a:rPr lang="ru-RU" sz="900" b="1">
                <a:solidFill>
                  <a:prstClr val="white"/>
                </a:solidFill>
                <a:latin typeface="Arial"/>
                <a:cs typeface="+mn-cs"/>
              </a:rPr>
            </a:br>
            <a:r>
              <a:rPr lang="ru-RU" sz="1000">
                <a:solidFill>
                  <a:prstClr val="white"/>
                </a:solidFill>
                <a:latin typeface="Arial"/>
                <a:cs typeface="+mn-cs"/>
              </a:rPr>
              <a:t>Этанопаломины</a:t>
            </a:r>
            <a:endParaRPr lang="en-US" sz="1000" err="1">
              <a:solidFill>
                <a:prstClr val="white"/>
              </a:solidFill>
              <a:latin typeface="Arial"/>
              <a:cs typeface="+mn-cs"/>
            </a:endParaRPr>
          </a:p>
        </p:txBody>
      </p:sp>
      <p:grpSp>
        <p:nvGrpSpPr>
          <p:cNvPr id="256" name="Группа 255">
            <a:extLst>
              <a:ext uri="{FF2B5EF4-FFF2-40B4-BE49-F238E27FC236}">
                <a16:creationId xmlns:a16="http://schemas.microsoft.com/office/drawing/2014/main" id="{4BF7424D-8776-FE28-AFF9-82E4E43AFD8E}"/>
              </a:ext>
            </a:extLst>
          </p:cNvPr>
          <p:cNvGrpSpPr>
            <a:grpSpLocks noChangeAspect="1"/>
          </p:cNvGrpSpPr>
          <p:nvPr/>
        </p:nvGrpSpPr>
        <p:grpSpPr>
          <a:xfrm flipH="1">
            <a:off x="-11443" y="4194545"/>
            <a:ext cx="957779" cy="958283"/>
            <a:chOff x="5339559" y="2696742"/>
            <a:chExt cx="1007470" cy="1008000"/>
          </a:xfrm>
        </p:grpSpPr>
        <p:sp>
          <p:nvSpPr>
            <p:cNvPr id="257" name="Полилиния 103">
              <a:extLst>
                <a:ext uri="{FF2B5EF4-FFF2-40B4-BE49-F238E27FC236}">
                  <a16:creationId xmlns:a16="http://schemas.microsoft.com/office/drawing/2014/main" id="{B56E3273-EA71-FB07-1C98-7F7D2E061C5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516148" y="2873425"/>
              <a:ext cx="558474" cy="558767"/>
            </a:xfrm>
            <a:custGeom>
              <a:avLst/>
              <a:gdLst>
                <a:gd name="connsiteX0" fmla="*/ 327147 w 558474"/>
                <a:gd name="connsiteY0" fmla="*/ 0 h 558767"/>
                <a:gd name="connsiteX1" fmla="*/ 510058 w 558474"/>
                <a:gd name="connsiteY1" fmla="*/ 55901 h 558767"/>
                <a:gd name="connsiteX2" fmla="*/ 558474 w 558474"/>
                <a:gd name="connsiteY2" fmla="*/ 95868 h 558767"/>
                <a:gd name="connsiteX3" fmla="*/ 95819 w 558474"/>
                <a:gd name="connsiteY3" fmla="*/ 558767 h 558767"/>
                <a:gd name="connsiteX4" fmla="*/ 55872 w 558474"/>
                <a:gd name="connsiteY4" fmla="*/ 510325 h 558767"/>
                <a:gd name="connsiteX5" fmla="*/ 0 w 558474"/>
                <a:gd name="connsiteY5" fmla="*/ 327318 h 558767"/>
                <a:gd name="connsiteX6" fmla="*/ 327147 w 558474"/>
                <a:gd name="connsiteY6" fmla="*/ 0 h 558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8474" h="558767">
                  <a:moveTo>
                    <a:pt x="327147" y="0"/>
                  </a:moveTo>
                  <a:cubicBezTo>
                    <a:pt x="394901" y="0"/>
                    <a:pt x="457845" y="20608"/>
                    <a:pt x="510058" y="55901"/>
                  </a:cubicBezTo>
                  <a:lnTo>
                    <a:pt x="558474" y="95868"/>
                  </a:lnTo>
                  <a:lnTo>
                    <a:pt x="95819" y="558767"/>
                  </a:lnTo>
                  <a:lnTo>
                    <a:pt x="55872" y="510325"/>
                  </a:lnTo>
                  <a:cubicBezTo>
                    <a:pt x="20597" y="458085"/>
                    <a:pt x="0" y="395108"/>
                    <a:pt x="0" y="327318"/>
                  </a:cubicBezTo>
                  <a:cubicBezTo>
                    <a:pt x="0" y="146545"/>
                    <a:pt x="146469" y="0"/>
                    <a:pt x="327147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58" name="Полилиния 104">
              <a:extLst>
                <a:ext uri="{FF2B5EF4-FFF2-40B4-BE49-F238E27FC236}">
                  <a16:creationId xmlns:a16="http://schemas.microsoft.com/office/drawing/2014/main" id="{D134A88D-1467-1D3A-792A-0D51B752602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611968" y="2969294"/>
              <a:ext cx="558475" cy="558767"/>
            </a:xfrm>
            <a:custGeom>
              <a:avLst/>
              <a:gdLst>
                <a:gd name="connsiteX0" fmla="*/ 462656 w 558475"/>
                <a:gd name="connsiteY0" fmla="*/ 0 h 558767"/>
                <a:gd name="connsiteX1" fmla="*/ 462656 w 558475"/>
                <a:gd name="connsiteY1" fmla="*/ 0 h 558767"/>
                <a:gd name="connsiteX2" fmla="*/ 558475 w 558475"/>
                <a:gd name="connsiteY2" fmla="*/ 231449 h 558767"/>
                <a:gd name="connsiteX3" fmla="*/ 231328 w 558475"/>
                <a:gd name="connsiteY3" fmla="*/ 558767 h 558767"/>
                <a:gd name="connsiteX4" fmla="*/ 0 w 558475"/>
                <a:gd name="connsiteY4" fmla="*/ 462898 h 558767"/>
                <a:gd name="connsiteX5" fmla="*/ 0 w 558475"/>
                <a:gd name="connsiteY5" fmla="*/ 462898 h 558767"/>
                <a:gd name="connsiteX6" fmla="*/ 462656 w 558475"/>
                <a:gd name="connsiteY6" fmla="*/ 0 h 558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8475" h="558767">
                  <a:moveTo>
                    <a:pt x="462656" y="0"/>
                  </a:moveTo>
                  <a:lnTo>
                    <a:pt x="462656" y="0"/>
                  </a:lnTo>
                  <a:cubicBezTo>
                    <a:pt x="521858" y="59233"/>
                    <a:pt x="558475" y="141063"/>
                    <a:pt x="558475" y="231449"/>
                  </a:cubicBezTo>
                  <a:cubicBezTo>
                    <a:pt x="558475" y="412222"/>
                    <a:pt x="412006" y="558767"/>
                    <a:pt x="231328" y="558767"/>
                  </a:cubicBezTo>
                  <a:cubicBezTo>
                    <a:pt x="140989" y="558767"/>
                    <a:pt x="59202" y="522131"/>
                    <a:pt x="0" y="462898"/>
                  </a:cubicBezTo>
                  <a:lnTo>
                    <a:pt x="0" y="462898"/>
                  </a:lnTo>
                  <a:lnTo>
                    <a:pt x="462656" y="0"/>
                  </a:lnTo>
                  <a:close/>
                </a:path>
              </a:pathLst>
            </a:custGeom>
            <a:solidFill>
              <a:srgbClr val="00313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59" name="Полилиния 105">
              <a:extLst>
                <a:ext uri="{FF2B5EF4-FFF2-40B4-BE49-F238E27FC236}">
                  <a16:creationId xmlns:a16="http://schemas.microsoft.com/office/drawing/2014/main" id="{4B4DBE42-3023-037A-C2B5-EF1D0D9016F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339559" y="2696742"/>
              <a:ext cx="1007470" cy="1007999"/>
            </a:xfrm>
            <a:custGeom>
              <a:avLst/>
              <a:gdLst>
                <a:gd name="connsiteX0" fmla="*/ 0 w 1007470"/>
                <a:gd name="connsiteY0" fmla="*/ 0 h 1007999"/>
                <a:gd name="connsiteX1" fmla="*/ 1007470 w 1007470"/>
                <a:gd name="connsiteY1" fmla="*/ 0 h 1007999"/>
                <a:gd name="connsiteX2" fmla="*/ 735063 w 1007470"/>
                <a:gd name="connsiteY2" fmla="*/ 272550 h 1007999"/>
                <a:gd name="connsiteX3" fmla="*/ 686647 w 1007470"/>
                <a:gd name="connsiteY3" fmla="*/ 232583 h 1007999"/>
                <a:gd name="connsiteX4" fmla="*/ 503736 w 1007470"/>
                <a:gd name="connsiteY4" fmla="*/ 176682 h 1007999"/>
                <a:gd name="connsiteX5" fmla="*/ 176589 w 1007470"/>
                <a:gd name="connsiteY5" fmla="*/ 504000 h 1007999"/>
                <a:gd name="connsiteX6" fmla="*/ 232461 w 1007470"/>
                <a:gd name="connsiteY6" fmla="*/ 687007 h 1007999"/>
                <a:gd name="connsiteX7" fmla="*/ 272408 w 1007470"/>
                <a:gd name="connsiteY7" fmla="*/ 735449 h 1007999"/>
                <a:gd name="connsiteX8" fmla="*/ 0 w 1007470"/>
                <a:gd name="connsiteY8" fmla="*/ 1007999 h 1007999"/>
                <a:gd name="connsiteX9" fmla="*/ 0 w 1007470"/>
                <a:gd name="connsiteY9" fmla="*/ 0 h 1007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07470" h="1007999">
                  <a:moveTo>
                    <a:pt x="0" y="0"/>
                  </a:moveTo>
                  <a:lnTo>
                    <a:pt x="1007470" y="0"/>
                  </a:lnTo>
                  <a:lnTo>
                    <a:pt x="735063" y="272550"/>
                  </a:lnTo>
                  <a:lnTo>
                    <a:pt x="686647" y="232583"/>
                  </a:lnTo>
                  <a:cubicBezTo>
                    <a:pt x="634434" y="197290"/>
                    <a:pt x="571490" y="176682"/>
                    <a:pt x="503736" y="176682"/>
                  </a:cubicBezTo>
                  <a:cubicBezTo>
                    <a:pt x="323058" y="176682"/>
                    <a:pt x="176589" y="323227"/>
                    <a:pt x="176589" y="504000"/>
                  </a:cubicBezTo>
                  <a:cubicBezTo>
                    <a:pt x="176589" y="571790"/>
                    <a:pt x="197186" y="634767"/>
                    <a:pt x="232461" y="687007"/>
                  </a:cubicBezTo>
                  <a:lnTo>
                    <a:pt x="272408" y="735449"/>
                  </a:lnTo>
                  <a:lnTo>
                    <a:pt x="0" y="100799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60" name="Полилиния 106">
              <a:extLst>
                <a:ext uri="{FF2B5EF4-FFF2-40B4-BE49-F238E27FC236}">
                  <a16:creationId xmlns:a16="http://schemas.microsoft.com/office/drawing/2014/main" id="{7B1B5D03-58A4-9217-9710-0D5A6AF8208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339559" y="2696743"/>
              <a:ext cx="1007470" cy="1007999"/>
            </a:xfrm>
            <a:custGeom>
              <a:avLst/>
              <a:gdLst>
                <a:gd name="connsiteX0" fmla="*/ 1007470 w 1007470"/>
                <a:gd name="connsiteY0" fmla="*/ 0 h 1007999"/>
                <a:gd name="connsiteX1" fmla="*/ 1007470 w 1007470"/>
                <a:gd name="connsiteY1" fmla="*/ 1007999 h 1007999"/>
                <a:gd name="connsiteX2" fmla="*/ 0 w 1007470"/>
                <a:gd name="connsiteY2" fmla="*/ 1007999 h 1007999"/>
                <a:gd name="connsiteX3" fmla="*/ 272408 w 1007470"/>
                <a:gd name="connsiteY3" fmla="*/ 735448 h 1007999"/>
                <a:gd name="connsiteX4" fmla="*/ 272408 w 1007470"/>
                <a:gd name="connsiteY4" fmla="*/ 735448 h 1007999"/>
                <a:gd name="connsiteX5" fmla="*/ 503736 w 1007470"/>
                <a:gd name="connsiteY5" fmla="*/ 831317 h 1007999"/>
                <a:gd name="connsiteX6" fmla="*/ 830883 w 1007470"/>
                <a:gd name="connsiteY6" fmla="*/ 503999 h 1007999"/>
                <a:gd name="connsiteX7" fmla="*/ 735064 w 1007470"/>
                <a:gd name="connsiteY7" fmla="*/ 272550 h 1007999"/>
                <a:gd name="connsiteX8" fmla="*/ 735064 w 1007470"/>
                <a:gd name="connsiteY8" fmla="*/ 272550 h 1007999"/>
                <a:gd name="connsiteX9" fmla="*/ 1007470 w 1007470"/>
                <a:gd name="connsiteY9" fmla="*/ 0 h 1007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07470" h="1007999">
                  <a:moveTo>
                    <a:pt x="1007470" y="0"/>
                  </a:moveTo>
                  <a:lnTo>
                    <a:pt x="1007470" y="1007999"/>
                  </a:lnTo>
                  <a:lnTo>
                    <a:pt x="0" y="1007999"/>
                  </a:lnTo>
                  <a:lnTo>
                    <a:pt x="272408" y="735448"/>
                  </a:lnTo>
                  <a:lnTo>
                    <a:pt x="272408" y="735448"/>
                  </a:lnTo>
                  <a:cubicBezTo>
                    <a:pt x="331610" y="794681"/>
                    <a:pt x="413397" y="831317"/>
                    <a:pt x="503736" y="831317"/>
                  </a:cubicBezTo>
                  <a:cubicBezTo>
                    <a:pt x="684414" y="831317"/>
                    <a:pt x="830883" y="684772"/>
                    <a:pt x="830883" y="503999"/>
                  </a:cubicBezTo>
                  <a:cubicBezTo>
                    <a:pt x="830883" y="413613"/>
                    <a:pt x="794266" y="331783"/>
                    <a:pt x="735064" y="272550"/>
                  </a:cubicBezTo>
                  <a:lnTo>
                    <a:pt x="735064" y="272550"/>
                  </a:lnTo>
                  <a:lnTo>
                    <a:pt x="1007470" y="0"/>
                  </a:lnTo>
                  <a:close/>
                </a:path>
              </a:pathLst>
            </a:custGeom>
            <a:solidFill>
              <a:srgbClr val="77E1C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</p:grpSp>
      <p:pic>
        <p:nvPicPr>
          <p:cNvPr id="266" name="Рисунок 265">
            <a:extLst>
              <a:ext uri="{FF2B5EF4-FFF2-40B4-BE49-F238E27FC236}">
                <a16:creationId xmlns:a16="http://schemas.microsoft.com/office/drawing/2014/main" id="{25B366E9-170A-BA98-5518-54A795886BB3}"/>
              </a:ext>
            </a:extLst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5189" y="339725"/>
            <a:ext cx="1033507" cy="468210"/>
          </a:xfrm>
          <a:prstGeom prst="rect">
            <a:avLst/>
          </a:prstGeom>
        </p:spPr>
      </p:pic>
      <p:cxnSp>
        <p:nvCxnSpPr>
          <p:cNvPr id="267" name="Прямая соединительная линия 266">
            <a:extLst>
              <a:ext uri="{FF2B5EF4-FFF2-40B4-BE49-F238E27FC236}">
                <a16:creationId xmlns:a16="http://schemas.microsoft.com/office/drawing/2014/main" id="{5A27086D-276A-B7D7-CD9D-5619F5E3589C}"/>
              </a:ext>
            </a:extLst>
          </p:cNvPr>
          <p:cNvCxnSpPr/>
          <p:nvPr/>
        </p:nvCxnSpPr>
        <p:spPr bwMode="auto">
          <a:xfrm>
            <a:off x="1662612" y="2312208"/>
            <a:ext cx="965172" cy="0"/>
          </a:xfrm>
          <a:prstGeom prst="line">
            <a:avLst/>
          </a:prstGeom>
          <a:solidFill>
            <a:srgbClr val="008C95"/>
          </a:solidFill>
          <a:ln w="19050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0" name="Прямая соединительная линия 269">
            <a:extLst>
              <a:ext uri="{FF2B5EF4-FFF2-40B4-BE49-F238E27FC236}">
                <a16:creationId xmlns:a16="http://schemas.microsoft.com/office/drawing/2014/main" id="{43BFF022-0A5B-56B4-4397-4E8F46530A68}"/>
              </a:ext>
            </a:extLst>
          </p:cNvPr>
          <p:cNvCxnSpPr/>
          <p:nvPr/>
        </p:nvCxnSpPr>
        <p:spPr bwMode="auto">
          <a:xfrm>
            <a:off x="352438" y="2312208"/>
            <a:ext cx="965172" cy="0"/>
          </a:xfrm>
          <a:prstGeom prst="line">
            <a:avLst/>
          </a:prstGeom>
          <a:solidFill>
            <a:srgbClr val="008C95"/>
          </a:solidFill>
          <a:ln w="19050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2" name="Прямая соединительная линия 271">
            <a:extLst>
              <a:ext uri="{FF2B5EF4-FFF2-40B4-BE49-F238E27FC236}">
                <a16:creationId xmlns:a16="http://schemas.microsoft.com/office/drawing/2014/main" id="{EEF601C9-F5D6-B125-AEE2-FEC46D29A6E6}"/>
              </a:ext>
            </a:extLst>
          </p:cNvPr>
          <p:cNvCxnSpPr/>
          <p:nvPr/>
        </p:nvCxnSpPr>
        <p:spPr bwMode="auto">
          <a:xfrm>
            <a:off x="352438" y="3118974"/>
            <a:ext cx="965172" cy="0"/>
          </a:xfrm>
          <a:prstGeom prst="line">
            <a:avLst/>
          </a:prstGeom>
          <a:solidFill>
            <a:srgbClr val="008C95"/>
          </a:solidFill>
          <a:ln w="19050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3" name="Прямая соединительная линия 272">
            <a:extLst>
              <a:ext uri="{FF2B5EF4-FFF2-40B4-BE49-F238E27FC236}">
                <a16:creationId xmlns:a16="http://schemas.microsoft.com/office/drawing/2014/main" id="{2B288D1A-4932-17C4-F374-193D9C3B8FC1}"/>
              </a:ext>
            </a:extLst>
          </p:cNvPr>
          <p:cNvCxnSpPr/>
          <p:nvPr/>
        </p:nvCxnSpPr>
        <p:spPr bwMode="auto">
          <a:xfrm>
            <a:off x="1662612" y="3119136"/>
            <a:ext cx="965172" cy="0"/>
          </a:xfrm>
          <a:prstGeom prst="line">
            <a:avLst/>
          </a:prstGeom>
          <a:solidFill>
            <a:srgbClr val="008C95"/>
          </a:solidFill>
          <a:ln w="19050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6" name="Прямая соединительная линия 275">
            <a:extLst>
              <a:ext uri="{FF2B5EF4-FFF2-40B4-BE49-F238E27FC236}">
                <a16:creationId xmlns:a16="http://schemas.microsoft.com/office/drawing/2014/main" id="{8EB00C14-14C5-61E2-7BA4-AADBDB385608}"/>
              </a:ext>
            </a:extLst>
          </p:cNvPr>
          <p:cNvCxnSpPr/>
          <p:nvPr/>
        </p:nvCxnSpPr>
        <p:spPr bwMode="auto">
          <a:xfrm>
            <a:off x="352438" y="3999327"/>
            <a:ext cx="965172" cy="0"/>
          </a:xfrm>
          <a:prstGeom prst="line">
            <a:avLst/>
          </a:prstGeom>
          <a:solidFill>
            <a:srgbClr val="008C95"/>
          </a:solidFill>
          <a:ln w="19050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5" name="Прямоугольник 204">
            <a:extLst>
              <a:ext uri="{FF2B5EF4-FFF2-40B4-BE49-F238E27FC236}">
                <a16:creationId xmlns:a16="http://schemas.microsoft.com/office/drawing/2014/main" id="{4372B16E-76D9-C324-B25B-6039DF7613DC}"/>
              </a:ext>
            </a:extLst>
          </p:cNvPr>
          <p:cNvSpPr>
            <a:spLocks noChangeAspect="1"/>
          </p:cNvSpPr>
          <p:nvPr/>
        </p:nvSpPr>
        <p:spPr bwMode="auto">
          <a:xfrm>
            <a:off x="8441942" y="4794504"/>
            <a:ext cx="237260" cy="237260"/>
          </a:xfrm>
          <a:prstGeom prst="rect">
            <a:avLst/>
          </a:prstGeom>
          <a:solidFill>
            <a:srgbClr val="00313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1" i="0" u="none" strike="noStrike" kern="0" cap="none" spc="0" normalizeH="0" baseline="0" noProof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5AD8C1FB-6FD0-E8F8-5E0F-04D1CC882C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8424" y="4767263"/>
            <a:ext cx="298376" cy="273844"/>
          </a:xfrm>
        </p:spPr>
        <p:txBody>
          <a:bodyPr/>
          <a:lstStyle/>
          <a:p>
            <a:fld id="{1C0A57E3-EA23-4E01-B1DF-72CA8D4A16E5}" type="slidenum">
              <a:rPr lang="ru-RU" altLang="ru-RU" smtClean="0">
                <a:solidFill>
                  <a:srgbClr val="FFFFFF"/>
                </a:solidFill>
              </a:rPr>
              <a:pPr/>
              <a:t>5</a:t>
            </a:fld>
            <a:endParaRPr lang="ru-RU" alt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26724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Прямоугольник 63">
            <a:extLst>
              <a:ext uri="{FF2B5EF4-FFF2-40B4-BE49-F238E27FC236}">
                <a16:creationId xmlns:a16="http://schemas.microsoft.com/office/drawing/2014/main" id="{00BF2500-6A5E-AAB2-FCA1-4FECF031BDF4}"/>
              </a:ext>
            </a:extLst>
          </p:cNvPr>
          <p:cNvSpPr/>
          <p:nvPr/>
        </p:nvSpPr>
        <p:spPr bwMode="auto">
          <a:xfrm>
            <a:off x="6136687" y="3147814"/>
            <a:ext cx="2704195" cy="1700215"/>
          </a:xfrm>
          <a:prstGeom prst="rect">
            <a:avLst/>
          </a:prstGeom>
          <a:solidFill>
            <a:srgbClr val="77E2C3">
              <a:lumMod val="60000"/>
              <a:lumOff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dirty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5DBC0A7-396C-2950-E887-81957FD6EF9E}"/>
              </a:ext>
            </a:extLst>
          </p:cNvPr>
          <p:cNvSpPr/>
          <p:nvPr/>
        </p:nvSpPr>
        <p:spPr bwMode="auto">
          <a:xfrm>
            <a:off x="6136687" y="3143036"/>
            <a:ext cx="2704195" cy="1700214"/>
          </a:xfrm>
          <a:prstGeom prst="rect">
            <a:avLst/>
          </a:prstGeom>
          <a:solidFill>
            <a:srgbClr val="77E2C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dirty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  <p:sp>
        <p:nvSpPr>
          <p:cNvPr id="66" name="Прямоугольник 65">
            <a:extLst>
              <a:ext uri="{FF2B5EF4-FFF2-40B4-BE49-F238E27FC236}">
                <a16:creationId xmlns:a16="http://schemas.microsoft.com/office/drawing/2014/main" id="{0B4F5503-C485-1AAA-AC79-C8EE935EBAB3}"/>
              </a:ext>
            </a:extLst>
          </p:cNvPr>
          <p:cNvSpPr/>
          <p:nvPr/>
        </p:nvSpPr>
        <p:spPr bwMode="auto">
          <a:xfrm>
            <a:off x="2574363" y="1498081"/>
            <a:ext cx="575598" cy="3377925"/>
          </a:xfrm>
          <a:prstGeom prst="rect">
            <a:avLst/>
          </a:prstGeom>
          <a:solidFill>
            <a:srgbClr val="77E2C3">
              <a:lumMod val="60000"/>
              <a:lumOff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dirty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3E86B8E2-0EBC-12B3-85DC-6E0A3B9BB4AD}"/>
              </a:ext>
            </a:extLst>
          </p:cNvPr>
          <p:cNvSpPr txBox="1"/>
          <p:nvPr/>
        </p:nvSpPr>
        <p:spPr>
          <a:xfrm>
            <a:off x="395288" y="807934"/>
            <a:ext cx="83475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778986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008C95"/>
                </a:solidFill>
                <a:latin typeface="Arial"/>
                <a:cs typeface="+mn-cs"/>
              </a:rPr>
              <a:t>S</a:t>
            </a:r>
            <a:endParaRPr lang="ru-RU" sz="2800" b="1" dirty="0">
              <a:solidFill>
                <a:srgbClr val="008C95"/>
              </a:solidFill>
              <a:latin typeface="Arial"/>
              <a:cs typeface="+mn-cs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56FBDD16-196B-A191-2CB0-B8836B710713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5189" y="339725"/>
            <a:ext cx="1033507" cy="468210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43569EFE-C17F-FBFE-9B7E-C2A259888727}"/>
              </a:ext>
            </a:extLst>
          </p:cNvPr>
          <p:cNvSpPr txBox="1"/>
          <p:nvPr/>
        </p:nvSpPr>
        <p:spPr>
          <a:xfrm>
            <a:off x="401172" y="807995"/>
            <a:ext cx="27871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778986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008C95"/>
                </a:solidFill>
                <a:latin typeface="Arial"/>
                <a:cs typeface="+mn-cs"/>
              </a:rPr>
              <a:t>E</a:t>
            </a:r>
            <a:endParaRPr lang="ru-RU" sz="2800" b="1" dirty="0">
              <a:solidFill>
                <a:srgbClr val="008C95"/>
              </a:solidFill>
              <a:latin typeface="Arial"/>
              <a:cs typeface="+mn-cs"/>
            </a:endParaRPr>
          </a:p>
        </p:txBody>
      </p:sp>
      <p:sp>
        <p:nvSpPr>
          <p:cNvPr id="39" name="object 45">
            <a:extLst>
              <a:ext uri="{FF2B5EF4-FFF2-40B4-BE49-F238E27FC236}">
                <a16:creationId xmlns:a16="http://schemas.microsoft.com/office/drawing/2014/main" id="{99D4391E-7074-B4FD-C237-FDF3AFE0A505}"/>
              </a:ext>
            </a:extLst>
          </p:cNvPr>
          <p:cNvSpPr txBox="1"/>
          <p:nvPr/>
        </p:nvSpPr>
        <p:spPr>
          <a:xfrm>
            <a:off x="3191637" y="1495787"/>
            <a:ext cx="2114073" cy="343940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84131" indent="-171450" algn="just" defTabSz="685800" eaLnBrk="1" fontAlgn="auto" hangingPunct="1">
              <a:spcBef>
                <a:spcPts val="1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800" b="1" dirty="0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Забивка циркуляционного контура на установке синтеза и</a:t>
            </a:r>
            <a:r>
              <a:rPr lang="en-US" sz="800" b="1" dirty="0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 </a:t>
            </a:r>
            <a:r>
              <a:rPr lang="ru-RU" sz="800" b="1" dirty="0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выделения бутена-1.</a:t>
            </a:r>
            <a:endParaRPr lang="en-US" sz="800" b="1" dirty="0">
              <a:solidFill>
                <a:srgbClr val="00313C"/>
              </a:solidFill>
              <a:latin typeface="Arial"/>
              <a:cs typeface="Arial" panose="020B0604020202020204" pitchFamily="34" charset="0"/>
            </a:endParaRPr>
          </a:p>
          <a:p>
            <a:pPr marL="12681" algn="just" defTabSz="685800" eaLnBrk="1" fontAlgn="auto" hangingPunct="1">
              <a:spcBef>
                <a:spcPts val="100"/>
              </a:spcBef>
              <a:spcAft>
                <a:spcPts val="0"/>
              </a:spcAft>
              <a:defRPr/>
            </a:pPr>
            <a:endParaRPr lang="en-US" sz="800" b="1" dirty="0">
              <a:solidFill>
                <a:srgbClr val="00313C"/>
              </a:solidFill>
              <a:latin typeface="Arial"/>
              <a:cs typeface="Arial" panose="020B0604020202020204" pitchFamily="34" charset="0"/>
            </a:endParaRPr>
          </a:p>
          <a:p>
            <a:pPr marL="184131" indent="-171450" algn="just" defTabSz="685800" eaLnBrk="1" fontAlgn="auto" hangingPunct="1">
              <a:spcBef>
                <a:spcPts val="1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800" b="1" dirty="0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Отсутствие поддона для принятия розлива из аппаратов, в которых обращается щелочь.</a:t>
            </a:r>
          </a:p>
          <a:p>
            <a:pPr marL="184131" indent="-171450" algn="just" defTabSz="685800" eaLnBrk="1" fontAlgn="auto" hangingPunct="1">
              <a:spcBef>
                <a:spcPts val="1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800" b="1" dirty="0">
              <a:solidFill>
                <a:srgbClr val="00313C"/>
              </a:solidFill>
              <a:latin typeface="Arial"/>
              <a:cs typeface="Arial" panose="020B0604020202020204" pitchFamily="34" charset="0"/>
            </a:endParaRPr>
          </a:p>
          <a:p>
            <a:pPr marL="184131" indent="-171450" algn="just" defTabSz="685800" eaLnBrk="1" fontAlgn="auto" hangingPunct="1">
              <a:spcBef>
                <a:spcPts val="1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800" b="1" dirty="0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Отсутствие</a:t>
            </a:r>
            <a:r>
              <a:rPr lang="en-US" sz="800" b="1" dirty="0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 </a:t>
            </a:r>
            <a:r>
              <a:rPr lang="ru-RU" sz="800" b="1" dirty="0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стационарных датчиков контроля за состоянием</a:t>
            </a:r>
            <a:r>
              <a:rPr lang="en-US" sz="800" b="1" dirty="0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 </a:t>
            </a:r>
            <a:r>
              <a:rPr lang="ru-RU" sz="800" b="1" dirty="0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вибрации компрессора и отсутствие в системе ПАЗ</a:t>
            </a:r>
            <a:r>
              <a:rPr lang="en-US" sz="800" b="1" dirty="0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 </a:t>
            </a:r>
            <a:r>
              <a:rPr lang="ru-RU" sz="800" b="1" dirty="0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останова при достижении критичного значения вибрации.</a:t>
            </a:r>
          </a:p>
          <a:p>
            <a:pPr marL="184131" indent="-171450" algn="just" defTabSz="685800" eaLnBrk="1" fontAlgn="auto" hangingPunct="1">
              <a:spcBef>
                <a:spcPts val="1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800" b="1" dirty="0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Отсутствие проектных площадок для обслуживания оборудования (ППК, вентилей и приборов учета расхода).</a:t>
            </a:r>
          </a:p>
          <a:p>
            <a:pPr marL="184131" indent="-171450" algn="just" defTabSz="685800" eaLnBrk="1" fontAlgn="auto" hangingPunct="1">
              <a:spcBef>
                <a:spcPts val="1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800" b="1" dirty="0">
              <a:solidFill>
                <a:srgbClr val="00313C"/>
              </a:solidFill>
              <a:latin typeface="Arial"/>
              <a:cs typeface="Arial" panose="020B0604020202020204" pitchFamily="34" charset="0"/>
            </a:endParaRPr>
          </a:p>
          <a:p>
            <a:pPr marL="184131" indent="-171450" algn="just" defTabSz="685800" eaLnBrk="1" fontAlgn="auto" hangingPunct="1">
              <a:spcBef>
                <a:spcPts val="1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800" b="1" dirty="0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Отсутствие площадок обслуживания на технологическом оборудовании и внутрицеховых эстакадах в корпусах и наружных установках производства</a:t>
            </a:r>
          </a:p>
          <a:p>
            <a:pPr marL="184131" indent="-171450" algn="just" defTabSz="685800" eaLnBrk="1" fontAlgn="auto" hangingPunct="1">
              <a:spcBef>
                <a:spcPts val="1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800" b="1" dirty="0">
              <a:solidFill>
                <a:srgbClr val="00313C"/>
              </a:solidFill>
              <a:latin typeface="Arial"/>
              <a:cs typeface="Arial" panose="020B0604020202020204" pitchFamily="34" charset="0"/>
            </a:endParaRPr>
          </a:p>
          <a:p>
            <a:pPr marL="184131" indent="-171450" algn="just" defTabSz="685800" eaLnBrk="1" fontAlgn="auto" hangingPunct="1">
              <a:spcBef>
                <a:spcPts val="1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800" b="1" dirty="0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Отсутствие системы блокировок по останову насосов при обнаружении опасной загазованности в помещениях (насосных). 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1C83C8D9-2713-DE1E-675D-4427F69A5C12}"/>
              </a:ext>
            </a:extLst>
          </p:cNvPr>
          <p:cNvSpPr txBox="1"/>
          <p:nvPr/>
        </p:nvSpPr>
        <p:spPr>
          <a:xfrm>
            <a:off x="5955687" y="812533"/>
            <a:ext cx="27857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778986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008C95"/>
                </a:solidFill>
                <a:latin typeface="Arial"/>
                <a:cs typeface="+mn-cs"/>
              </a:rPr>
              <a:t>G</a:t>
            </a:r>
            <a:endParaRPr lang="ru-RU" sz="2800" b="1" dirty="0">
              <a:solidFill>
                <a:srgbClr val="008C95"/>
              </a:solidFill>
              <a:latin typeface="Arial"/>
              <a:cs typeface="+mn-cs"/>
            </a:endParaRPr>
          </a:p>
        </p:txBody>
      </p:sp>
      <p:sp>
        <p:nvSpPr>
          <p:cNvPr id="41" name="object 46">
            <a:extLst>
              <a:ext uri="{FF2B5EF4-FFF2-40B4-BE49-F238E27FC236}">
                <a16:creationId xmlns:a16="http://schemas.microsoft.com/office/drawing/2014/main" id="{9B78F5BC-4619-AF53-770B-DA9C030B1C93}"/>
              </a:ext>
            </a:extLst>
          </p:cNvPr>
          <p:cNvSpPr txBox="1"/>
          <p:nvPr/>
        </p:nvSpPr>
        <p:spPr>
          <a:xfrm>
            <a:off x="6072123" y="1516179"/>
            <a:ext cx="2019717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84131" marR="5072" indent="-171450" algn="just" defTabSz="685800" eaLnBrk="1" fontAlgn="auto" hangingPunct="1">
              <a:spcBef>
                <a:spcPts val="1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800" b="1" spc="-5" dirty="0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Грамотные специалисты покидают предприятие,</a:t>
            </a:r>
            <a:r>
              <a:rPr lang="en-US" sz="800" b="1" spc="-5" dirty="0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 </a:t>
            </a:r>
            <a:r>
              <a:rPr lang="ru-RU" sz="800" b="1" spc="-5" dirty="0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оставшиеся уже достигли предпенсионного возраста. Высокая текучесть персонала.</a:t>
            </a:r>
            <a:endParaRPr sz="800" b="1" spc="-5" dirty="0">
              <a:solidFill>
                <a:srgbClr val="00313C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44" name="Заголовок 1">
            <a:extLst>
              <a:ext uri="{FF2B5EF4-FFF2-40B4-BE49-F238E27FC236}">
                <a16:creationId xmlns:a16="http://schemas.microsoft.com/office/drawing/2014/main" id="{23D272B0-5BC3-A116-2E9B-CE05D93E2E51}"/>
              </a:ext>
            </a:extLst>
          </p:cNvPr>
          <p:cNvSpPr txBox="1">
            <a:spLocks/>
          </p:cNvSpPr>
          <p:nvPr/>
        </p:nvSpPr>
        <p:spPr>
          <a:xfrm>
            <a:off x="393736" y="307551"/>
            <a:ext cx="7530747" cy="437042"/>
          </a:xfrm>
          <a:prstGeom prst="rect">
            <a:avLst/>
          </a:prstGeom>
        </p:spPr>
        <p:txBody>
          <a:bodyPr vert="horz" lIns="0" tIns="0" rIns="0" bIns="0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dirty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95000"/>
              </a:lnSpc>
            </a:pPr>
            <a:r>
              <a:rPr lang="ru-RU" sz="1800" kern="0" dirty="0">
                <a:latin typeface="Arial"/>
              </a:rPr>
              <a:t>Анализ рисков. Стратегия устойчивого развития СИБУРа.</a:t>
            </a:r>
            <a:br>
              <a:rPr sz="1800" kern="0" dirty="0">
                <a:latin typeface="Arial"/>
              </a:rPr>
            </a:br>
            <a:endParaRPr sz="1800" kern="0" dirty="0">
              <a:latin typeface="Arial"/>
            </a:endParaRPr>
          </a:p>
        </p:txBody>
      </p:sp>
      <p:sp>
        <p:nvSpPr>
          <p:cNvPr id="45" name="Овал 44">
            <a:extLst>
              <a:ext uri="{FF2B5EF4-FFF2-40B4-BE49-F238E27FC236}">
                <a16:creationId xmlns:a16="http://schemas.microsoft.com/office/drawing/2014/main" id="{25822A8F-41C4-67CA-33A1-274AA341E4A1}"/>
              </a:ext>
            </a:extLst>
          </p:cNvPr>
          <p:cNvSpPr>
            <a:spLocks/>
          </p:cNvSpPr>
          <p:nvPr/>
        </p:nvSpPr>
        <p:spPr bwMode="auto">
          <a:xfrm flipH="1" flipV="1">
            <a:off x="1758742" y="1335275"/>
            <a:ext cx="72000" cy="72000"/>
          </a:xfrm>
          <a:prstGeom prst="ellipse">
            <a:avLst/>
          </a:prstGeom>
          <a:solidFill>
            <a:srgbClr val="008C9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dirty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  <p:sp>
        <p:nvSpPr>
          <p:cNvPr id="46" name="Овал 45">
            <a:extLst>
              <a:ext uri="{FF2B5EF4-FFF2-40B4-BE49-F238E27FC236}">
                <a16:creationId xmlns:a16="http://schemas.microsoft.com/office/drawing/2014/main" id="{451EBFF0-325B-BC55-48A1-F9C2EB8D85D6}"/>
              </a:ext>
            </a:extLst>
          </p:cNvPr>
          <p:cNvSpPr>
            <a:spLocks/>
          </p:cNvSpPr>
          <p:nvPr/>
        </p:nvSpPr>
        <p:spPr bwMode="auto">
          <a:xfrm flipH="1" flipV="1">
            <a:off x="4542467" y="1319561"/>
            <a:ext cx="72000" cy="72000"/>
          </a:xfrm>
          <a:prstGeom prst="ellipse">
            <a:avLst/>
          </a:prstGeom>
          <a:solidFill>
            <a:srgbClr val="008C9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dirty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  <p:sp>
        <p:nvSpPr>
          <p:cNvPr id="47" name="Овал 46">
            <a:extLst>
              <a:ext uri="{FF2B5EF4-FFF2-40B4-BE49-F238E27FC236}">
                <a16:creationId xmlns:a16="http://schemas.microsoft.com/office/drawing/2014/main" id="{04B87009-0B68-C1C3-2CF2-D238EA4DF2BA}"/>
              </a:ext>
            </a:extLst>
          </p:cNvPr>
          <p:cNvSpPr>
            <a:spLocks/>
          </p:cNvSpPr>
          <p:nvPr/>
        </p:nvSpPr>
        <p:spPr bwMode="auto">
          <a:xfrm flipH="1" flipV="1">
            <a:off x="7334382" y="1324974"/>
            <a:ext cx="72000" cy="72000"/>
          </a:xfrm>
          <a:prstGeom prst="ellipse">
            <a:avLst/>
          </a:prstGeom>
          <a:solidFill>
            <a:srgbClr val="008C9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dirty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  <p:sp>
        <p:nvSpPr>
          <p:cNvPr id="55" name="ee4pFootnotes">
            <a:extLst>
              <a:ext uri="{FF2B5EF4-FFF2-40B4-BE49-F238E27FC236}">
                <a16:creationId xmlns:a16="http://schemas.microsoft.com/office/drawing/2014/main" id="{A3CD0DF9-E648-4B74-F642-C1D9F8C15B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74363" y="1559875"/>
            <a:ext cx="565519" cy="1108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algn="ctr" defTabSz="685783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800" b="1" dirty="0">
                <a:solidFill>
                  <a:srgbClr val="00313C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72</a:t>
            </a:r>
            <a:r>
              <a:rPr lang="en-US" sz="800" b="1" dirty="0">
                <a:solidFill>
                  <a:srgbClr val="00313C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 </a:t>
            </a:r>
            <a:r>
              <a:rPr lang="ru-RU" sz="800" b="1" dirty="0">
                <a:solidFill>
                  <a:srgbClr val="00313C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817</a:t>
            </a:r>
            <a:r>
              <a:rPr lang="en-US" sz="800" b="1" dirty="0">
                <a:solidFill>
                  <a:srgbClr val="00313C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 500</a:t>
            </a:r>
          </a:p>
        </p:txBody>
      </p:sp>
      <p:sp>
        <p:nvSpPr>
          <p:cNvPr id="37" name="object 42">
            <a:extLst>
              <a:ext uri="{FF2B5EF4-FFF2-40B4-BE49-F238E27FC236}">
                <a16:creationId xmlns:a16="http://schemas.microsoft.com/office/drawing/2014/main" id="{5AB5F1A4-DF77-BC0F-3741-4B9626252026}"/>
              </a:ext>
            </a:extLst>
          </p:cNvPr>
          <p:cNvSpPr txBox="1"/>
          <p:nvPr/>
        </p:nvSpPr>
        <p:spPr>
          <a:xfrm>
            <a:off x="395289" y="1540753"/>
            <a:ext cx="2120755" cy="3329116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184131" marR="5072" indent="-171450" algn="just" defTabSz="685800" eaLnBrk="1" fontAlgn="auto" hangingPunct="1">
              <a:spcBef>
                <a:spcPts val="1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800" b="1" spc="-5" dirty="0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Низкий уровень покрытия АСУТП.</a:t>
            </a:r>
          </a:p>
          <a:p>
            <a:pPr marL="184131" marR="5072" indent="-171450" algn="just" defTabSz="685800" eaLnBrk="1" fontAlgn="auto" hangingPunct="1">
              <a:spcBef>
                <a:spcPts val="1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800" b="1" spc="-5" dirty="0">
              <a:solidFill>
                <a:srgbClr val="00313C"/>
              </a:solidFill>
              <a:latin typeface="Arial"/>
              <a:cs typeface="Arial" panose="020B0604020202020204" pitchFamily="34" charset="0"/>
            </a:endParaRPr>
          </a:p>
          <a:p>
            <a:pPr marL="184131" marR="5072" indent="-171450" algn="just" defTabSz="685800" eaLnBrk="1" fontAlgn="auto" hangingPunct="1">
              <a:spcBef>
                <a:spcPts val="1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800" b="1" spc="-5" dirty="0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Забивка </a:t>
            </a:r>
            <a:r>
              <a:rPr lang="ru-RU" sz="800" b="1" spc="-5" dirty="0" err="1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пирогазового</a:t>
            </a:r>
            <a:r>
              <a:rPr lang="ru-RU" sz="800" b="1" spc="-5" dirty="0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 контура коксом. Забивка</a:t>
            </a:r>
            <a:r>
              <a:rPr lang="en-US" sz="800" b="1" spc="-5" dirty="0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 </a:t>
            </a:r>
            <a:r>
              <a:rPr lang="ru-RU" sz="800" b="1" spc="-5" dirty="0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межступенчатых т/о на </a:t>
            </a:r>
            <a:r>
              <a:rPr lang="ru-RU" sz="800" b="1" spc="-5" dirty="0" err="1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пирогазовых</a:t>
            </a:r>
            <a:r>
              <a:rPr lang="ru-RU" sz="800" b="1" spc="-5" dirty="0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 компрессорах. (сжигание на факел 150 тонн этилена.)</a:t>
            </a:r>
          </a:p>
          <a:p>
            <a:pPr marL="184131" marR="5072" indent="-171450" algn="just" defTabSz="685800" eaLnBrk="1" fontAlgn="auto" hangingPunct="1">
              <a:spcBef>
                <a:spcPts val="1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800" b="1" spc="-5" dirty="0">
              <a:solidFill>
                <a:srgbClr val="00313C"/>
              </a:solidFill>
              <a:latin typeface="Arial"/>
              <a:cs typeface="Arial" panose="020B0604020202020204" pitchFamily="34" charset="0"/>
            </a:endParaRPr>
          </a:p>
          <a:p>
            <a:pPr marL="184131" marR="5072" indent="-171450" algn="just" defTabSz="685800" eaLnBrk="1" fontAlgn="auto" hangingPunct="1">
              <a:spcBef>
                <a:spcPts val="1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800" b="1" spc="-5" dirty="0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Некорректные показания анализатора влаги по содержанию влаги в реакторе при пуске.</a:t>
            </a:r>
            <a:endParaRPr lang="en-US" sz="800" b="1" spc="-5" dirty="0">
              <a:solidFill>
                <a:srgbClr val="00313C"/>
              </a:solidFill>
              <a:latin typeface="Arial"/>
              <a:cs typeface="Arial" panose="020B0604020202020204" pitchFamily="34" charset="0"/>
            </a:endParaRPr>
          </a:p>
          <a:p>
            <a:pPr marL="184131" marR="5072" indent="-171450" algn="just" defTabSz="685800" eaLnBrk="1" fontAlgn="auto" hangingPunct="1">
              <a:spcBef>
                <a:spcPts val="1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800" b="1" spc="-5" dirty="0">
              <a:solidFill>
                <a:srgbClr val="00313C"/>
              </a:solidFill>
              <a:latin typeface="Arial"/>
              <a:cs typeface="Arial" panose="020B0604020202020204" pitchFamily="34" charset="0"/>
            </a:endParaRPr>
          </a:p>
          <a:p>
            <a:pPr marL="184131" marR="5072" indent="-171450" algn="just" defTabSz="685800" eaLnBrk="1" fontAlgn="auto" hangingPunct="1">
              <a:spcBef>
                <a:spcPts val="1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800" b="1" spc="-5" dirty="0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Физический износ змеевиков печей пиролиза, а именно науглероживание материала труб, приводящее к </a:t>
            </a:r>
            <a:r>
              <a:rPr lang="ru-RU" sz="800" b="1" spc="-5" dirty="0" err="1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охрупчиванию</a:t>
            </a:r>
            <a:r>
              <a:rPr lang="ru-RU" sz="800" b="1" spc="-5" dirty="0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 труб змеевиков с появлением трещин.</a:t>
            </a:r>
          </a:p>
          <a:p>
            <a:pPr marL="184131" marR="5072" indent="-171450" algn="just" defTabSz="685800" eaLnBrk="1" fontAlgn="auto" hangingPunct="1">
              <a:spcBef>
                <a:spcPts val="1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800" b="1" spc="-5" dirty="0">
              <a:solidFill>
                <a:srgbClr val="00313C"/>
              </a:solidFill>
              <a:latin typeface="Arial"/>
              <a:cs typeface="Arial" panose="020B0604020202020204" pitchFamily="34" charset="0"/>
            </a:endParaRPr>
          </a:p>
          <a:p>
            <a:pPr marL="184131" marR="5072" indent="-171450" algn="just" defTabSz="685800" eaLnBrk="1" fontAlgn="auto" hangingPunct="1">
              <a:spcBef>
                <a:spcPts val="1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800" b="1" spc="-5" dirty="0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Несовершенство конструкции имеющихся фильтров механической очистки от </a:t>
            </a:r>
            <a:r>
              <a:rPr lang="ru-RU" sz="800" b="1" spc="-5" dirty="0" err="1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катионообменной</a:t>
            </a:r>
            <a:r>
              <a:rPr lang="ru-RU" sz="800" b="1" spc="-5" dirty="0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 смолы.</a:t>
            </a:r>
            <a:endParaRPr lang="en-US" sz="800" b="1" spc="-5" dirty="0">
              <a:solidFill>
                <a:srgbClr val="00313C"/>
              </a:solidFill>
              <a:latin typeface="Arial"/>
              <a:cs typeface="Arial" panose="020B0604020202020204" pitchFamily="34" charset="0"/>
            </a:endParaRPr>
          </a:p>
          <a:p>
            <a:pPr marL="12681" marR="5072" algn="just" defTabSz="685800" eaLnBrk="1" fontAlgn="auto" hangingPunct="1">
              <a:spcBef>
                <a:spcPts val="100"/>
              </a:spcBef>
              <a:spcAft>
                <a:spcPts val="0"/>
              </a:spcAft>
              <a:defRPr/>
            </a:pPr>
            <a:endParaRPr lang="ru-RU" sz="800" b="1" spc="-5" dirty="0">
              <a:solidFill>
                <a:srgbClr val="00313C"/>
              </a:solidFill>
              <a:latin typeface="Arial"/>
              <a:cs typeface="Arial" panose="020B0604020202020204" pitchFamily="34" charset="0"/>
            </a:endParaRPr>
          </a:p>
          <a:p>
            <a:pPr marL="184131" marR="5072" indent="-171450" algn="just" defTabSz="685800" eaLnBrk="1" fontAlgn="auto" hangingPunct="1">
              <a:spcBef>
                <a:spcPts val="1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800" b="1" spc="-5" dirty="0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Попадание фенола в </a:t>
            </a:r>
            <a:r>
              <a:rPr lang="ru-RU" sz="800" b="1" spc="-5" dirty="0" err="1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ХЗК</a:t>
            </a:r>
            <a:r>
              <a:rPr lang="ru-RU" sz="800" b="1" spc="-5" dirty="0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 вследствие износа торцевых</a:t>
            </a:r>
            <a:r>
              <a:rPr lang="en-US" sz="800" b="1" spc="-5" dirty="0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 </a:t>
            </a:r>
            <a:r>
              <a:rPr lang="ru-RU" sz="800" b="1" spc="-5" dirty="0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уплотнений центробежных насосов. (Загрязнение реки Волга фенолом.)</a:t>
            </a:r>
          </a:p>
        </p:txBody>
      </p:sp>
      <p:sp>
        <p:nvSpPr>
          <p:cNvPr id="49" name="Овал 48">
            <a:extLst>
              <a:ext uri="{FF2B5EF4-FFF2-40B4-BE49-F238E27FC236}">
                <a16:creationId xmlns:a16="http://schemas.microsoft.com/office/drawing/2014/main" id="{E6F464E5-E502-FBBE-4FF3-2313103F93B9}"/>
              </a:ext>
            </a:extLst>
          </p:cNvPr>
          <p:cNvSpPr/>
          <p:nvPr/>
        </p:nvSpPr>
        <p:spPr bwMode="auto">
          <a:xfrm>
            <a:off x="402337" y="1516179"/>
            <a:ext cx="154496" cy="154496"/>
          </a:xfrm>
          <a:prstGeom prst="ellipse">
            <a:avLst/>
          </a:prstGeom>
          <a:solidFill>
            <a:srgbClr val="77E2C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  <p:sp>
        <p:nvSpPr>
          <p:cNvPr id="68" name="TextBox 559">
            <a:extLst>
              <a:ext uri="{FF2B5EF4-FFF2-40B4-BE49-F238E27FC236}">
                <a16:creationId xmlns:a16="http://schemas.microsoft.com/office/drawing/2014/main" id="{1AD0BB5A-BE6C-5A86-F5BA-DCD5388FF0AA}"/>
              </a:ext>
            </a:extLst>
          </p:cNvPr>
          <p:cNvSpPr txBox="1"/>
          <p:nvPr/>
        </p:nvSpPr>
        <p:spPr bwMode="gray">
          <a:xfrm>
            <a:off x="2555777" y="1342763"/>
            <a:ext cx="594184" cy="11541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3680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87361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1042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74723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184039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620845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057651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494460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ctr" defTabSz="629735" rtl="0" eaLnBrk="1" fontAlgn="base" latinLnBrk="0" hangingPunct="1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00">
                <a:solidFill>
                  <a:srgbClr val="77E2C3">
                    <a:lumMod val="50000"/>
                  </a:srgbClr>
                </a:solidFill>
              </a:rPr>
              <a:t>Убытки, </a:t>
            </a:r>
            <a:r>
              <a:rPr kumimoji="0" lang="ru-RU" sz="700" b="0" i="0" u="none" strike="noStrike" kern="1200" cap="none" spc="0" normalizeH="0" baseline="0" noProof="0">
                <a:ln>
                  <a:noFill/>
                </a:ln>
                <a:solidFill>
                  <a:srgbClr val="77E2C3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руб</a:t>
            </a:r>
          </a:p>
        </p:txBody>
      </p:sp>
      <p:sp>
        <p:nvSpPr>
          <p:cNvPr id="69" name="ee4pFootnotes">
            <a:extLst>
              <a:ext uri="{FF2B5EF4-FFF2-40B4-BE49-F238E27FC236}">
                <a16:creationId xmlns:a16="http://schemas.microsoft.com/office/drawing/2014/main" id="{44E75FF0-9EF7-690D-E95B-7622B2AB02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8387" y="3257128"/>
            <a:ext cx="581574" cy="1108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algn="ctr" defTabSz="685783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b="1">
                <a:solidFill>
                  <a:srgbClr val="00313C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42</a:t>
            </a:r>
            <a:r>
              <a:rPr lang="ru-RU" sz="800" b="1">
                <a:solidFill>
                  <a:srgbClr val="00313C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 </a:t>
            </a:r>
            <a:r>
              <a:rPr lang="en-US" sz="800" b="1">
                <a:solidFill>
                  <a:srgbClr val="00313C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048</a:t>
            </a:r>
            <a:r>
              <a:rPr lang="ru-RU" sz="800" b="1">
                <a:solidFill>
                  <a:srgbClr val="00313C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 </a:t>
            </a:r>
            <a:r>
              <a:rPr lang="en-US" sz="800" b="1">
                <a:solidFill>
                  <a:srgbClr val="00313C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000</a:t>
            </a:r>
          </a:p>
        </p:txBody>
      </p:sp>
      <p:sp>
        <p:nvSpPr>
          <p:cNvPr id="70" name="ee4pFootnotes">
            <a:extLst>
              <a:ext uri="{FF2B5EF4-FFF2-40B4-BE49-F238E27FC236}">
                <a16:creationId xmlns:a16="http://schemas.microsoft.com/office/drawing/2014/main" id="{26C912BB-8A94-1E12-F904-98148AC942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4743" y="3917372"/>
            <a:ext cx="568799" cy="1108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algn="ctr" defTabSz="685783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b="1">
                <a:solidFill>
                  <a:srgbClr val="00313C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80</a:t>
            </a:r>
            <a:r>
              <a:rPr lang="ru-RU" sz="800" b="1">
                <a:solidFill>
                  <a:srgbClr val="00313C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 </a:t>
            </a:r>
            <a:r>
              <a:rPr lang="en-US" sz="800" b="1">
                <a:solidFill>
                  <a:srgbClr val="00313C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620</a:t>
            </a:r>
            <a:r>
              <a:rPr lang="ru-RU" sz="800" b="1">
                <a:solidFill>
                  <a:srgbClr val="00313C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 </a:t>
            </a:r>
            <a:r>
              <a:rPr lang="en-US" sz="800" b="1">
                <a:solidFill>
                  <a:srgbClr val="00313C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000</a:t>
            </a:r>
          </a:p>
        </p:txBody>
      </p:sp>
      <p:sp>
        <p:nvSpPr>
          <p:cNvPr id="75" name="ee4pFootnotes">
            <a:extLst>
              <a:ext uri="{FF2B5EF4-FFF2-40B4-BE49-F238E27FC236}">
                <a16:creationId xmlns:a16="http://schemas.microsoft.com/office/drawing/2014/main" id="{DE2F8BE4-0E8F-2F69-3854-F03DD1118A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80881" y="2003689"/>
            <a:ext cx="565518" cy="1108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algn="ctr" defTabSz="685783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b="1">
                <a:solidFill>
                  <a:srgbClr val="00313C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9</a:t>
            </a:r>
            <a:r>
              <a:rPr lang="ru-RU" sz="800" b="1">
                <a:solidFill>
                  <a:srgbClr val="00313C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 </a:t>
            </a:r>
            <a:r>
              <a:rPr lang="en-US" sz="800" b="1">
                <a:solidFill>
                  <a:srgbClr val="00313C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417</a:t>
            </a:r>
            <a:r>
              <a:rPr lang="ru-RU" sz="800" b="1">
                <a:solidFill>
                  <a:srgbClr val="00313C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 </a:t>
            </a:r>
            <a:r>
              <a:rPr lang="en-US" sz="800" b="1">
                <a:solidFill>
                  <a:srgbClr val="00313C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000</a:t>
            </a:r>
          </a:p>
        </p:txBody>
      </p:sp>
      <p:sp>
        <p:nvSpPr>
          <p:cNvPr id="76" name="Овал 75">
            <a:extLst>
              <a:ext uri="{FF2B5EF4-FFF2-40B4-BE49-F238E27FC236}">
                <a16:creationId xmlns:a16="http://schemas.microsoft.com/office/drawing/2014/main" id="{25CAC5A3-0973-9BD7-D63A-069650644F13}"/>
              </a:ext>
            </a:extLst>
          </p:cNvPr>
          <p:cNvSpPr/>
          <p:nvPr/>
        </p:nvSpPr>
        <p:spPr bwMode="auto">
          <a:xfrm>
            <a:off x="402337" y="1778391"/>
            <a:ext cx="154496" cy="154496"/>
          </a:xfrm>
          <a:prstGeom prst="ellipse">
            <a:avLst/>
          </a:prstGeom>
          <a:solidFill>
            <a:srgbClr val="77E2C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  <p:sp>
        <p:nvSpPr>
          <p:cNvPr id="77" name="Овал 76">
            <a:extLst>
              <a:ext uri="{FF2B5EF4-FFF2-40B4-BE49-F238E27FC236}">
                <a16:creationId xmlns:a16="http://schemas.microsoft.com/office/drawing/2014/main" id="{8CA4B159-DD68-F842-E6F9-252C611CF2A9}"/>
              </a:ext>
            </a:extLst>
          </p:cNvPr>
          <p:cNvSpPr/>
          <p:nvPr/>
        </p:nvSpPr>
        <p:spPr bwMode="auto">
          <a:xfrm>
            <a:off x="395288" y="2557495"/>
            <a:ext cx="154496" cy="154496"/>
          </a:xfrm>
          <a:prstGeom prst="ellipse">
            <a:avLst/>
          </a:prstGeom>
          <a:solidFill>
            <a:srgbClr val="77E2C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  <p:sp>
        <p:nvSpPr>
          <p:cNvPr id="78" name="Овал 77">
            <a:extLst>
              <a:ext uri="{FF2B5EF4-FFF2-40B4-BE49-F238E27FC236}">
                <a16:creationId xmlns:a16="http://schemas.microsoft.com/office/drawing/2014/main" id="{71FBB045-D275-F6BF-6A11-C6C541F4A53A}"/>
              </a:ext>
            </a:extLst>
          </p:cNvPr>
          <p:cNvSpPr/>
          <p:nvPr/>
        </p:nvSpPr>
        <p:spPr bwMode="auto">
          <a:xfrm>
            <a:off x="400910" y="3056414"/>
            <a:ext cx="154496" cy="154496"/>
          </a:xfrm>
          <a:prstGeom prst="ellipse">
            <a:avLst/>
          </a:prstGeom>
          <a:solidFill>
            <a:srgbClr val="77E2C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  <p:sp>
        <p:nvSpPr>
          <p:cNvPr id="80" name="Овал 79">
            <a:extLst>
              <a:ext uri="{FF2B5EF4-FFF2-40B4-BE49-F238E27FC236}">
                <a16:creationId xmlns:a16="http://schemas.microsoft.com/office/drawing/2014/main" id="{939F3793-A09C-556B-4AFB-51658A4CCFEE}"/>
              </a:ext>
            </a:extLst>
          </p:cNvPr>
          <p:cNvSpPr/>
          <p:nvPr/>
        </p:nvSpPr>
        <p:spPr bwMode="auto">
          <a:xfrm>
            <a:off x="384323" y="3837864"/>
            <a:ext cx="154496" cy="154496"/>
          </a:xfrm>
          <a:prstGeom prst="ellipse">
            <a:avLst/>
          </a:prstGeom>
          <a:solidFill>
            <a:srgbClr val="77E2C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  <p:sp>
        <p:nvSpPr>
          <p:cNvPr id="81" name="Овал 80">
            <a:extLst>
              <a:ext uri="{FF2B5EF4-FFF2-40B4-BE49-F238E27FC236}">
                <a16:creationId xmlns:a16="http://schemas.microsoft.com/office/drawing/2014/main" id="{6BE01BE8-47EC-2572-C298-D7CD8EF6BBC4}"/>
              </a:ext>
            </a:extLst>
          </p:cNvPr>
          <p:cNvSpPr/>
          <p:nvPr/>
        </p:nvSpPr>
        <p:spPr bwMode="auto">
          <a:xfrm>
            <a:off x="402337" y="4317381"/>
            <a:ext cx="154496" cy="154496"/>
          </a:xfrm>
          <a:prstGeom prst="ellipse">
            <a:avLst/>
          </a:prstGeom>
          <a:solidFill>
            <a:srgbClr val="77E2C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  <p:cxnSp>
        <p:nvCxnSpPr>
          <p:cNvPr id="82" name="Прямая соединительная линия 81">
            <a:extLst>
              <a:ext uri="{FF2B5EF4-FFF2-40B4-BE49-F238E27FC236}">
                <a16:creationId xmlns:a16="http://schemas.microsoft.com/office/drawing/2014/main" id="{DD571B23-53E5-075F-47AD-9331454FE63F}"/>
              </a:ext>
            </a:extLst>
          </p:cNvPr>
          <p:cNvCxnSpPr/>
          <p:nvPr/>
        </p:nvCxnSpPr>
        <p:spPr bwMode="auto">
          <a:xfrm>
            <a:off x="556833" y="4867763"/>
            <a:ext cx="1959211" cy="0"/>
          </a:xfrm>
          <a:prstGeom prst="line">
            <a:avLst/>
          </a:prstGeom>
          <a:solidFill>
            <a:srgbClr val="008C95"/>
          </a:solidFill>
          <a:ln w="19050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4" name="Прямая соединительная линия 83">
            <a:extLst>
              <a:ext uri="{FF2B5EF4-FFF2-40B4-BE49-F238E27FC236}">
                <a16:creationId xmlns:a16="http://schemas.microsoft.com/office/drawing/2014/main" id="{B6EFF23A-EDF9-36BD-9ED0-B144924C623F}"/>
              </a:ext>
            </a:extLst>
          </p:cNvPr>
          <p:cNvCxnSpPr/>
          <p:nvPr/>
        </p:nvCxnSpPr>
        <p:spPr bwMode="auto">
          <a:xfrm>
            <a:off x="556833" y="3704092"/>
            <a:ext cx="1959211" cy="0"/>
          </a:xfrm>
          <a:prstGeom prst="line">
            <a:avLst/>
          </a:prstGeom>
          <a:solidFill>
            <a:srgbClr val="008C95"/>
          </a:solidFill>
          <a:ln w="19050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6" name="Прямая соединительная линия 85">
            <a:extLst>
              <a:ext uri="{FF2B5EF4-FFF2-40B4-BE49-F238E27FC236}">
                <a16:creationId xmlns:a16="http://schemas.microsoft.com/office/drawing/2014/main" id="{FD874348-83CB-95CA-96B1-F01AFF1FBDE9}"/>
              </a:ext>
            </a:extLst>
          </p:cNvPr>
          <p:cNvCxnSpPr/>
          <p:nvPr/>
        </p:nvCxnSpPr>
        <p:spPr bwMode="auto">
          <a:xfrm>
            <a:off x="556833" y="4234495"/>
            <a:ext cx="1959211" cy="0"/>
          </a:xfrm>
          <a:prstGeom prst="line">
            <a:avLst/>
          </a:prstGeom>
          <a:solidFill>
            <a:srgbClr val="008C95"/>
          </a:solidFill>
          <a:ln w="19050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7" name="Прямая соединительная линия 86">
            <a:extLst>
              <a:ext uri="{FF2B5EF4-FFF2-40B4-BE49-F238E27FC236}">
                <a16:creationId xmlns:a16="http://schemas.microsoft.com/office/drawing/2014/main" id="{0DF72386-E63D-2C9E-16EF-952A93371500}"/>
              </a:ext>
            </a:extLst>
          </p:cNvPr>
          <p:cNvCxnSpPr/>
          <p:nvPr/>
        </p:nvCxnSpPr>
        <p:spPr bwMode="auto">
          <a:xfrm>
            <a:off x="556833" y="2443124"/>
            <a:ext cx="1959211" cy="0"/>
          </a:xfrm>
          <a:prstGeom prst="line">
            <a:avLst/>
          </a:prstGeom>
          <a:solidFill>
            <a:srgbClr val="008C95"/>
          </a:solidFill>
          <a:ln w="19050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1" name="Прямая соединительная линия 90">
            <a:extLst>
              <a:ext uri="{FF2B5EF4-FFF2-40B4-BE49-F238E27FC236}">
                <a16:creationId xmlns:a16="http://schemas.microsoft.com/office/drawing/2014/main" id="{0A852F3D-3CF6-F62F-9EFB-9B56CA2003CF}"/>
              </a:ext>
            </a:extLst>
          </p:cNvPr>
          <p:cNvCxnSpPr/>
          <p:nvPr/>
        </p:nvCxnSpPr>
        <p:spPr bwMode="auto">
          <a:xfrm>
            <a:off x="556833" y="1673093"/>
            <a:ext cx="1959211" cy="0"/>
          </a:xfrm>
          <a:prstGeom prst="line">
            <a:avLst/>
          </a:prstGeom>
          <a:solidFill>
            <a:srgbClr val="008C95"/>
          </a:solidFill>
          <a:ln w="19050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0" name="ee4pFootnotes">
            <a:extLst>
              <a:ext uri="{FF2B5EF4-FFF2-40B4-BE49-F238E27FC236}">
                <a16:creationId xmlns:a16="http://schemas.microsoft.com/office/drawing/2014/main" id="{74B12632-7A3A-BCF4-8F6B-2F5F85CACB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89695" y="2280773"/>
            <a:ext cx="2804346" cy="287231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algn="ctr" defTabSz="685783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endParaRPr lang="en-US" sz="900" b="1">
              <a:solidFill>
                <a:srgbClr val="00313C"/>
              </a:solidFill>
              <a:latin typeface="Arial" panose="020B0604020202020204" pitchFamily="34" charset="0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101" name="ee4pFootnotes">
            <a:extLst>
              <a:ext uri="{FF2B5EF4-FFF2-40B4-BE49-F238E27FC236}">
                <a16:creationId xmlns:a16="http://schemas.microsoft.com/office/drawing/2014/main" id="{05BA8CD5-DED5-FF67-CDD4-CF87749521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3736" y="2267934"/>
            <a:ext cx="2804346" cy="287231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algn="ctr" defTabSz="685783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endParaRPr lang="en-US" sz="900" b="1">
              <a:solidFill>
                <a:srgbClr val="00313C"/>
              </a:solidFill>
              <a:latin typeface="Arial" panose="020B0604020202020204" pitchFamily="34" charset="0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102" name="Овал 101">
            <a:extLst>
              <a:ext uri="{FF2B5EF4-FFF2-40B4-BE49-F238E27FC236}">
                <a16:creationId xmlns:a16="http://schemas.microsoft.com/office/drawing/2014/main" id="{40BBD54E-3EFE-DBF6-5F34-6D3C0007880E}"/>
              </a:ext>
            </a:extLst>
          </p:cNvPr>
          <p:cNvSpPr/>
          <p:nvPr/>
        </p:nvSpPr>
        <p:spPr bwMode="auto">
          <a:xfrm>
            <a:off x="3179742" y="2551117"/>
            <a:ext cx="154496" cy="154496"/>
          </a:xfrm>
          <a:prstGeom prst="ellipse">
            <a:avLst/>
          </a:prstGeom>
          <a:solidFill>
            <a:srgbClr val="77E2C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  <p:sp>
        <p:nvSpPr>
          <p:cNvPr id="103" name="Прямоугольник 102">
            <a:extLst>
              <a:ext uri="{FF2B5EF4-FFF2-40B4-BE49-F238E27FC236}">
                <a16:creationId xmlns:a16="http://schemas.microsoft.com/office/drawing/2014/main" id="{00BF2500-6A5E-AAB2-FCA1-4FECF031BDF4}"/>
              </a:ext>
            </a:extLst>
          </p:cNvPr>
          <p:cNvSpPr/>
          <p:nvPr/>
        </p:nvSpPr>
        <p:spPr bwMode="auto">
          <a:xfrm>
            <a:off x="5378709" y="1498081"/>
            <a:ext cx="575598" cy="3377925"/>
          </a:xfrm>
          <a:prstGeom prst="rect">
            <a:avLst/>
          </a:prstGeom>
          <a:solidFill>
            <a:srgbClr val="77E2C3">
              <a:lumMod val="60000"/>
              <a:lumOff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  <p:sp>
        <p:nvSpPr>
          <p:cNvPr id="104" name="ee4pFootnotes">
            <a:extLst>
              <a:ext uri="{FF2B5EF4-FFF2-40B4-BE49-F238E27FC236}">
                <a16:creationId xmlns:a16="http://schemas.microsoft.com/office/drawing/2014/main" id="{D45DE8A9-C6DA-92DE-1B00-468E6A53AC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69193" y="1622101"/>
            <a:ext cx="573109" cy="1100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algn="ctr" defTabSz="685783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b="1">
                <a:solidFill>
                  <a:srgbClr val="00313C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28</a:t>
            </a:r>
            <a:r>
              <a:rPr lang="ru-RU" sz="800" b="1">
                <a:solidFill>
                  <a:srgbClr val="00313C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 </a:t>
            </a:r>
            <a:r>
              <a:rPr lang="en-US" sz="800" b="1">
                <a:solidFill>
                  <a:srgbClr val="00313C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224</a:t>
            </a:r>
            <a:r>
              <a:rPr lang="ru-RU" sz="800" b="1">
                <a:solidFill>
                  <a:srgbClr val="00313C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 </a:t>
            </a:r>
            <a:r>
              <a:rPr lang="en-US" sz="800" b="1">
                <a:solidFill>
                  <a:srgbClr val="00313C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000</a:t>
            </a:r>
          </a:p>
        </p:txBody>
      </p:sp>
      <p:sp>
        <p:nvSpPr>
          <p:cNvPr id="105" name="ee4pFootnotes">
            <a:extLst>
              <a:ext uri="{FF2B5EF4-FFF2-40B4-BE49-F238E27FC236}">
                <a16:creationId xmlns:a16="http://schemas.microsoft.com/office/drawing/2014/main" id="{DE425B24-2E0A-6DC2-8A05-9ED0EA6F9C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80881" y="2691963"/>
            <a:ext cx="562253" cy="1108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algn="ctr" defTabSz="685783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b="1">
                <a:solidFill>
                  <a:srgbClr val="00313C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7</a:t>
            </a:r>
            <a:r>
              <a:rPr lang="ru-RU" sz="800" b="1">
                <a:solidFill>
                  <a:srgbClr val="00313C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 </a:t>
            </a:r>
            <a:r>
              <a:rPr lang="en-US" sz="800" b="1">
                <a:solidFill>
                  <a:srgbClr val="00313C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442</a:t>
            </a:r>
            <a:r>
              <a:rPr lang="ru-RU" sz="800" b="1">
                <a:solidFill>
                  <a:srgbClr val="00313C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 </a:t>
            </a:r>
            <a:r>
              <a:rPr lang="en-US" sz="800" b="1">
                <a:solidFill>
                  <a:srgbClr val="00313C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400</a:t>
            </a:r>
          </a:p>
        </p:txBody>
      </p:sp>
      <p:sp>
        <p:nvSpPr>
          <p:cNvPr id="110" name="TextBox 559">
            <a:extLst>
              <a:ext uri="{FF2B5EF4-FFF2-40B4-BE49-F238E27FC236}">
                <a16:creationId xmlns:a16="http://schemas.microsoft.com/office/drawing/2014/main" id="{430061FA-3592-49C3-A18D-B25317A4B60E}"/>
              </a:ext>
            </a:extLst>
          </p:cNvPr>
          <p:cNvSpPr txBox="1"/>
          <p:nvPr/>
        </p:nvSpPr>
        <p:spPr bwMode="gray">
          <a:xfrm>
            <a:off x="5348118" y="1331136"/>
            <a:ext cx="594184" cy="10701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3680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87361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1042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74723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184039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620845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057651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494460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ctr" defTabSz="629735" rtl="0" eaLnBrk="1" fontAlgn="base" latinLnBrk="0" hangingPunct="1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77E2C3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Убытки,</a:t>
            </a:r>
            <a:r>
              <a:rPr kumimoji="0" lang="ru-RU" sz="700" b="0" i="0" u="none" strike="noStrike" kern="1200" cap="none" spc="0" normalizeH="0" noProof="0" dirty="0">
                <a:ln>
                  <a:noFill/>
                </a:ln>
                <a:solidFill>
                  <a:srgbClr val="77E2C3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ru-RU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7E2C3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руб</a:t>
            </a:r>
            <a:endParaRPr kumimoji="0" lang="ru-RU" sz="700" b="0" i="0" u="none" strike="noStrike" kern="1200" cap="none" spc="0" normalizeH="0" baseline="0" noProof="0" dirty="0">
              <a:ln>
                <a:noFill/>
              </a:ln>
              <a:solidFill>
                <a:srgbClr val="77E2C3">
                  <a:lumMod val="50000"/>
                </a:srgb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11" name="Овал 110">
            <a:extLst>
              <a:ext uri="{FF2B5EF4-FFF2-40B4-BE49-F238E27FC236}">
                <a16:creationId xmlns:a16="http://schemas.microsoft.com/office/drawing/2014/main" id="{1EEE0C5C-5BD6-DBD6-7909-4C31CBEE573E}"/>
              </a:ext>
            </a:extLst>
          </p:cNvPr>
          <p:cNvSpPr/>
          <p:nvPr/>
        </p:nvSpPr>
        <p:spPr bwMode="auto">
          <a:xfrm>
            <a:off x="3193639" y="1513409"/>
            <a:ext cx="154496" cy="154496"/>
          </a:xfrm>
          <a:prstGeom prst="ellipse">
            <a:avLst/>
          </a:prstGeom>
          <a:solidFill>
            <a:srgbClr val="77E2C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  <p:sp>
        <p:nvSpPr>
          <p:cNvPr id="112" name="Овал 111">
            <a:extLst>
              <a:ext uri="{FF2B5EF4-FFF2-40B4-BE49-F238E27FC236}">
                <a16:creationId xmlns:a16="http://schemas.microsoft.com/office/drawing/2014/main" id="{2C5BA419-22CD-88E9-A453-301A7CF2BC90}"/>
              </a:ext>
            </a:extLst>
          </p:cNvPr>
          <p:cNvSpPr/>
          <p:nvPr/>
        </p:nvSpPr>
        <p:spPr bwMode="auto">
          <a:xfrm>
            <a:off x="3187514" y="2032263"/>
            <a:ext cx="154496" cy="154496"/>
          </a:xfrm>
          <a:prstGeom prst="ellipse">
            <a:avLst/>
          </a:prstGeom>
          <a:solidFill>
            <a:srgbClr val="77E2C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  <p:sp>
        <p:nvSpPr>
          <p:cNvPr id="114" name="Овал 113">
            <a:extLst>
              <a:ext uri="{FF2B5EF4-FFF2-40B4-BE49-F238E27FC236}">
                <a16:creationId xmlns:a16="http://schemas.microsoft.com/office/drawing/2014/main" id="{861A32DE-2F5E-5D8C-ADE5-0EB358568405}"/>
              </a:ext>
            </a:extLst>
          </p:cNvPr>
          <p:cNvSpPr/>
          <p:nvPr/>
        </p:nvSpPr>
        <p:spPr bwMode="auto">
          <a:xfrm>
            <a:off x="3193639" y="3651870"/>
            <a:ext cx="154496" cy="154496"/>
          </a:xfrm>
          <a:prstGeom prst="ellipse">
            <a:avLst/>
          </a:prstGeom>
          <a:solidFill>
            <a:srgbClr val="77E2C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  <p:sp>
        <p:nvSpPr>
          <p:cNvPr id="116" name="Овал 115">
            <a:extLst>
              <a:ext uri="{FF2B5EF4-FFF2-40B4-BE49-F238E27FC236}">
                <a16:creationId xmlns:a16="http://schemas.microsoft.com/office/drawing/2014/main" id="{85FCEB03-0E95-2331-C8B0-B7AA22CB7752}"/>
              </a:ext>
            </a:extLst>
          </p:cNvPr>
          <p:cNvSpPr/>
          <p:nvPr/>
        </p:nvSpPr>
        <p:spPr bwMode="auto">
          <a:xfrm>
            <a:off x="3186233" y="3147814"/>
            <a:ext cx="154496" cy="154496"/>
          </a:xfrm>
          <a:prstGeom prst="ellipse">
            <a:avLst/>
          </a:prstGeom>
          <a:solidFill>
            <a:srgbClr val="77E2C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  <p:sp>
        <p:nvSpPr>
          <p:cNvPr id="124" name="ee4pFootnotes">
            <a:extLst>
              <a:ext uri="{FF2B5EF4-FFF2-40B4-BE49-F238E27FC236}">
                <a16:creationId xmlns:a16="http://schemas.microsoft.com/office/drawing/2014/main" id="{B860237D-F609-1ECC-2F42-A8F64553DC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4080" y="2605536"/>
            <a:ext cx="575701" cy="1108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algn="ctr" defTabSz="685783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b="1">
                <a:solidFill>
                  <a:srgbClr val="00313C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96</a:t>
            </a:r>
            <a:r>
              <a:rPr lang="ru-RU" sz="800" b="1">
                <a:solidFill>
                  <a:srgbClr val="00313C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 </a:t>
            </a:r>
            <a:r>
              <a:rPr lang="en-US" sz="800" b="1">
                <a:solidFill>
                  <a:srgbClr val="00313C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600</a:t>
            </a:r>
            <a:r>
              <a:rPr lang="ru-RU" sz="800" b="1">
                <a:solidFill>
                  <a:srgbClr val="00313C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 </a:t>
            </a:r>
            <a:r>
              <a:rPr lang="en-US" sz="800" b="1">
                <a:solidFill>
                  <a:srgbClr val="00313C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000 </a:t>
            </a:r>
          </a:p>
        </p:txBody>
      </p:sp>
      <p:sp>
        <p:nvSpPr>
          <p:cNvPr id="129" name="Овал 128">
            <a:extLst>
              <a:ext uri="{FF2B5EF4-FFF2-40B4-BE49-F238E27FC236}">
                <a16:creationId xmlns:a16="http://schemas.microsoft.com/office/drawing/2014/main" id="{080E7CEF-0E5E-81B2-671E-CACBF96956A7}"/>
              </a:ext>
            </a:extLst>
          </p:cNvPr>
          <p:cNvSpPr/>
          <p:nvPr/>
        </p:nvSpPr>
        <p:spPr bwMode="auto">
          <a:xfrm>
            <a:off x="3193368" y="4371950"/>
            <a:ext cx="154496" cy="154496"/>
          </a:xfrm>
          <a:prstGeom prst="ellipse">
            <a:avLst/>
          </a:prstGeom>
          <a:solidFill>
            <a:srgbClr val="77E2C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  <p:cxnSp>
        <p:nvCxnSpPr>
          <p:cNvPr id="130" name="Прямая соединительная линия 129">
            <a:extLst>
              <a:ext uri="{FF2B5EF4-FFF2-40B4-BE49-F238E27FC236}">
                <a16:creationId xmlns:a16="http://schemas.microsoft.com/office/drawing/2014/main" id="{D6C15B85-E677-0E9C-3486-1779A658F4D2}"/>
              </a:ext>
            </a:extLst>
          </p:cNvPr>
          <p:cNvCxnSpPr/>
          <p:nvPr/>
        </p:nvCxnSpPr>
        <p:spPr bwMode="auto">
          <a:xfrm>
            <a:off x="556833" y="2967222"/>
            <a:ext cx="1959211" cy="0"/>
          </a:xfrm>
          <a:prstGeom prst="line">
            <a:avLst/>
          </a:prstGeom>
          <a:solidFill>
            <a:srgbClr val="008C95"/>
          </a:solidFill>
          <a:ln w="19050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0" name="object 46">
            <a:extLst>
              <a:ext uri="{FF2B5EF4-FFF2-40B4-BE49-F238E27FC236}">
                <a16:creationId xmlns:a16="http://schemas.microsoft.com/office/drawing/2014/main" id="{9B78F5BC-4619-AF53-770B-DA9C030B1C93}"/>
              </a:ext>
            </a:extLst>
          </p:cNvPr>
          <p:cNvSpPr txBox="1"/>
          <p:nvPr/>
        </p:nvSpPr>
        <p:spPr>
          <a:xfrm>
            <a:off x="6080675" y="2244229"/>
            <a:ext cx="2019717" cy="7643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84131" marR="5072" indent="-171450" algn="just" defTabSz="685800" eaLnBrk="1" fontAlgn="auto" hangingPunct="1">
              <a:spcBef>
                <a:spcPts val="1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800" b="1" spc="-5" dirty="0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Необходимость модернизации системы пневмотранспорта. Невозможность снижения трудоемкости процесса транспортирования порошка 48 </a:t>
            </a:r>
            <a:r>
              <a:rPr lang="ru-RU" sz="800" b="1" spc="-5" dirty="0" err="1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человеко</a:t>
            </a:r>
            <a:r>
              <a:rPr lang="ru-RU" sz="800" b="1" spc="-5" dirty="0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 часов в сутки)</a:t>
            </a:r>
            <a:endParaRPr sz="800" b="1" spc="-5" dirty="0">
              <a:solidFill>
                <a:srgbClr val="00313C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51" name="Овал 50">
            <a:extLst>
              <a:ext uri="{FF2B5EF4-FFF2-40B4-BE49-F238E27FC236}">
                <a16:creationId xmlns:a16="http://schemas.microsoft.com/office/drawing/2014/main" id="{1EEE0C5C-5BD6-DBD6-7909-4C31CBEE573E}"/>
              </a:ext>
            </a:extLst>
          </p:cNvPr>
          <p:cNvSpPr/>
          <p:nvPr/>
        </p:nvSpPr>
        <p:spPr bwMode="auto">
          <a:xfrm>
            <a:off x="6056083" y="1518740"/>
            <a:ext cx="154496" cy="154496"/>
          </a:xfrm>
          <a:prstGeom prst="ellipse">
            <a:avLst/>
          </a:prstGeom>
          <a:solidFill>
            <a:srgbClr val="77E2C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  <p:sp>
        <p:nvSpPr>
          <p:cNvPr id="52" name="Овал 51">
            <a:extLst>
              <a:ext uri="{FF2B5EF4-FFF2-40B4-BE49-F238E27FC236}">
                <a16:creationId xmlns:a16="http://schemas.microsoft.com/office/drawing/2014/main" id="{2C5BA419-22CD-88E9-A453-301A7CF2BC90}"/>
              </a:ext>
            </a:extLst>
          </p:cNvPr>
          <p:cNvSpPr/>
          <p:nvPr/>
        </p:nvSpPr>
        <p:spPr bwMode="auto">
          <a:xfrm>
            <a:off x="6053731" y="2250937"/>
            <a:ext cx="154496" cy="154496"/>
          </a:xfrm>
          <a:prstGeom prst="ellipse">
            <a:avLst/>
          </a:prstGeom>
          <a:solidFill>
            <a:srgbClr val="77E2C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  <p:cxnSp>
        <p:nvCxnSpPr>
          <p:cNvPr id="53" name="Прямая соединительная линия 52">
            <a:extLst>
              <a:ext uri="{FF2B5EF4-FFF2-40B4-BE49-F238E27FC236}">
                <a16:creationId xmlns:a16="http://schemas.microsoft.com/office/drawing/2014/main" id="{0A852F3D-3CF6-F62F-9EFB-9B56CA2003CF}"/>
              </a:ext>
            </a:extLst>
          </p:cNvPr>
          <p:cNvCxnSpPr/>
          <p:nvPr/>
        </p:nvCxnSpPr>
        <p:spPr bwMode="auto">
          <a:xfrm>
            <a:off x="3347864" y="1851670"/>
            <a:ext cx="1959211" cy="0"/>
          </a:xfrm>
          <a:prstGeom prst="line">
            <a:avLst/>
          </a:prstGeom>
          <a:solidFill>
            <a:srgbClr val="008C95"/>
          </a:solidFill>
          <a:ln w="19050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4" name="Прямая соединительная линия 53">
            <a:extLst>
              <a:ext uri="{FF2B5EF4-FFF2-40B4-BE49-F238E27FC236}">
                <a16:creationId xmlns:a16="http://schemas.microsoft.com/office/drawing/2014/main" id="{0A852F3D-3CF6-F62F-9EFB-9B56CA2003CF}"/>
              </a:ext>
            </a:extLst>
          </p:cNvPr>
          <p:cNvCxnSpPr/>
          <p:nvPr/>
        </p:nvCxnSpPr>
        <p:spPr bwMode="auto">
          <a:xfrm>
            <a:off x="3334238" y="2402126"/>
            <a:ext cx="1959211" cy="0"/>
          </a:xfrm>
          <a:prstGeom prst="line">
            <a:avLst/>
          </a:prstGeom>
          <a:solidFill>
            <a:srgbClr val="008C95"/>
          </a:solidFill>
          <a:ln w="19050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6" name="Прямая соединительная линия 55">
            <a:extLst>
              <a:ext uri="{FF2B5EF4-FFF2-40B4-BE49-F238E27FC236}">
                <a16:creationId xmlns:a16="http://schemas.microsoft.com/office/drawing/2014/main" id="{0A852F3D-3CF6-F62F-9EFB-9B56CA2003CF}"/>
              </a:ext>
            </a:extLst>
          </p:cNvPr>
          <p:cNvCxnSpPr/>
          <p:nvPr/>
        </p:nvCxnSpPr>
        <p:spPr bwMode="auto">
          <a:xfrm>
            <a:off x="3340729" y="3155768"/>
            <a:ext cx="1959211" cy="0"/>
          </a:xfrm>
          <a:prstGeom prst="line">
            <a:avLst/>
          </a:prstGeom>
          <a:solidFill>
            <a:srgbClr val="008C95"/>
          </a:solidFill>
          <a:ln w="19050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7" name="Прямая соединительная линия 56">
            <a:extLst>
              <a:ext uri="{FF2B5EF4-FFF2-40B4-BE49-F238E27FC236}">
                <a16:creationId xmlns:a16="http://schemas.microsoft.com/office/drawing/2014/main" id="{0A852F3D-3CF6-F62F-9EFB-9B56CA2003CF}"/>
              </a:ext>
            </a:extLst>
          </p:cNvPr>
          <p:cNvCxnSpPr/>
          <p:nvPr/>
        </p:nvCxnSpPr>
        <p:spPr bwMode="auto">
          <a:xfrm>
            <a:off x="3334238" y="3579862"/>
            <a:ext cx="1959211" cy="0"/>
          </a:xfrm>
          <a:prstGeom prst="line">
            <a:avLst/>
          </a:prstGeom>
          <a:solidFill>
            <a:srgbClr val="008C95"/>
          </a:solidFill>
          <a:ln w="19050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8" name="Прямая соединительная линия 57">
            <a:extLst>
              <a:ext uri="{FF2B5EF4-FFF2-40B4-BE49-F238E27FC236}">
                <a16:creationId xmlns:a16="http://schemas.microsoft.com/office/drawing/2014/main" id="{0A852F3D-3CF6-F62F-9EFB-9B56CA2003CF}"/>
              </a:ext>
            </a:extLst>
          </p:cNvPr>
          <p:cNvCxnSpPr/>
          <p:nvPr/>
        </p:nvCxnSpPr>
        <p:spPr bwMode="auto">
          <a:xfrm>
            <a:off x="3348135" y="4314074"/>
            <a:ext cx="1959211" cy="0"/>
          </a:xfrm>
          <a:prstGeom prst="line">
            <a:avLst/>
          </a:prstGeom>
          <a:solidFill>
            <a:srgbClr val="008C95"/>
          </a:solidFill>
          <a:ln w="19050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9" name="Прямая соединительная линия 58">
            <a:extLst>
              <a:ext uri="{FF2B5EF4-FFF2-40B4-BE49-F238E27FC236}">
                <a16:creationId xmlns:a16="http://schemas.microsoft.com/office/drawing/2014/main" id="{0A852F3D-3CF6-F62F-9EFB-9B56CA2003CF}"/>
              </a:ext>
            </a:extLst>
          </p:cNvPr>
          <p:cNvCxnSpPr/>
          <p:nvPr/>
        </p:nvCxnSpPr>
        <p:spPr bwMode="auto">
          <a:xfrm>
            <a:off x="3347864" y="4881258"/>
            <a:ext cx="1959211" cy="0"/>
          </a:xfrm>
          <a:prstGeom prst="line">
            <a:avLst/>
          </a:prstGeom>
          <a:solidFill>
            <a:srgbClr val="008C95"/>
          </a:solidFill>
          <a:ln w="19050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1" name="Прямая соединительная линия 60">
            <a:extLst>
              <a:ext uri="{FF2B5EF4-FFF2-40B4-BE49-F238E27FC236}">
                <a16:creationId xmlns:a16="http://schemas.microsoft.com/office/drawing/2014/main" id="{0A852F3D-3CF6-F62F-9EFB-9B56CA2003CF}"/>
              </a:ext>
            </a:extLst>
          </p:cNvPr>
          <p:cNvCxnSpPr/>
          <p:nvPr/>
        </p:nvCxnSpPr>
        <p:spPr bwMode="auto">
          <a:xfrm>
            <a:off x="6228184" y="2139702"/>
            <a:ext cx="1959211" cy="0"/>
          </a:xfrm>
          <a:prstGeom prst="line">
            <a:avLst/>
          </a:prstGeom>
          <a:solidFill>
            <a:srgbClr val="008C95"/>
          </a:solidFill>
          <a:ln w="19050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2" name="Прямая соединительная линия 61">
            <a:extLst>
              <a:ext uri="{FF2B5EF4-FFF2-40B4-BE49-F238E27FC236}">
                <a16:creationId xmlns:a16="http://schemas.microsoft.com/office/drawing/2014/main" id="{0A852F3D-3CF6-F62F-9EFB-9B56CA2003CF}"/>
              </a:ext>
            </a:extLst>
          </p:cNvPr>
          <p:cNvCxnSpPr/>
          <p:nvPr/>
        </p:nvCxnSpPr>
        <p:spPr bwMode="auto">
          <a:xfrm>
            <a:off x="6228184" y="3008541"/>
            <a:ext cx="1959211" cy="0"/>
          </a:xfrm>
          <a:prstGeom prst="line">
            <a:avLst/>
          </a:prstGeom>
          <a:solidFill>
            <a:srgbClr val="008C95"/>
          </a:solidFill>
          <a:ln w="19050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5" name="Заголовок 1">
            <a:extLst>
              <a:ext uri="{FF2B5EF4-FFF2-40B4-BE49-F238E27FC236}">
                <a16:creationId xmlns:a16="http://schemas.microsoft.com/office/drawing/2014/main" id="{23D272B0-5BC3-A116-2E9B-CE05D93E2E51}"/>
              </a:ext>
            </a:extLst>
          </p:cNvPr>
          <p:cNvSpPr txBox="1">
            <a:spLocks/>
          </p:cNvSpPr>
          <p:nvPr/>
        </p:nvSpPr>
        <p:spPr>
          <a:xfrm>
            <a:off x="6219900" y="3188968"/>
            <a:ext cx="2521547" cy="1590996"/>
          </a:xfrm>
          <a:prstGeom prst="rect">
            <a:avLst/>
          </a:prstGeom>
        </p:spPr>
        <p:txBody>
          <a:bodyPr vert="horz" lIns="0" tIns="0" rIns="0" bIns="0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dirty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just">
              <a:lnSpc>
                <a:spcPct val="95000"/>
              </a:lnSpc>
            </a:pPr>
            <a:r>
              <a:rPr lang="ru-RU" sz="900" kern="0" dirty="0">
                <a:solidFill>
                  <a:schemeClr val="tx1"/>
                </a:solidFill>
                <a:latin typeface="Arial"/>
              </a:rPr>
              <a:t>Анализ возможных рисков показал, что все причины можно разделить на несколько основных групп:</a:t>
            </a:r>
          </a:p>
          <a:p>
            <a:pPr marL="171450" indent="-171450">
              <a:lnSpc>
                <a:spcPct val="95000"/>
              </a:lnSpc>
              <a:buFontTx/>
              <a:buChar char="-"/>
            </a:pPr>
            <a:r>
              <a:rPr lang="ru-RU" sz="900" kern="0" dirty="0">
                <a:solidFill>
                  <a:schemeClr val="tx1"/>
                </a:solidFill>
                <a:latin typeface="Arial"/>
              </a:rPr>
              <a:t>Износ оборудования;</a:t>
            </a:r>
          </a:p>
          <a:p>
            <a:pPr marL="171450" indent="-171450">
              <a:lnSpc>
                <a:spcPct val="95000"/>
              </a:lnSpc>
              <a:buFontTx/>
              <a:buChar char="-"/>
            </a:pPr>
            <a:r>
              <a:rPr lang="ru-RU" sz="900" kern="0" dirty="0">
                <a:solidFill>
                  <a:schemeClr val="tx1"/>
                </a:solidFill>
                <a:latin typeface="Arial"/>
              </a:rPr>
              <a:t>Несоответствие требованиям </a:t>
            </a:r>
            <a:r>
              <a:rPr lang="ru-RU" sz="900" kern="0" dirty="0" err="1">
                <a:solidFill>
                  <a:schemeClr val="tx1"/>
                </a:solidFill>
                <a:latin typeface="Arial"/>
              </a:rPr>
              <a:t>ФНиП</a:t>
            </a:r>
            <a:r>
              <a:rPr lang="ru-RU" sz="900" kern="0" dirty="0">
                <a:solidFill>
                  <a:schemeClr val="tx1"/>
                </a:solidFill>
                <a:latin typeface="Arial"/>
              </a:rPr>
              <a:t>;</a:t>
            </a:r>
          </a:p>
          <a:p>
            <a:pPr marL="171450" indent="-171450">
              <a:lnSpc>
                <a:spcPct val="95000"/>
              </a:lnSpc>
              <a:buFontTx/>
              <a:buChar char="-"/>
            </a:pPr>
            <a:r>
              <a:rPr lang="ru-RU" sz="900" kern="0" dirty="0">
                <a:solidFill>
                  <a:schemeClr val="tx1"/>
                </a:solidFill>
                <a:latin typeface="Arial"/>
              </a:rPr>
              <a:t>Низкий уровень автоматизации производства;</a:t>
            </a:r>
          </a:p>
          <a:p>
            <a:pPr marL="171450" indent="-171450">
              <a:lnSpc>
                <a:spcPct val="95000"/>
              </a:lnSpc>
              <a:buFontTx/>
              <a:buChar char="-"/>
            </a:pPr>
            <a:r>
              <a:rPr lang="ru-RU" sz="900" kern="0" dirty="0">
                <a:solidFill>
                  <a:schemeClr val="tx1"/>
                </a:solidFill>
                <a:latin typeface="Arial"/>
              </a:rPr>
              <a:t>Отсутствие резервирования оборудования;</a:t>
            </a:r>
          </a:p>
          <a:p>
            <a:pPr marL="171450" indent="-171450">
              <a:lnSpc>
                <a:spcPct val="95000"/>
              </a:lnSpc>
              <a:buFontTx/>
              <a:buChar char="-"/>
            </a:pPr>
            <a:r>
              <a:rPr lang="ru-RU" sz="900" kern="0" dirty="0">
                <a:solidFill>
                  <a:schemeClr val="tx1"/>
                </a:solidFill>
                <a:latin typeface="Arial"/>
              </a:rPr>
              <a:t>Некорректная работа аналитического оборудования и приборов </a:t>
            </a:r>
            <a:r>
              <a:rPr lang="ru-RU" sz="900" kern="0" dirty="0" err="1">
                <a:solidFill>
                  <a:schemeClr val="tx1"/>
                </a:solidFill>
                <a:latin typeface="Arial"/>
              </a:rPr>
              <a:t>КиП</a:t>
            </a:r>
            <a:r>
              <a:rPr lang="ru-RU" sz="900" kern="0" dirty="0">
                <a:solidFill>
                  <a:schemeClr val="tx1"/>
                </a:solidFill>
                <a:latin typeface="Arial"/>
              </a:rPr>
              <a:t>;</a:t>
            </a:r>
          </a:p>
          <a:p>
            <a:pPr marL="171450" indent="-171450">
              <a:lnSpc>
                <a:spcPct val="95000"/>
              </a:lnSpc>
              <a:buFontTx/>
              <a:buChar char="-"/>
            </a:pPr>
            <a:r>
              <a:rPr lang="ru-RU" sz="900" kern="0" dirty="0">
                <a:solidFill>
                  <a:schemeClr val="tx1"/>
                </a:solidFill>
                <a:latin typeface="Arial"/>
              </a:rPr>
              <a:t>Низкая мотивация персонала.</a:t>
            </a:r>
          </a:p>
          <a:p>
            <a:pPr marL="171450" indent="-171450">
              <a:lnSpc>
                <a:spcPct val="95000"/>
              </a:lnSpc>
              <a:buFontTx/>
              <a:buChar char="-"/>
            </a:pPr>
            <a:endParaRPr lang="ru-RU" sz="900" kern="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4D6BA253-F6D1-6067-A522-F4A097CAC151}"/>
              </a:ext>
            </a:extLst>
          </p:cNvPr>
          <p:cNvSpPr/>
          <p:nvPr/>
        </p:nvSpPr>
        <p:spPr bwMode="auto">
          <a:xfrm>
            <a:off x="8239349" y="1495787"/>
            <a:ext cx="601533" cy="1512754"/>
          </a:xfrm>
          <a:prstGeom prst="rect">
            <a:avLst/>
          </a:prstGeom>
          <a:solidFill>
            <a:srgbClr val="77E2C3">
              <a:lumMod val="60000"/>
              <a:lumOff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  <p:sp>
        <p:nvSpPr>
          <p:cNvPr id="7" name="ee4pFootnotes">
            <a:extLst>
              <a:ext uri="{FF2B5EF4-FFF2-40B4-BE49-F238E27FC236}">
                <a16:creationId xmlns:a16="http://schemas.microsoft.com/office/drawing/2014/main" id="{60C4C950-B56D-FC8A-57FF-DE52FFCA37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41581" y="1722991"/>
            <a:ext cx="601533" cy="1108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algn="ctr" defTabSz="685783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800" b="1" dirty="0">
                <a:solidFill>
                  <a:srgbClr val="00313C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84 652 260</a:t>
            </a:r>
            <a:endParaRPr lang="en-US" sz="800" b="1" dirty="0">
              <a:solidFill>
                <a:srgbClr val="00313C"/>
              </a:solidFill>
              <a:latin typeface="Arial" panose="020B0604020202020204" pitchFamily="34" charset="0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1A20EDC7-FAF4-15FD-C0AC-60F5392C86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0A57E3-EA23-4E01-B1DF-72CA8D4A16E5}" type="slidenum">
              <a:rPr lang="ru-RU" altLang="ru-RU" smtClean="0"/>
              <a:pPr/>
              <a:t>6</a:t>
            </a:fld>
            <a:endParaRPr lang="ru-RU" altLang="ru-RU"/>
          </a:p>
        </p:txBody>
      </p:sp>
      <p:sp>
        <p:nvSpPr>
          <p:cNvPr id="9" name="TextBox 559">
            <a:extLst>
              <a:ext uri="{FF2B5EF4-FFF2-40B4-BE49-F238E27FC236}">
                <a16:creationId xmlns:a16="http://schemas.microsoft.com/office/drawing/2014/main" id="{7812E64B-8F51-A8DC-FB79-4FE2D7585792}"/>
              </a:ext>
            </a:extLst>
          </p:cNvPr>
          <p:cNvSpPr txBox="1"/>
          <p:nvPr/>
        </p:nvSpPr>
        <p:spPr bwMode="gray">
          <a:xfrm>
            <a:off x="8239349" y="1336502"/>
            <a:ext cx="594184" cy="10701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3680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87361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1042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74723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184039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620845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057651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494460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ctr" defTabSz="629735" rtl="0" eaLnBrk="1" fontAlgn="base" latinLnBrk="0" hangingPunct="1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77E2C3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Убытки,</a:t>
            </a:r>
            <a:r>
              <a:rPr kumimoji="0" lang="ru-RU" sz="700" b="0" i="0" u="none" strike="noStrike" kern="1200" cap="none" spc="0" normalizeH="0" noProof="0" dirty="0">
                <a:ln>
                  <a:noFill/>
                </a:ln>
                <a:solidFill>
                  <a:srgbClr val="77E2C3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ru-RU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7E2C3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руб</a:t>
            </a:r>
            <a:endParaRPr kumimoji="0" lang="ru-RU" sz="700" b="0" i="0" u="none" strike="noStrike" kern="1200" cap="none" spc="0" normalizeH="0" baseline="0" noProof="0" dirty="0">
              <a:ln>
                <a:noFill/>
              </a:ln>
              <a:solidFill>
                <a:srgbClr val="77E2C3">
                  <a:lumMod val="50000"/>
                </a:srgb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75402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323528" y="253569"/>
            <a:ext cx="8225568" cy="373966"/>
          </a:xfrm>
        </p:spPr>
        <p:txBody>
          <a:bodyPr anchor="t"/>
          <a:lstStyle/>
          <a:p>
            <a:pPr algn="l" eaLnBrk="1" hangingPunct="1"/>
            <a:r>
              <a:rPr lang="ru-RU" sz="1800" b="1" kern="0">
                <a:solidFill>
                  <a:srgbClr val="008C95"/>
                </a:solidFill>
                <a:latin typeface="Arial"/>
              </a:rPr>
              <a:t>Анализ рисков, определение наиболее существенных проблем</a:t>
            </a:r>
            <a:endParaRPr lang="ru-RU" altLang="ru-RU" sz="1800" b="1" kern="0">
              <a:solidFill>
                <a:srgbClr val="008C95"/>
              </a:solidFill>
              <a:latin typeface="Arial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809AE39C-72FE-4413-F953-252753E07DDE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5189" y="339725"/>
            <a:ext cx="1033507" cy="468210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0B4F5503-C485-1AAA-AC79-C8EE935EBAB3}"/>
              </a:ext>
            </a:extLst>
          </p:cNvPr>
          <p:cNvSpPr/>
          <p:nvPr/>
        </p:nvSpPr>
        <p:spPr bwMode="auto">
          <a:xfrm>
            <a:off x="2574363" y="1529831"/>
            <a:ext cx="575598" cy="1162855"/>
          </a:xfrm>
          <a:prstGeom prst="rect">
            <a:avLst/>
          </a:prstGeom>
          <a:solidFill>
            <a:srgbClr val="77E2C3">
              <a:lumMod val="60000"/>
              <a:lumOff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ADEEDB"/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E86B8E2-0EBC-12B3-85DC-6E0A3B9BB4AD}"/>
              </a:ext>
            </a:extLst>
          </p:cNvPr>
          <p:cNvSpPr txBox="1"/>
          <p:nvPr/>
        </p:nvSpPr>
        <p:spPr>
          <a:xfrm>
            <a:off x="3149962" y="699542"/>
            <a:ext cx="2120755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778986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400"/>
              <a:t>       </a:t>
            </a:r>
            <a:r>
              <a:rPr lang="ru-RU" sz="1200"/>
              <a:t>Увеличение объемов выпуска товарной продукции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3569EFE-C17F-FBFE-9B7E-C2A259888727}"/>
              </a:ext>
            </a:extLst>
          </p:cNvPr>
          <p:cNvSpPr txBox="1"/>
          <p:nvPr/>
        </p:nvSpPr>
        <p:spPr>
          <a:xfrm>
            <a:off x="323528" y="680958"/>
            <a:ext cx="2088233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778986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400"/>
              <a:t>        </a:t>
            </a:r>
            <a:r>
              <a:rPr lang="ru-RU" sz="1200"/>
              <a:t>Стабильная работа и повышение эффективности действующих производств </a:t>
            </a:r>
            <a:endParaRPr lang="ru-RU" sz="1200" b="1">
              <a:solidFill>
                <a:srgbClr val="008C95"/>
              </a:solidFill>
              <a:latin typeface="Arial"/>
              <a:cs typeface="+mn-cs"/>
            </a:endParaRPr>
          </a:p>
        </p:txBody>
      </p:sp>
      <p:sp>
        <p:nvSpPr>
          <p:cNvPr id="9" name="object 45">
            <a:extLst>
              <a:ext uri="{FF2B5EF4-FFF2-40B4-BE49-F238E27FC236}">
                <a16:creationId xmlns:a16="http://schemas.microsoft.com/office/drawing/2014/main" id="{99D4391E-7074-B4FD-C237-FDF3AFE0A505}"/>
              </a:ext>
            </a:extLst>
          </p:cNvPr>
          <p:cNvSpPr txBox="1"/>
          <p:nvPr/>
        </p:nvSpPr>
        <p:spPr>
          <a:xfrm>
            <a:off x="6053923" y="2265674"/>
            <a:ext cx="2047998" cy="50526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81" algn="just" defTabSz="685800" eaLnBrk="1" fontAlgn="auto" hangingPunct="1">
              <a:spcBef>
                <a:spcPts val="100"/>
              </a:spcBef>
              <a:spcAft>
                <a:spcPts val="0"/>
              </a:spcAft>
              <a:defRPr/>
            </a:pPr>
            <a:r>
              <a:rPr lang="ru-RU" sz="800" b="1" dirty="0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Отсутствие проектных площадок для обслуживания оборудования (ППК, вентилей и приборов учета расхода).</a:t>
            </a:r>
          </a:p>
          <a:p>
            <a:pPr marL="184131" indent="-171450" algn="just" defTabSz="685800" eaLnBrk="1" fontAlgn="auto" hangingPunct="1">
              <a:spcBef>
                <a:spcPts val="1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800" b="1" dirty="0">
              <a:solidFill>
                <a:srgbClr val="00313C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C83C8D9-2713-DE1E-675D-4427F69A5C12}"/>
              </a:ext>
            </a:extLst>
          </p:cNvPr>
          <p:cNvSpPr txBox="1"/>
          <p:nvPr/>
        </p:nvSpPr>
        <p:spPr>
          <a:xfrm>
            <a:off x="5942304" y="699542"/>
            <a:ext cx="2528795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778986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400"/>
              <a:t>      </a:t>
            </a:r>
            <a:r>
              <a:rPr lang="ru-RU" sz="1200"/>
              <a:t>Формирование перспективной программы развития, реализация программ устойчивого развития</a:t>
            </a:r>
          </a:p>
        </p:txBody>
      </p:sp>
      <p:sp>
        <p:nvSpPr>
          <p:cNvPr id="11" name="object 46">
            <a:extLst>
              <a:ext uri="{FF2B5EF4-FFF2-40B4-BE49-F238E27FC236}">
                <a16:creationId xmlns:a16="http://schemas.microsoft.com/office/drawing/2014/main" id="{9B78F5BC-4619-AF53-770B-DA9C030B1C93}"/>
              </a:ext>
            </a:extLst>
          </p:cNvPr>
          <p:cNvSpPr txBox="1"/>
          <p:nvPr/>
        </p:nvSpPr>
        <p:spPr>
          <a:xfrm>
            <a:off x="6072123" y="1547929"/>
            <a:ext cx="2019717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81" marR="5072" defTabSz="685800" eaLnBrk="1" fontAlgn="auto" hangingPunct="1">
              <a:spcBef>
                <a:spcPts val="100"/>
              </a:spcBef>
              <a:spcAft>
                <a:spcPts val="0"/>
              </a:spcAft>
              <a:defRPr/>
            </a:pPr>
            <a:r>
              <a:rPr lang="ru-RU" sz="800" b="1" spc="-5" dirty="0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Грамотные специалисты покидают предприятие,</a:t>
            </a:r>
            <a:r>
              <a:rPr lang="en-US" sz="800" b="1" spc="-5" dirty="0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 </a:t>
            </a:r>
            <a:r>
              <a:rPr lang="ru-RU" sz="800" b="1" spc="-5" dirty="0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оставшиеся уже достигли предпенсионного возраста. Высокая текучесть персонала.</a:t>
            </a:r>
            <a:endParaRPr sz="800" b="1" spc="-5" dirty="0">
              <a:solidFill>
                <a:srgbClr val="00313C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15" name="ee4pFootnotes">
            <a:extLst>
              <a:ext uri="{FF2B5EF4-FFF2-40B4-BE49-F238E27FC236}">
                <a16:creationId xmlns:a16="http://schemas.microsoft.com/office/drawing/2014/main" id="{A3CD0DF9-E648-4B74-F642-C1D9F8C15B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74363" y="1591625"/>
            <a:ext cx="565519" cy="1108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algn="ctr" defTabSz="685783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800" b="1" dirty="0">
                <a:solidFill>
                  <a:srgbClr val="00313C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72</a:t>
            </a:r>
            <a:r>
              <a:rPr lang="en-US" sz="800" b="1" dirty="0">
                <a:solidFill>
                  <a:srgbClr val="00313C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 </a:t>
            </a:r>
            <a:r>
              <a:rPr lang="ru-RU" sz="800" b="1" dirty="0">
                <a:solidFill>
                  <a:srgbClr val="00313C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817</a:t>
            </a:r>
            <a:r>
              <a:rPr lang="en-US" sz="800" b="1" dirty="0">
                <a:solidFill>
                  <a:srgbClr val="00313C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 500</a:t>
            </a:r>
          </a:p>
        </p:txBody>
      </p:sp>
      <p:sp>
        <p:nvSpPr>
          <p:cNvPr id="16" name="object 42">
            <a:extLst>
              <a:ext uri="{FF2B5EF4-FFF2-40B4-BE49-F238E27FC236}">
                <a16:creationId xmlns:a16="http://schemas.microsoft.com/office/drawing/2014/main" id="{5AB5F1A4-DF77-BC0F-3741-4B9626252026}"/>
              </a:ext>
            </a:extLst>
          </p:cNvPr>
          <p:cNvSpPr txBox="1"/>
          <p:nvPr/>
        </p:nvSpPr>
        <p:spPr>
          <a:xfrm>
            <a:off x="395289" y="1572503"/>
            <a:ext cx="2120755" cy="666849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12681" marR="5072" algn="just" defTabSz="685800" eaLnBrk="1" fontAlgn="auto" hangingPunct="1">
              <a:spcBef>
                <a:spcPts val="100"/>
              </a:spcBef>
              <a:spcAft>
                <a:spcPts val="0"/>
              </a:spcAft>
              <a:defRPr/>
            </a:pPr>
            <a:r>
              <a:rPr lang="ru-RU" sz="800" b="1" spc="-5" dirty="0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Низкий уровень покрытия АСУТП.</a:t>
            </a:r>
          </a:p>
          <a:p>
            <a:pPr marL="184131" marR="5072" indent="-171450" algn="just" defTabSz="685800" eaLnBrk="1" fontAlgn="auto" hangingPunct="1">
              <a:spcBef>
                <a:spcPts val="1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800" b="1" spc="-5" dirty="0">
              <a:solidFill>
                <a:srgbClr val="00313C"/>
              </a:solidFill>
              <a:latin typeface="Arial"/>
              <a:cs typeface="Arial" panose="020B0604020202020204" pitchFamily="34" charset="0"/>
            </a:endParaRPr>
          </a:p>
          <a:p>
            <a:pPr marL="184131" marR="5072" indent="-171450" algn="just" defTabSz="685800" eaLnBrk="1" fontAlgn="auto" hangingPunct="1">
              <a:spcBef>
                <a:spcPts val="1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800" b="1" spc="-5" dirty="0">
              <a:solidFill>
                <a:srgbClr val="00313C"/>
              </a:solidFill>
              <a:latin typeface="Arial"/>
              <a:cs typeface="Arial" panose="020B0604020202020204" pitchFamily="34" charset="0"/>
            </a:endParaRPr>
          </a:p>
          <a:p>
            <a:pPr marL="184131" marR="5072" indent="-171450" algn="just" defTabSz="685800" eaLnBrk="1" fontAlgn="auto" hangingPunct="1">
              <a:spcBef>
                <a:spcPts val="1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800" b="1" spc="-5" dirty="0">
              <a:solidFill>
                <a:srgbClr val="00313C"/>
              </a:solidFill>
              <a:latin typeface="Arial"/>
              <a:cs typeface="Arial" panose="020B0604020202020204" pitchFamily="34" charset="0"/>
            </a:endParaRPr>
          </a:p>
          <a:p>
            <a:pPr marL="12681" marR="5072" algn="just" defTabSz="685800" eaLnBrk="1" fontAlgn="auto" hangingPunct="1">
              <a:spcBef>
                <a:spcPts val="100"/>
              </a:spcBef>
              <a:spcAft>
                <a:spcPts val="0"/>
              </a:spcAft>
              <a:defRPr/>
            </a:pPr>
            <a:endParaRPr lang="ru-RU" sz="800" b="1" spc="-5" dirty="0">
              <a:solidFill>
                <a:srgbClr val="00313C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18" name="TextBox 559">
            <a:extLst>
              <a:ext uri="{FF2B5EF4-FFF2-40B4-BE49-F238E27FC236}">
                <a16:creationId xmlns:a16="http://schemas.microsoft.com/office/drawing/2014/main" id="{1AD0BB5A-BE6C-5A86-F5BA-DCD5388FF0AA}"/>
              </a:ext>
            </a:extLst>
          </p:cNvPr>
          <p:cNvSpPr txBox="1"/>
          <p:nvPr/>
        </p:nvSpPr>
        <p:spPr bwMode="gray">
          <a:xfrm>
            <a:off x="2555777" y="1374513"/>
            <a:ext cx="594184" cy="11541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3680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87361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1042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74723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184039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620845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057651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494460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ctr" defTabSz="629735" rtl="0" eaLnBrk="1" fontAlgn="base" latinLnBrk="0" hangingPunct="1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00">
                <a:solidFill>
                  <a:srgbClr val="77E2C3">
                    <a:lumMod val="50000"/>
                  </a:srgbClr>
                </a:solidFill>
              </a:rPr>
              <a:t>Убытки, </a:t>
            </a:r>
            <a:r>
              <a:rPr kumimoji="0" lang="ru-RU" sz="700" b="0" i="0" u="none" strike="noStrike" kern="1200" cap="none" spc="0" normalizeH="0" baseline="0" noProof="0">
                <a:ln>
                  <a:noFill/>
                </a:ln>
                <a:solidFill>
                  <a:srgbClr val="77E2C3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руб</a:t>
            </a:r>
          </a:p>
        </p:txBody>
      </p:sp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0A852F3D-3CF6-F62F-9EFB-9B56CA2003CF}"/>
              </a:ext>
            </a:extLst>
          </p:cNvPr>
          <p:cNvCxnSpPr/>
          <p:nvPr/>
        </p:nvCxnSpPr>
        <p:spPr bwMode="auto">
          <a:xfrm>
            <a:off x="395289" y="1702425"/>
            <a:ext cx="1887450" cy="2418"/>
          </a:xfrm>
          <a:prstGeom prst="line">
            <a:avLst/>
          </a:prstGeom>
          <a:solidFill>
            <a:srgbClr val="008C95"/>
          </a:solidFill>
          <a:ln w="19050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00BF2500-6A5E-AAB2-FCA1-4FECF031BDF4}"/>
              </a:ext>
            </a:extLst>
          </p:cNvPr>
          <p:cNvSpPr/>
          <p:nvPr/>
        </p:nvSpPr>
        <p:spPr bwMode="auto">
          <a:xfrm>
            <a:off x="5374183" y="1523381"/>
            <a:ext cx="575598" cy="1169306"/>
          </a:xfrm>
          <a:prstGeom prst="rect">
            <a:avLst/>
          </a:prstGeom>
          <a:solidFill>
            <a:srgbClr val="77E2C3">
              <a:lumMod val="60000"/>
              <a:lumOff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  <p:sp>
        <p:nvSpPr>
          <p:cNvPr id="36" name="TextBox 559">
            <a:extLst>
              <a:ext uri="{FF2B5EF4-FFF2-40B4-BE49-F238E27FC236}">
                <a16:creationId xmlns:a16="http://schemas.microsoft.com/office/drawing/2014/main" id="{430061FA-3592-49C3-A18D-B25317A4B60E}"/>
              </a:ext>
            </a:extLst>
          </p:cNvPr>
          <p:cNvSpPr txBox="1"/>
          <p:nvPr/>
        </p:nvSpPr>
        <p:spPr bwMode="gray">
          <a:xfrm>
            <a:off x="5348118" y="1362886"/>
            <a:ext cx="594184" cy="10701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3680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87361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1042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74723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184039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620845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057651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494460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ctr" defTabSz="629735" rtl="0" eaLnBrk="1" fontAlgn="base" latinLnBrk="0" hangingPunct="1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>
                <a:ln>
                  <a:noFill/>
                </a:ln>
                <a:solidFill>
                  <a:srgbClr val="77E2C3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Убытки,</a:t>
            </a:r>
            <a:r>
              <a:rPr kumimoji="0" lang="ru-RU" sz="700" b="0" i="0" u="none" strike="noStrike" kern="1200" cap="none" spc="0" normalizeH="0" noProof="0">
                <a:ln>
                  <a:noFill/>
                </a:ln>
                <a:solidFill>
                  <a:srgbClr val="77E2C3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ru-RU" sz="700" b="0" i="0" u="none" strike="noStrike" kern="1200" cap="none" spc="0" normalizeH="0" baseline="0" noProof="0">
                <a:ln>
                  <a:noFill/>
                </a:ln>
                <a:solidFill>
                  <a:srgbClr val="77E2C3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руб</a:t>
            </a:r>
          </a:p>
        </p:txBody>
      </p:sp>
      <p:sp>
        <p:nvSpPr>
          <p:cNvPr id="41" name="ee4pFootnotes">
            <a:extLst>
              <a:ext uri="{FF2B5EF4-FFF2-40B4-BE49-F238E27FC236}">
                <a16:creationId xmlns:a16="http://schemas.microsoft.com/office/drawing/2014/main" id="{B860237D-F609-1ECC-2F42-A8F64553DC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4080" y="2637286"/>
            <a:ext cx="575701" cy="1108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algn="ctr" defTabSz="685783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b="1">
                <a:solidFill>
                  <a:srgbClr val="00313C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00BF2500-6A5E-AAB2-FCA1-4FECF031BDF4}"/>
              </a:ext>
            </a:extLst>
          </p:cNvPr>
          <p:cNvSpPr/>
          <p:nvPr/>
        </p:nvSpPr>
        <p:spPr bwMode="auto">
          <a:xfrm>
            <a:off x="8206063" y="1508499"/>
            <a:ext cx="658260" cy="1184187"/>
          </a:xfrm>
          <a:prstGeom prst="rect">
            <a:avLst/>
          </a:prstGeom>
          <a:solidFill>
            <a:srgbClr val="77E2C3">
              <a:lumMod val="60000"/>
              <a:lumOff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1" i="0" u="none" strike="noStrike" kern="0" cap="none" spc="0" normalizeH="0" baseline="0" noProof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  <p:sp>
        <p:nvSpPr>
          <p:cNvPr id="49" name="TextBox 559">
            <a:extLst>
              <a:ext uri="{FF2B5EF4-FFF2-40B4-BE49-F238E27FC236}">
                <a16:creationId xmlns:a16="http://schemas.microsoft.com/office/drawing/2014/main" id="{430061FA-3592-49C3-A18D-B25317A4B60E}"/>
              </a:ext>
            </a:extLst>
          </p:cNvPr>
          <p:cNvSpPr txBox="1"/>
          <p:nvPr/>
        </p:nvSpPr>
        <p:spPr bwMode="gray">
          <a:xfrm>
            <a:off x="8234530" y="1389712"/>
            <a:ext cx="594184" cy="10701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3680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87361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1042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74723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184039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620845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057651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494460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ctr" defTabSz="629735" rtl="0" eaLnBrk="1" fontAlgn="base" latinLnBrk="0" hangingPunct="1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>
                <a:ln>
                  <a:noFill/>
                </a:ln>
                <a:solidFill>
                  <a:srgbClr val="77E2C3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Убытки,</a:t>
            </a:r>
            <a:r>
              <a:rPr kumimoji="0" lang="ru-RU" sz="700" b="0" i="0" u="none" strike="noStrike" kern="1200" cap="none" spc="0" normalizeH="0" noProof="0">
                <a:ln>
                  <a:noFill/>
                </a:ln>
                <a:solidFill>
                  <a:srgbClr val="77E2C3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ru-RU" sz="700" b="0" i="0" u="none" strike="noStrike" kern="1200" cap="none" spc="0" normalizeH="0" baseline="0" noProof="0">
                <a:ln>
                  <a:noFill/>
                </a:ln>
                <a:solidFill>
                  <a:srgbClr val="77E2C3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руб</a:t>
            </a:r>
          </a:p>
        </p:txBody>
      </p:sp>
      <p:pic>
        <p:nvPicPr>
          <p:cNvPr id="50" name="Рисунок 49">
            <a:extLst>
              <a:ext uri="{FF2B5EF4-FFF2-40B4-BE49-F238E27FC236}">
                <a16:creationId xmlns:a16="http://schemas.microsoft.com/office/drawing/2014/main" id="{A58601DB-EF20-1472-B53F-C6F421D7DB7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675" y="744970"/>
            <a:ext cx="270586" cy="196498"/>
          </a:xfrm>
          <a:prstGeom prst="rect">
            <a:avLst/>
          </a:prstGeom>
        </p:spPr>
      </p:pic>
      <p:pic>
        <p:nvPicPr>
          <p:cNvPr id="51" name="Рисунок 50">
            <a:extLst>
              <a:ext uri="{FF2B5EF4-FFF2-40B4-BE49-F238E27FC236}">
                <a16:creationId xmlns:a16="http://schemas.microsoft.com/office/drawing/2014/main" id="{3A00F8E2-6AA1-42A5-0D15-D718496A934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4886" y="747688"/>
            <a:ext cx="202205" cy="193780"/>
          </a:xfrm>
          <a:prstGeom prst="rect">
            <a:avLst/>
          </a:prstGeom>
        </p:spPr>
      </p:pic>
      <p:pic>
        <p:nvPicPr>
          <p:cNvPr id="52" name="Рисунок 51">
            <a:extLst>
              <a:ext uri="{FF2B5EF4-FFF2-40B4-BE49-F238E27FC236}">
                <a16:creationId xmlns:a16="http://schemas.microsoft.com/office/drawing/2014/main" id="{DC45ACB0-8E2F-D331-7EA6-E9E2A557A8E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2537" y="743793"/>
            <a:ext cx="220286" cy="231214"/>
          </a:xfrm>
          <a:prstGeom prst="rect">
            <a:avLst/>
          </a:prstGeom>
        </p:spPr>
      </p:pic>
      <p:cxnSp>
        <p:nvCxnSpPr>
          <p:cNvPr id="53" name="Прямая соединительная линия 52">
            <a:extLst>
              <a:ext uri="{FF2B5EF4-FFF2-40B4-BE49-F238E27FC236}">
                <a16:creationId xmlns:a16="http://schemas.microsoft.com/office/drawing/2014/main" id="{0A852F3D-3CF6-F62F-9EFB-9B56CA2003CF}"/>
              </a:ext>
            </a:extLst>
          </p:cNvPr>
          <p:cNvCxnSpPr/>
          <p:nvPr/>
        </p:nvCxnSpPr>
        <p:spPr bwMode="auto">
          <a:xfrm>
            <a:off x="6053923" y="2692686"/>
            <a:ext cx="1959211" cy="0"/>
          </a:xfrm>
          <a:prstGeom prst="line">
            <a:avLst/>
          </a:prstGeom>
          <a:solidFill>
            <a:srgbClr val="008C95"/>
          </a:solidFill>
          <a:ln w="19050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4" name="Прямая соединительная линия 53">
            <a:extLst>
              <a:ext uri="{FF2B5EF4-FFF2-40B4-BE49-F238E27FC236}">
                <a16:creationId xmlns:a16="http://schemas.microsoft.com/office/drawing/2014/main" id="{0A852F3D-3CF6-F62F-9EFB-9B56CA2003CF}"/>
              </a:ext>
            </a:extLst>
          </p:cNvPr>
          <p:cNvCxnSpPr/>
          <p:nvPr/>
        </p:nvCxnSpPr>
        <p:spPr bwMode="auto">
          <a:xfrm>
            <a:off x="6067611" y="2099444"/>
            <a:ext cx="1959211" cy="0"/>
          </a:xfrm>
          <a:prstGeom prst="line">
            <a:avLst/>
          </a:prstGeom>
          <a:solidFill>
            <a:srgbClr val="008C95"/>
          </a:solidFill>
          <a:ln w="19050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6" name="object 42">
            <a:extLst>
              <a:ext uri="{FF2B5EF4-FFF2-40B4-BE49-F238E27FC236}">
                <a16:creationId xmlns:a16="http://schemas.microsoft.com/office/drawing/2014/main" id="{5AB5F1A4-DF77-BC0F-3741-4B9626252026}"/>
              </a:ext>
            </a:extLst>
          </p:cNvPr>
          <p:cNvSpPr txBox="1"/>
          <p:nvPr/>
        </p:nvSpPr>
        <p:spPr>
          <a:xfrm>
            <a:off x="395289" y="1873113"/>
            <a:ext cx="2120755" cy="1295226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12681" marR="5072" algn="just" defTabSz="685800" eaLnBrk="1" fontAlgn="auto" hangingPunct="1">
              <a:spcBef>
                <a:spcPts val="100"/>
              </a:spcBef>
              <a:spcAft>
                <a:spcPts val="0"/>
              </a:spcAft>
              <a:defRPr/>
            </a:pPr>
            <a:r>
              <a:rPr lang="ru-RU" sz="800" b="1" dirty="0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Отсутствие</a:t>
            </a:r>
            <a:r>
              <a:rPr lang="en-US" sz="800" b="1" dirty="0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 </a:t>
            </a:r>
            <a:r>
              <a:rPr lang="ru-RU" sz="800" b="1" dirty="0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стационарных датчиков контроля за состоянием</a:t>
            </a:r>
            <a:r>
              <a:rPr lang="en-US" sz="800" b="1" dirty="0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 </a:t>
            </a:r>
            <a:r>
              <a:rPr lang="ru-RU" sz="800" b="1" dirty="0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вибрации компрессора и отсутствие в системе ПАЗ</a:t>
            </a:r>
            <a:r>
              <a:rPr lang="en-US" sz="800" b="1" dirty="0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 </a:t>
            </a:r>
            <a:r>
              <a:rPr lang="ru-RU" sz="800" b="1" dirty="0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останова при достижении критичного значения вибрации.</a:t>
            </a:r>
          </a:p>
          <a:p>
            <a:pPr marL="12681" marR="5072" algn="just" defTabSz="685800" eaLnBrk="1" fontAlgn="auto" hangingPunct="1">
              <a:spcBef>
                <a:spcPts val="100"/>
              </a:spcBef>
              <a:spcAft>
                <a:spcPts val="0"/>
              </a:spcAft>
              <a:defRPr/>
            </a:pPr>
            <a:endParaRPr lang="ru-RU" sz="800" b="1" spc="-5" dirty="0">
              <a:solidFill>
                <a:srgbClr val="00313C"/>
              </a:solidFill>
              <a:latin typeface="Arial"/>
              <a:cs typeface="Arial" panose="020B0604020202020204" pitchFamily="34" charset="0"/>
            </a:endParaRPr>
          </a:p>
          <a:p>
            <a:pPr marL="184131" marR="5072" indent="-171450" algn="just" defTabSz="685800" eaLnBrk="1" fontAlgn="auto" hangingPunct="1">
              <a:spcBef>
                <a:spcPts val="1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800" b="1" spc="-5" dirty="0">
              <a:solidFill>
                <a:srgbClr val="00313C"/>
              </a:solidFill>
              <a:latin typeface="Arial"/>
              <a:cs typeface="Arial" panose="020B0604020202020204" pitchFamily="34" charset="0"/>
            </a:endParaRPr>
          </a:p>
          <a:p>
            <a:pPr marL="184131" marR="5072" indent="-171450" algn="just" defTabSz="685800" eaLnBrk="1" fontAlgn="auto" hangingPunct="1">
              <a:spcBef>
                <a:spcPts val="1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800" b="1" spc="-5" dirty="0">
              <a:solidFill>
                <a:srgbClr val="00313C"/>
              </a:solidFill>
              <a:latin typeface="Arial"/>
              <a:cs typeface="Arial" panose="020B0604020202020204" pitchFamily="34" charset="0"/>
            </a:endParaRPr>
          </a:p>
          <a:p>
            <a:pPr marL="184131" marR="5072" indent="-171450" algn="just" defTabSz="685800" eaLnBrk="1" fontAlgn="auto" hangingPunct="1">
              <a:spcBef>
                <a:spcPts val="1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800" b="1" spc="-5" dirty="0">
              <a:solidFill>
                <a:srgbClr val="00313C"/>
              </a:solidFill>
              <a:latin typeface="Arial"/>
              <a:cs typeface="Arial" panose="020B0604020202020204" pitchFamily="34" charset="0"/>
            </a:endParaRPr>
          </a:p>
          <a:p>
            <a:pPr marL="12681" marR="5072" algn="just" defTabSz="685800" eaLnBrk="1" fontAlgn="auto" hangingPunct="1">
              <a:spcBef>
                <a:spcPts val="100"/>
              </a:spcBef>
              <a:spcAft>
                <a:spcPts val="0"/>
              </a:spcAft>
              <a:defRPr/>
            </a:pPr>
            <a:endParaRPr lang="ru-RU" sz="800" b="1" spc="-5" dirty="0">
              <a:solidFill>
                <a:srgbClr val="00313C"/>
              </a:solidFill>
              <a:latin typeface="Arial"/>
              <a:cs typeface="Arial" panose="020B0604020202020204" pitchFamily="34" charset="0"/>
            </a:endParaRPr>
          </a:p>
        </p:txBody>
      </p:sp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id="{0A852F3D-3CF6-F62F-9EFB-9B56CA2003CF}"/>
              </a:ext>
            </a:extLst>
          </p:cNvPr>
          <p:cNvCxnSpPr/>
          <p:nvPr/>
        </p:nvCxnSpPr>
        <p:spPr bwMode="auto">
          <a:xfrm>
            <a:off x="395289" y="2518308"/>
            <a:ext cx="1887450" cy="2418"/>
          </a:xfrm>
          <a:prstGeom prst="line">
            <a:avLst/>
          </a:prstGeom>
          <a:solidFill>
            <a:srgbClr val="008C95"/>
          </a:solidFill>
          <a:ln w="19050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8" name="ee4pFootnotes">
            <a:extLst>
              <a:ext uri="{FF2B5EF4-FFF2-40B4-BE49-F238E27FC236}">
                <a16:creationId xmlns:a16="http://schemas.microsoft.com/office/drawing/2014/main" id="{B860237D-F609-1ECC-2F42-A8F64553DC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0449" y="1955428"/>
            <a:ext cx="575701" cy="1108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algn="ctr" defTabSz="685783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b="1">
                <a:solidFill>
                  <a:srgbClr val="00313C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96</a:t>
            </a:r>
            <a:r>
              <a:rPr lang="ru-RU" sz="800" b="1">
                <a:solidFill>
                  <a:srgbClr val="00313C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 </a:t>
            </a:r>
            <a:r>
              <a:rPr lang="en-US" sz="800" b="1">
                <a:solidFill>
                  <a:srgbClr val="00313C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600</a:t>
            </a:r>
            <a:r>
              <a:rPr lang="ru-RU" sz="800" b="1">
                <a:solidFill>
                  <a:srgbClr val="00313C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 </a:t>
            </a:r>
            <a:r>
              <a:rPr lang="en-US" sz="800" b="1">
                <a:solidFill>
                  <a:srgbClr val="00313C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000 </a:t>
            </a:r>
          </a:p>
        </p:txBody>
      </p:sp>
      <p:sp>
        <p:nvSpPr>
          <p:cNvPr id="30" name="object 42">
            <a:extLst>
              <a:ext uri="{FF2B5EF4-FFF2-40B4-BE49-F238E27FC236}">
                <a16:creationId xmlns:a16="http://schemas.microsoft.com/office/drawing/2014/main" id="{5AB5F1A4-DF77-BC0F-3741-4B9626252026}"/>
              </a:ext>
            </a:extLst>
          </p:cNvPr>
          <p:cNvSpPr txBox="1"/>
          <p:nvPr/>
        </p:nvSpPr>
        <p:spPr>
          <a:xfrm>
            <a:off x="3203848" y="1585444"/>
            <a:ext cx="2120755" cy="913070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12681" marR="5072" algn="just" defTabSz="685800" eaLnBrk="1" fontAlgn="auto" hangingPunct="1">
              <a:spcBef>
                <a:spcPts val="100"/>
              </a:spcBef>
              <a:spcAft>
                <a:spcPts val="0"/>
              </a:spcAft>
              <a:defRPr/>
            </a:pPr>
            <a:r>
              <a:rPr lang="ru-RU" sz="800" b="1" spc="-5" dirty="0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Несовершенство конструкции имеющихся фильтров механической очистки от </a:t>
            </a:r>
            <a:r>
              <a:rPr lang="ru-RU" sz="800" b="1" spc="-5" dirty="0" err="1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катионообменной</a:t>
            </a:r>
            <a:r>
              <a:rPr lang="ru-RU" sz="800" b="1" spc="-5" dirty="0">
                <a:solidFill>
                  <a:srgbClr val="00313C"/>
                </a:solidFill>
                <a:latin typeface="Arial"/>
                <a:cs typeface="Arial" panose="020B0604020202020204" pitchFamily="34" charset="0"/>
              </a:rPr>
              <a:t> смолы.</a:t>
            </a:r>
          </a:p>
          <a:p>
            <a:pPr marL="184131" marR="5072" indent="-171450" algn="just" defTabSz="685800" eaLnBrk="1" fontAlgn="auto" hangingPunct="1">
              <a:spcBef>
                <a:spcPts val="1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800" b="1" spc="-5" dirty="0">
              <a:solidFill>
                <a:srgbClr val="00313C"/>
              </a:solidFill>
              <a:latin typeface="Arial"/>
              <a:cs typeface="Arial" panose="020B0604020202020204" pitchFamily="34" charset="0"/>
            </a:endParaRPr>
          </a:p>
          <a:p>
            <a:pPr marL="184131" marR="5072" indent="-171450" algn="just" defTabSz="685800" eaLnBrk="1" fontAlgn="auto" hangingPunct="1">
              <a:spcBef>
                <a:spcPts val="1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800" b="1" spc="-5" dirty="0">
              <a:solidFill>
                <a:srgbClr val="00313C"/>
              </a:solidFill>
              <a:latin typeface="Arial"/>
              <a:cs typeface="Arial" panose="020B0604020202020204" pitchFamily="34" charset="0"/>
            </a:endParaRPr>
          </a:p>
          <a:p>
            <a:pPr marL="184131" marR="5072" indent="-171450" algn="just" defTabSz="685800" eaLnBrk="1" fontAlgn="auto" hangingPunct="1">
              <a:spcBef>
                <a:spcPts val="1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800" b="1" spc="-5" dirty="0">
              <a:solidFill>
                <a:srgbClr val="00313C"/>
              </a:solidFill>
              <a:latin typeface="Arial"/>
              <a:cs typeface="Arial" panose="020B0604020202020204" pitchFamily="34" charset="0"/>
            </a:endParaRPr>
          </a:p>
          <a:p>
            <a:pPr marL="12681" marR="5072" algn="just" defTabSz="685800" eaLnBrk="1" fontAlgn="auto" hangingPunct="1">
              <a:spcBef>
                <a:spcPts val="100"/>
              </a:spcBef>
              <a:spcAft>
                <a:spcPts val="0"/>
              </a:spcAft>
              <a:defRPr/>
            </a:pPr>
            <a:endParaRPr lang="ru-RU" sz="800" b="1" spc="-5" dirty="0">
              <a:solidFill>
                <a:srgbClr val="00313C"/>
              </a:solidFill>
              <a:latin typeface="Arial"/>
              <a:cs typeface="Arial" panose="020B0604020202020204" pitchFamily="34" charset="0"/>
            </a:endParaRPr>
          </a:p>
        </p:txBody>
      </p:sp>
      <p:cxnSp>
        <p:nvCxnSpPr>
          <p:cNvPr id="32" name="Прямая соединительная линия 31">
            <a:extLst>
              <a:ext uri="{FF2B5EF4-FFF2-40B4-BE49-F238E27FC236}">
                <a16:creationId xmlns:a16="http://schemas.microsoft.com/office/drawing/2014/main" id="{0A852F3D-3CF6-F62F-9EFB-9B56CA2003CF}"/>
              </a:ext>
            </a:extLst>
          </p:cNvPr>
          <p:cNvCxnSpPr/>
          <p:nvPr/>
        </p:nvCxnSpPr>
        <p:spPr bwMode="auto">
          <a:xfrm>
            <a:off x="3272303" y="2008410"/>
            <a:ext cx="1887450" cy="2418"/>
          </a:xfrm>
          <a:prstGeom prst="line">
            <a:avLst/>
          </a:prstGeom>
          <a:solidFill>
            <a:srgbClr val="008C95"/>
          </a:solidFill>
          <a:ln w="19050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4" name="ee4pFootnotes">
            <a:extLst>
              <a:ext uri="{FF2B5EF4-FFF2-40B4-BE49-F238E27FC236}">
                <a16:creationId xmlns:a16="http://schemas.microsoft.com/office/drawing/2014/main" id="{26C912BB-8A94-1E12-F904-98148AC942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80982" y="1692751"/>
            <a:ext cx="568799" cy="1108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algn="ctr" defTabSz="685783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b="1">
                <a:solidFill>
                  <a:srgbClr val="00313C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80</a:t>
            </a:r>
            <a:r>
              <a:rPr lang="ru-RU" sz="800" b="1">
                <a:solidFill>
                  <a:srgbClr val="00313C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 </a:t>
            </a:r>
            <a:r>
              <a:rPr lang="en-US" sz="800" b="1">
                <a:solidFill>
                  <a:srgbClr val="00313C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620</a:t>
            </a:r>
            <a:r>
              <a:rPr lang="ru-RU" sz="800" b="1">
                <a:solidFill>
                  <a:srgbClr val="00313C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 </a:t>
            </a:r>
            <a:r>
              <a:rPr lang="en-US" sz="800" b="1">
                <a:solidFill>
                  <a:srgbClr val="00313C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000</a:t>
            </a:r>
          </a:p>
        </p:txBody>
      </p:sp>
      <p:sp>
        <p:nvSpPr>
          <p:cNvPr id="4" name="Прямоугольник 209">
            <a:extLst>
              <a:ext uri="{FF2B5EF4-FFF2-40B4-BE49-F238E27FC236}">
                <a16:creationId xmlns:a16="http://schemas.microsoft.com/office/drawing/2014/main" id="{74FC79E3-8075-1091-895A-AD724F684620}"/>
              </a:ext>
            </a:extLst>
          </p:cNvPr>
          <p:cNvSpPr/>
          <p:nvPr/>
        </p:nvSpPr>
        <p:spPr bwMode="auto">
          <a:xfrm>
            <a:off x="829318" y="2858914"/>
            <a:ext cx="7489725" cy="2114963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0" rIns="36000" bIns="0" numCol="1" spcCol="0" rtlCol="0" anchor="ctr" anchorCtr="0" compatLnSpc="1">
            <a:prstTxWarp prst="textNoShape">
              <a:avLst/>
            </a:prstTxWarp>
          </a:bodyPr>
          <a:lstStyle/>
          <a:p>
            <a:pPr marL="12681" marR="5072" lvl="0" indent="0" algn="just" defTabSz="6858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Для определения наиболее существенных рисков была проведена оценка негативных эффектов в рублях исходя из времени простоя, маржинального дохода, влияния на производственные мощности взаимосвязанного производства, безопасность рабочих и вовлеченность персонала, снижение </a:t>
            </a:r>
            <a:r>
              <a:rPr kumimoji="0" lang="ru-RU" sz="800" b="1" i="0" u="none" strike="noStrike" kern="1200" cap="none" spc="0" normalizeH="0" baseline="0" noProof="0" dirty="0" err="1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ВПР</a:t>
            </a: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.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12681" marR="5072" lvl="0" indent="0" algn="just" defTabSz="6858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</a:p>
          <a:p>
            <a:pPr marL="12681" marR="5072" lvl="0" indent="0" algn="just" defTabSz="6858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Для определения потенциального негативного эффекта от риска «</a:t>
            </a:r>
            <a:r>
              <a:rPr kumimoji="0" lang="ru-RU" sz="800" b="1" i="0" u="none" strike="noStrike" kern="1200" cap="none" spc="-5" normalizeH="0" baseline="0" noProof="0" dirty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Несовершенство конструкции имеющихся фильтров механической очистки от </a:t>
            </a:r>
            <a:r>
              <a:rPr kumimoji="0" lang="ru-RU" sz="800" b="1" i="0" u="none" strike="noStrike" kern="1200" cap="none" spc="-5" normalizeH="0" baseline="0" noProof="0" dirty="0" err="1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катионообменной</a:t>
            </a:r>
            <a:r>
              <a:rPr kumimoji="0" lang="ru-RU" sz="800" b="1" i="0" u="none" strike="noStrike" kern="1200" cap="none" spc="-5" normalizeH="0" baseline="0" noProof="0" dirty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смолы</a:t>
            </a: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» посчитаны прямые убытки от ухудшения качества бисфенола А, а так же останова производства поликарбонатов.</a:t>
            </a:r>
          </a:p>
          <a:p>
            <a:pPr marL="12681" marR="5072" lvl="0" indent="0" algn="just" defTabSz="6858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12681" marR="5072" lvl="0" indent="0" algn="just" defTabSz="6858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Выявленные наиболее существенные риски были разделены на три группы с учетом их влияния на стратегические приоритеты предприятия.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12681" marR="5072" lvl="0" indent="0" algn="just" defTabSz="6858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12681" marR="5072" lvl="0" indent="0" algn="just" defTabSz="6858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Основными способами решения выявленных рисков можно определить следующие мероприятия: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12681" marR="5072" lvl="0" indent="0" algn="just" defTabSz="6858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- </a:t>
            </a: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Монтаж площадок обслуживания;</a:t>
            </a:r>
          </a:p>
          <a:p>
            <a:pPr marL="12681" marR="5072" lvl="0" indent="0" algn="just" defTabSz="6858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- </a:t>
            </a: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Внедрение системы обучения;</a:t>
            </a:r>
          </a:p>
          <a:p>
            <a:pPr marL="12681" marR="5072" lvl="0" indent="0" algn="just" defTabSz="6858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- </a:t>
            </a: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Покупка оборудования;</a:t>
            </a:r>
          </a:p>
          <a:p>
            <a:pPr marL="12681" marR="5072" lvl="0" indent="0" algn="just" defTabSz="6858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- </a:t>
            </a: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Повышение уровня автоматизации;</a:t>
            </a:r>
          </a:p>
          <a:p>
            <a:pPr marL="12681" marR="5072" lvl="0" indent="0" algn="just" defTabSz="6858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- </a:t>
            </a: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Резервирование оборудования, комплектование оборудование приборами и датчика </a:t>
            </a:r>
            <a:r>
              <a:rPr kumimoji="0" lang="ru-RU" sz="800" b="1" i="0" u="none" strike="noStrike" kern="1200" cap="none" spc="0" normalizeH="0" baseline="0" noProof="0" dirty="0" err="1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КиП</a:t>
            </a: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2" name="ee4pFootnotes">
            <a:extLst>
              <a:ext uri="{FF2B5EF4-FFF2-40B4-BE49-F238E27FC236}">
                <a16:creationId xmlns:a16="http://schemas.microsoft.com/office/drawing/2014/main" id="{9B472441-F7E6-D0C4-A4FF-54DF41EB8E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06063" y="1652406"/>
            <a:ext cx="658260" cy="1108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algn="ctr" defTabSz="685783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800" b="1" dirty="0">
                <a:solidFill>
                  <a:srgbClr val="00313C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84 652 260</a:t>
            </a:r>
            <a:endParaRPr lang="en-US" sz="800" b="1" dirty="0">
              <a:solidFill>
                <a:srgbClr val="00313C"/>
              </a:solidFill>
              <a:latin typeface="Arial" panose="020B0604020202020204" pitchFamily="34" charset="0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14" name="Номер слайда 13">
            <a:extLst>
              <a:ext uri="{FF2B5EF4-FFF2-40B4-BE49-F238E27FC236}">
                <a16:creationId xmlns:a16="http://schemas.microsoft.com/office/drawing/2014/main" id="{4040C782-6393-89F4-D14F-A835282685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0A57E3-EA23-4E01-B1DF-72CA8D4A16E5}" type="slidenum">
              <a:rPr lang="ru-RU" altLang="ru-RU" smtClean="0"/>
              <a:pPr/>
              <a:t>7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8356172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323528" y="280252"/>
            <a:ext cx="8229600" cy="711703"/>
          </a:xfrm>
        </p:spPr>
        <p:txBody>
          <a:bodyPr anchor="t"/>
          <a:lstStyle/>
          <a:p>
            <a:pPr algn="l" eaLnBrk="1" hangingPunct="1"/>
            <a:r>
              <a:rPr lang="ru-RU" altLang="ru-RU" sz="2000" b="1" kern="0">
                <a:solidFill>
                  <a:srgbClr val="008C95"/>
                </a:solidFill>
                <a:latin typeface="Arial"/>
                <a:cs typeface="Arial" panose="020B0604020202020204" pitchFamily="34" charset="0"/>
              </a:rPr>
              <a:t>Финансирование</a:t>
            </a:r>
            <a:endParaRPr lang="ru-RU" altLang="ru-RU" sz="2000" b="1">
              <a:solidFill>
                <a:srgbClr val="0166B3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E799AD58-2F8E-F15C-655B-C78D29D386AB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5189" y="339725"/>
            <a:ext cx="1033507" cy="468210"/>
          </a:xfrm>
          <a:prstGeom prst="rect">
            <a:avLst/>
          </a:prstGeom>
        </p:spPr>
      </p:pic>
      <p:grpSp>
        <p:nvGrpSpPr>
          <p:cNvPr id="25" name="Группа 24">
            <a:extLst>
              <a:ext uri="{FF2B5EF4-FFF2-40B4-BE49-F238E27FC236}">
                <a16:creationId xmlns:a16="http://schemas.microsoft.com/office/drawing/2014/main" id="{EA1DDF90-7FD0-A824-5BCC-911FF16B3A86}"/>
              </a:ext>
            </a:extLst>
          </p:cNvPr>
          <p:cNvGrpSpPr/>
          <p:nvPr/>
        </p:nvGrpSpPr>
        <p:grpSpPr>
          <a:xfrm>
            <a:off x="4680040" y="2496759"/>
            <a:ext cx="3913667" cy="1365951"/>
            <a:chOff x="503576" y="955828"/>
            <a:chExt cx="3913667" cy="1365951"/>
          </a:xfrm>
        </p:grpSpPr>
        <p:pic>
          <p:nvPicPr>
            <p:cNvPr id="5" name="Рисунок 4" descr="Доллар со сплошной заливкой">
              <a:extLst>
                <a:ext uri="{FF2B5EF4-FFF2-40B4-BE49-F238E27FC236}">
                  <a16:creationId xmlns:a16="http://schemas.microsoft.com/office/drawing/2014/main" id="{97046AA1-4886-852A-EA91-8B25F91C46F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03576" y="1155271"/>
              <a:ext cx="504001" cy="504001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005EB535-F248-9FF4-2530-8132F0ED53C2}"/>
                </a:ext>
              </a:extLst>
            </p:cNvPr>
            <p:cNvSpPr txBox="1"/>
            <p:nvPr/>
          </p:nvSpPr>
          <p:spPr>
            <a:xfrm>
              <a:off x="1112567" y="955828"/>
              <a:ext cx="3304676" cy="13659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>
                <a:lnSpc>
                  <a:spcPct val="150000"/>
                </a:lnSpc>
                <a:spcBef>
                  <a:spcPts val="800"/>
                </a:spcBef>
              </a:pPr>
              <a:r>
                <a:rPr lang="ru-RU" sz="800" b="1" dirty="0"/>
                <a:t>Премии</a:t>
              </a:r>
              <a:r>
                <a:rPr lang="ru-RU" sz="800" dirty="0"/>
                <a:t>. Т</a:t>
              </a:r>
              <a:r>
                <a:rPr lang="ru-RU" sz="800" dirty="0">
                  <a:latin typeface="+mn-lt"/>
                </a:rPr>
                <a:t>екучесть персонала.  Пример – возможные увольнения сотрудников с  предприятий </a:t>
              </a:r>
              <a:r>
                <a:rPr lang="ru-RU" sz="800" dirty="0" err="1">
                  <a:latin typeface="+mn-lt"/>
                </a:rPr>
                <a:t>ПЭНП</a:t>
              </a:r>
              <a:r>
                <a:rPr lang="ru-RU" sz="800" dirty="0">
                  <a:latin typeface="+mn-lt"/>
                </a:rPr>
                <a:t> – С и </a:t>
              </a:r>
              <a:r>
                <a:rPr lang="ru-RU" sz="800" dirty="0" err="1">
                  <a:latin typeface="+mn-lt"/>
                </a:rPr>
                <a:t>этаноламинов</a:t>
              </a:r>
              <a:r>
                <a:rPr lang="ru-RU" sz="800" dirty="0">
                  <a:latin typeface="+mn-lt"/>
                </a:rPr>
                <a:t>. Выписывание премий сотрудникам для повышения</a:t>
              </a:r>
              <a:r>
                <a:rPr lang="ru-RU" sz="800" b="0" i="0" dirty="0">
                  <a:effectLst/>
                  <a:latin typeface="+mn-lt"/>
                </a:rPr>
                <a:t> материальной заинтересованности работников в выполнении планов и договорных обязательств. </a:t>
              </a:r>
              <a:r>
                <a:rPr lang="ru-RU" sz="800" dirty="0">
                  <a:latin typeface="+mn-lt"/>
                </a:rPr>
                <a:t>Для этого </a:t>
              </a:r>
              <a:r>
                <a:rPr lang="ru-RU" sz="800" b="0" i="0" dirty="0">
                  <a:effectLst/>
                  <a:latin typeface="+mn-lt"/>
                </a:rPr>
                <a:t>могут вводиться системы премирования; бонусные программы</a:t>
              </a:r>
              <a:r>
                <a:rPr lang="ru-RU" sz="800" dirty="0">
                  <a:solidFill>
                    <a:srgbClr val="000000"/>
                  </a:solidFill>
                  <a:latin typeface="+mn-lt"/>
                </a:rPr>
                <a:t>. </a:t>
              </a:r>
              <a:r>
                <a:rPr lang="ru-RU" sz="800" dirty="0">
                  <a:solidFill>
                    <a:srgbClr val="3E3E3E"/>
                  </a:solidFill>
                  <a:ea typeface="Calibri" panose="020F0502020204030204" pitchFamily="34" charset="0"/>
                  <a:cs typeface="Times New Roman" panose="02020603050405020304" pitchFamily="18" charset="0"/>
                </a:rPr>
                <a:t>(Затраты на снижение риска</a:t>
              </a:r>
              <a:r>
                <a:rPr lang="en-US" sz="800" dirty="0">
                  <a:solidFill>
                    <a:srgbClr val="3E3E3E"/>
                  </a:solidFill>
                  <a:ea typeface="Calibri" panose="020F0502020204030204" pitchFamily="34" charset="0"/>
                  <a:cs typeface="Times New Roman" panose="02020603050405020304" pitchFamily="18" charset="0"/>
                </a:rPr>
                <a:t> 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4D5156"/>
                  </a:solidFill>
                  <a:effectLst/>
                  <a:uLnTx/>
                  <a:uFillTx/>
                  <a:latin typeface="Google Sans"/>
                  <a:ea typeface="Calibri" panose="020F0502020204030204" pitchFamily="34" charset="0"/>
                  <a:cs typeface="Times New Roman" panose="02020603050405020304" pitchFamily="18" charset="0"/>
                </a:rPr>
                <a:t>1 </a:t>
              </a:r>
              <a:r>
                <a:rPr kumimoji="0" lang="ru-RU" sz="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4D5156"/>
                  </a:solidFill>
                  <a:effectLst/>
                  <a:uLnTx/>
                  <a:uFillTx/>
                  <a:latin typeface="Google Sans"/>
                  <a:ea typeface="+mn-ea"/>
                  <a:cs typeface="Arial" charset="0"/>
                </a:rPr>
                <a:t>млн.руб</a:t>
              </a:r>
              <a:r>
                <a:rPr lang="en-US" sz="800" dirty="0">
                  <a:solidFill>
                    <a:srgbClr val="3E3E3E"/>
                  </a:solidFill>
                  <a:ea typeface="Calibri" panose="020F0502020204030204" pitchFamily="34" charset="0"/>
                  <a:cs typeface="Times New Roman" panose="02020603050405020304" pitchFamily="18" charset="0"/>
                </a:rPr>
                <a:t>, </a:t>
              </a:r>
              <a:r>
                <a:rPr lang="ru-RU" sz="800" dirty="0">
                  <a:solidFill>
                    <a:srgbClr val="3E3E3E"/>
                  </a:solidFill>
                  <a:ea typeface="Calibri" panose="020F0502020204030204" pitchFamily="34" charset="0"/>
                  <a:cs typeface="Times New Roman" panose="02020603050405020304" pitchFamily="18" charset="0"/>
                </a:rPr>
                <a:t>снизим на</a:t>
              </a:r>
              <a:r>
                <a:rPr lang="en-US" sz="800" dirty="0">
                  <a:solidFill>
                    <a:srgbClr val="3E3E3E"/>
                  </a:solidFill>
                  <a:ea typeface="Calibri" panose="020F0502020204030204" pitchFamily="34" charset="0"/>
                  <a:cs typeface="Times New Roman" panose="02020603050405020304" pitchFamily="18" charset="0"/>
                </a:rPr>
                <a:t>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4D5156"/>
                  </a:solidFill>
                  <a:effectLst/>
                  <a:uLnTx/>
                  <a:uFillTx/>
                  <a:latin typeface="Google Sans"/>
                  <a:ea typeface="Calibri" panose="020F0502020204030204" pitchFamily="34" charset="0"/>
                  <a:cs typeface="Times New Roman" panose="02020603050405020304" pitchFamily="18" charset="0"/>
                </a:rPr>
                <a:t>8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4D5156"/>
                  </a:solidFill>
                  <a:effectLst/>
                  <a:uLnTx/>
                  <a:uFillTx/>
                  <a:latin typeface="Google Sans"/>
                  <a:ea typeface="Calibri" panose="020F0502020204030204" pitchFamily="34" charset="0"/>
                  <a:cs typeface="Times New Roman" panose="02020603050405020304" pitchFamily="18" charset="0"/>
                </a:rPr>
                <a:t>4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4D5156"/>
                  </a:solidFill>
                  <a:effectLst/>
                  <a:uLnTx/>
                  <a:uFillTx/>
                  <a:latin typeface="Google Sans"/>
                  <a:ea typeface="Calibri" panose="020F0502020204030204" pitchFamily="34" charset="0"/>
                  <a:cs typeface="Times New Roman" panose="02020603050405020304" pitchFamily="18" charset="0"/>
                </a:rPr>
                <a:t>.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4D5156"/>
                  </a:solidFill>
                  <a:effectLst/>
                  <a:uLnTx/>
                  <a:uFillTx/>
                  <a:latin typeface="Google Sans"/>
                  <a:ea typeface="Calibri" panose="020F0502020204030204" pitchFamily="34" charset="0"/>
                  <a:cs typeface="Times New Roman" panose="02020603050405020304" pitchFamily="18" charset="0"/>
                </a:rPr>
                <a:t>7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4D5156"/>
                  </a:solidFill>
                  <a:effectLst/>
                  <a:uLnTx/>
                  <a:uFillTx/>
                  <a:latin typeface="Google Sans"/>
                  <a:ea typeface="+mn-ea"/>
                  <a:cs typeface="Arial" charset="0"/>
                </a:rPr>
                <a:t> </a:t>
              </a:r>
              <a:r>
                <a:rPr kumimoji="0" lang="ru-RU" sz="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4D5156"/>
                  </a:solidFill>
                  <a:effectLst/>
                  <a:uLnTx/>
                  <a:uFillTx/>
                  <a:latin typeface="Google Sans"/>
                  <a:ea typeface="+mn-ea"/>
                  <a:cs typeface="Arial" charset="0"/>
                </a:rPr>
                <a:t>млн.руб</a:t>
              </a:r>
              <a:r>
                <a:rPr lang="ru-RU" sz="800" b="1" dirty="0">
                  <a:solidFill>
                    <a:srgbClr val="4D5156"/>
                  </a:solidFill>
                  <a:latin typeface="Google Sans"/>
                </a:rPr>
                <a:t> </a:t>
              </a:r>
              <a:r>
                <a:rPr kumimoji="0" lang="ru-RU" sz="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4D5156"/>
                  </a:solidFill>
                  <a:effectLst/>
                  <a:uLnTx/>
                  <a:uFillTx/>
                  <a:latin typeface="Google Sans"/>
                  <a:ea typeface="+mn-ea"/>
                  <a:cs typeface="Arial" charset="0"/>
                </a:rPr>
                <a:t>УМД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4D5156"/>
                  </a:solidFill>
                  <a:effectLst/>
                  <a:uLnTx/>
                  <a:uFillTx/>
                  <a:latin typeface="Google Sans"/>
                  <a:ea typeface="+mn-ea"/>
                  <a:cs typeface="Arial" charset="0"/>
                </a:rPr>
                <a:t>.</a:t>
              </a:r>
              <a:r>
                <a:rPr lang="ru-RU" sz="800" b="0" i="0" u="none" strike="noStrike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)</a:t>
              </a:r>
              <a:endParaRPr lang="ru-RU" sz="800" b="1" dirty="0">
                <a:latin typeface="+mn-lt"/>
              </a:endParaRP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C3FF7D11-F284-025F-683B-CEA0D4AE8AC8}"/>
              </a:ext>
            </a:extLst>
          </p:cNvPr>
          <p:cNvSpPr txBox="1"/>
          <p:nvPr/>
        </p:nvSpPr>
        <p:spPr>
          <a:xfrm>
            <a:off x="323528" y="648018"/>
            <a:ext cx="75608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rgbClr val="008C94"/>
                </a:solidFill>
              </a:rPr>
              <a:t>Предприятию удалось грамотно распределить все выделенные 86 </a:t>
            </a:r>
            <a:r>
              <a:rPr lang="ru-RU" sz="1600" b="1" dirty="0" err="1">
                <a:solidFill>
                  <a:srgbClr val="008C94"/>
                </a:solidFill>
              </a:rPr>
              <a:t>млн.руб</a:t>
            </a:r>
            <a:r>
              <a:rPr lang="ru-RU" sz="1600" b="1" dirty="0">
                <a:solidFill>
                  <a:srgbClr val="008C94"/>
                </a:solidFill>
              </a:rPr>
              <a:t> </a:t>
            </a:r>
          </a:p>
        </p:txBody>
      </p: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EB00738E-F753-8600-9675-876DAB1FA4C8}"/>
              </a:ext>
            </a:extLst>
          </p:cNvPr>
          <p:cNvGrpSpPr/>
          <p:nvPr/>
        </p:nvGrpSpPr>
        <p:grpSpPr>
          <a:xfrm>
            <a:off x="433175" y="4025299"/>
            <a:ext cx="3490753" cy="996619"/>
            <a:chOff x="505182" y="1833454"/>
            <a:chExt cx="3490753" cy="996619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431E8B59-E55C-A4E0-8015-52A9519B287B}"/>
                </a:ext>
              </a:extLst>
            </p:cNvPr>
            <p:cNvSpPr txBox="1"/>
            <p:nvPr/>
          </p:nvSpPr>
          <p:spPr>
            <a:xfrm>
              <a:off x="1043607" y="1833454"/>
              <a:ext cx="2952328" cy="9966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>
                <a:lnSpc>
                  <a:spcPct val="150000"/>
                </a:lnSpc>
                <a:spcAft>
                  <a:spcPts val="800"/>
                </a:spcAft>
              </a:pPr>
              <a:r>
                <a:rPr lang="ru-RU" sz="800" b="1" dirty="0">
                  <a:solidFill>
                    <a:srgbClr val="3E3E3E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Покупка оборудования</a:t>
              </a:r>
              <a:r>
                <a:rPr lang="ru-RU" sz="800" dirty="0">
                  <a:solidFill>
                    <a:srgbClr val="3E3E3E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. Отсутствие необходимого оборудования и вытекающие из этого последствия: простой производства, увеличивается % брака, незапланированные</a:t>
              </a:r>
              <a:r>
                <a:rPr lang="ru-RU" sz="800" dirty="0">
                  <a:solidFill>
                    <a:srgbClr val="3E3E3E"/>
                  </a:solidFill>
                  <a:ea typeface="Calibri" panose="020F0502020204030204" pitchFamily="34" charset="0"/>
                  <a:cs typeface="Times New Roman" panose="02020603050405020304" pitchFamily="18" charset="0"/>
                </a:rPr>
                <a:t> издержки. (Затраты на снижение риска</a:t>
              </a:r>
              <a:r>
                <a:rPr lang="en-US" sz="800" dirty="0">
                  <a:solidFill>
                    <a:srgbClr val="3E3E3E"/>
                  </a:solidFill>
                  <a:ea typeface="Calibri" panose="020F0502020204030204" pitchFamily="34" charset="0"/>
                  <a:cs typeface="Times New Roman" panose="02020603050405020304" pitchFamily="18" charset="0"/>
                </a:rPr>
                <a:t>: 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4D5156"/>
                  </a:solidFill>
                  <a:effectLst/>
                  <a:uLnTx/>
                  <a:uFillTx/>
                  <a:latin typeface="Google Sans"/>
                  <a:ea typeface="Calibri" panose="020F0502020204030204" pitchFamily="34" charset="0"/>
                  <a:cs typeface="Times New Roman" panose="02020603050405020304" pitchFamily="18" charset="0"/>
                </a:rPr>
                <a:t>30 </a:t>
              </a:r>
              <a:r>
                <a:rPr kumimoji="0" lang="ru-RU" sz="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4D5156"/>
                  </a:solidFill>
                  <a:effectLst/>
                  <a:uLnTx/>
                  <a:uFillTx/>
                  <a:latin typeface="Google Sans"/>
                  <a:ea typeface="+mn-ea"/>
                  <a:cs typeface="Arial" charset="0"/>
                </a:rPr>
                <a:t>млн.руб</a:t>
              </a:r>
              <a:r>
                <a:rPr lang="en-US" sz="800" dirty="0">
                  <a:solidFill>
                    <a:srgbClr val="3E3E3E"/>
                  </a:solidFill>
                  <a:ea typeface="Calibri" panose="020F0502020204030204" pitchFamily="34" charset="0"/>
                  <a:cs typeface="Times New Roman" panose="02020603050405020304" pitchFamily="18" charset="0"/>
                </a:rPr>
                <a:t>, </a:t>
              </a:r>
              <a:r>
                <a:rPr lang="ru-RU" sz="800" dirty="0">
                  <a:solidFill>
                    <a:srgbClr val="3E3E3E"/>
                  </a:solidFill>
                  <a:ea typeface="Calibri" panose="020F0502020204030204" pitchFamily="34" charset="0"/>
                  <a:cs typeface="Times New Roman" panose="02020603050405020304" pitchFamily="18" charset="0"/>
                </a:rPr>
                <a:t>снизим на</a:t>
              </a:r>
              <a:r>
                <a:rPr lang="en-US" sz="800" dirty="0">
                  <a:solidFill>
                    <a:srgbClr val="3E3E3E"/>
                  </a:solidFill>
                  <a:ea typeface="Calibri" panose="020F0502020204030204" pitchFamily="34" charset="0"/>
                  <a:cs typeface="Times New Roman" panose="02020603050405020304" pitchFamily="18" charset="0"/>
                </a:rPr>
                <a:t>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4D5156"/>
                  </a:solidFill>
                  <a:effectLst/>
                  <a:uLnTx/>
                  <a:uFillTx/>
                  <a:latin typeface="Google Sans"/>
                  <a:ea typeface="Calibri" panose="020F0502020204030204" pitchFamily="34" charset="0"/>
                  <a:cs typeface="Times New Roman" panose="02020603050405020304" pitchFamily="18" charset="0"/>
                </a:rPr>
                <a:t>80.6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4D5156"/>
                  </a:solidFill>
                  <a:effectLst/>
                  <a:uLnTx/>
                  <a:uFillTx/>
                  <a:latin typeface="Google Sans"/>
                  <a:ea typeface="+mn-ea"/>
                  <a:cs typeface="Arial" charset="0"/>
                </a:rPr>
                <a:t> </a:t>
              </a:r>
              <a:r>
                <a:rPr kumimoji="0" lang="ru-RU" sz="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4D5156"/>
                  </a:solidFill>
                  <a:effectLst/>
                  <a:uLnTx/>
                  <a:uFillTx/>
                  <a:latin typeface="Google Sans"/>
                  <a:ea typeface="+mn-ea"/>
                  <a:cs typeface="Arial" charset="0"/>
                </a:rPr>
                <a:t>млн.руб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4D5156"/>
                  </a:solidFill>
                  <a:effectLst/>
                  <a:uLnTx/>
                  <a:uFillTx/>
                  <a:latin typeface="Google Sans"/>
                  <a:ea typeface="+mn-ea"/>
                  <a:cs typeface="Arial" charset="0"/>
                </a:rPr>
                <a:t> </a:t>
              </a:r>
              <a:r>
                <a:rPr kumimoji="0" lang="ru-RU" sz="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4D5156"/>
                  </a:solidFill>
                  <a:effectLst/>
                  <a:uLnTx/>
                  <a:uFillTx/>
                  <a:latin typeface="Google Sans"/>
                  <a:ea typeface="+mn-ea"/>
                  <a:cs typeface="Arial" charset="0"/>
                </a:rPr>
                <a:t>УМД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4D5156"/>
                  </a:solidFill>
                  <a:effectLst/>
                  <a:uLnTx/>
                  <a:uFillTx/>
                  <a:latin typeface="Google Sans"/>
                  <a:ea typeface="+mn-ea"/>
                  <a:cs typeface="Arial" charset="0"/>
                </a:rPr>
                <a:t>.</a:t>
              </a:r>
              <a:r>
                <a:rPr lang="ru-RU" sz="800" b="0" i="0" u="none" strike="noStrike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)</a:t>
              </a:r>
              <a:endParaRPr lang="ru-RU" sz="800" b="1" dirty="0"/>
            </a:p>
          </p:txBody>
        </p:sp>
        <p:pic>
          <p:nvPicPr>
            <p:cNvPr id="13" name="Рисунок 12" descr="Процессор контур">
              <a:extLst>
                <a:ext uri="{FF2B5EF4-FFF2-40B4-BE49-F238E27FC236}">
                  <a16:creationId xmlns:a16="http://schemas.microsoft.com/office/drawing/2014/main" id="{945F915F-01A9-1A30-CD4C-72985A605CD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05182" y="1845276"/>
              <a:ext cx="504001" cy="504001"/>
            </a:xfrm>
            <a:prstGeom prst="rect">
              <a:avLst/>
            </a:prstGeom>
          </p:spPr>
        </p:pic>
      </p:grpSp>
      <p:grpSp>
        <p:nvGrpSpPr>
          <p:cNvPr id="27" name="Группа 26">
            <a:extLst>
              <a:ext uri="{FF2B5EF4-FFF2-40B4-BE49-F238E27FC236}">
                <a16:creationId xmlns:a16="http://schemas.microsoft.com/office/drawing/2014/main" id="{87A9A78E-EB8B-5BD3-7A64-3C29AB2D9B52}"/>
              </a:ext>
            </a:extLst>
          </p:cNvPr>
          <p:cNvGrpSpPr/>
          <p:nvPr/>
        </p:nvGrpSpPr>
        <p:grpSpPr>
          <a:xfrm>
            <a:off x="427544" y="2536958"/>
            <a:ext cx="3496384" cy="1579920"/>
            <a:chOff x="467543" y="2626125"/>
            <a:chExt cx="3496384" cy="1579920"/>
          </a:xfrm>
        </p:grpSpPr>
        <p:pic>
          <p:nvPicPr>
            <p:cNvPr id="16" name="Рисунок 15" descr="Механическая рука со сплошной заливкой">
              <a:extLst>
                <a:ext uri="{FF2B5EF4-FFF2-40B4-BE49-F238E27FC236}">
                  <a16:creationId xmlns:a16="http://schemas.microsoft.com/office/drawing/2014/main" id="{5DC73873-98DD-A594-974B-4603E11B888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67543" y="2732046"/>
              <a:ext cx="509632" cy="509632"/>
            </a:xfrm>
            <a:prstGeom prst="rect">
              <a:avLst/>
            </a:prstGeom>
          </p:spPr>
        </p:pic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5304261-5D23-7AE2-7426-616FAE630D69}"/>
                </a:ext>
              </a:extLst>
            </p:cNvPr>
            <p:cNvSpPr txBox="1"/>
            <p:nvPr/>
          </p:nvSpPr>
          <p:spPr>
            <a:xfrm>
              <a:off x="1011599" y="2626125"/>
              <a:ext cx="2952328" cy="15799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>
                <a:lnSpc>
                  <a:spcPct val="150000"/>
                </a:lnSpc>
                <a:spcAft>
                  <a:spcPts val="800"/>
                </a:spcAft>
              </a:pPr>
              <a:r>
                <a:rPr lang="ru-RU" sz="800" b="1" kern="100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Новое оборудование</a:t>
              </a:r>
              <a:r>
                <a:rPr lang="ru-RU" sz="800" kern="100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. Покупка машины, которая измельчает отходы, брикетирует и реализовывает их на рынке вторичных полимеров, может принести финансовую помощь предприятию. Она поспособствует </a:t>
              </a:r>
              <a:r>
                <a:rPr lang="ru-RU" sz="800" kern="100" dirty="0">
                  <a:ea typeface="Calibri" panose="020F0502020204030204" pitchFamily="34" charset="0"/>
                  <a:cs typeface="Times New Roman" panose="02020603050405020304" pitchFamily="18" charset="0"/>
                </a:rPr>
                <a:t>уменьшению мусора на свалках, тем самым снижается загрязнение окружающего мира. </a:t>
              </a:r>
              <a:r>
                <a:rPr lang="ru-RU" sz="800" b="1" i="0" dirty="0">
                  <a:solidFill>
                    <a:srgbClr val="4D5156"/>
                  </a:solidFill>
                  <a:effectLst/>
                  <a:latin typeface="Google Sans"/>
                </a:rPr>
                <a:t>18 </a:t>
              </a:r>
              <a:r>
                <a:rPr lang="ru-RU" sz="800" b="1" i="0" dirty="0" err="1">
                  <a:solidFill>
                    <a:srgbClr val="4D5156"/>
                  </a:solidFill>
                  <a:effectLst/>
                  <a:latin typeface="Google Sans"/>
                </a:rPr>
                <a:t>млн.руб</a:t>
              </a:r>
              <a:endParaRPr lang="ru-RU" sz="8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endParaRPr lang="ru-RU" dirty="0"/>
            </a:p>
          </p:txBody>
        </p:sp>
      </p:grpSp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7CBCDA8C-17FA-8DB6-0B53-22D56E9EC19E}"/>
              </a:ext>
            </a:extLst>
          </p:cNvPr>
          <p:cNvGrpSpPr/>
          <p:nvPr/>
        </p:nvGrpSpPr>
        <p:grpSpPr>
          <a:xfrm>
            <a:off x="374583" y="1091216"/>
            <a:ext cx="3549345" cy="1181285"/>
            <a:chOff x="380157" y="3286543"/>
            <a:chExt cx="3549345" cy="1181285"/>
          </a:xfrm>
        </p:grpSpPr>
        <p:pic>
          <p:nvPicPr>
            <p:cNvPr id="19" name="Рисунок 18" descr="Предложение и спрос контур">
              <a:extLst>
                <a:ext uri="{FF2B5EF4-FFF2-40B4-BE49-F238E27FC236}">
                  <a16:creationId xmlns:a16="http://schemas.microsoft.com/office/drawing/2014/main" id="{70FA4A11-F274-B8EA-8B68-2ED680C2AD7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80157" y="3343622"/>
              <a:ext cx="615554" cy="615554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36E3FC22-C9D7-9F10-F2D4-A3805BE444CC}"/>
                </a:ext>
              </a:extLst>
            </p:cNvPr>
            <p:cNvSpPr txBox="1"/>
            <p:nvPr/>
          </p:nvSpPr>
          <p:spPr>
            <a:xfrm>
              <a:off x="977174" y="3286543"/>
              <a:ext cx="2952328" cy="11812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>
                <a:lnSpc>
                  <a:spcPct val="150000"/>
                </a:lnSpc>
                <a:spcAft>
                  <a:spcPts val="800"/>
                </a:spcAft>
              </a:pPr>
              <a:r>
                <a:rPr lang="ru-RU" sz="800" b="1" kern="100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Реорганизация финансовой системы предприятия</a:t>
              </a:r>
              <a:r>
                <a:rPr lang="ru-RU" sz="800" kern="100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. Задержки ЗП, переводов налогов, платежей; не налаженное взаимодействие с банком, налоговой; некачественный учет материальных ценностей и затрат на производство. Все это может привести к убыткам, ухудшени</a:t>
              </a:r>
              <a:r>
                <a:rPr lang="ru-RU" sz="800" kern="100" dirty="0">
                  <a:ea typeface="Calibri" panose="020F0502020204030204" pitchFamily="34" charset="0"/>
                  <a:cs typeface="Times New Roman" panose="02020603050405020304" pitchFamily="18" charset="0"/>
                </a:rPr>
                <a:t>ю репутации, утечки кадров, банкротству. </a:t>
              </a:r>
              <a:r>
                <a:rPr lang="ru-RU" sz="800" b="1" i="0" dirty="0">
                  <a:solidFill>
                    <a:srgbClr val="4D5156"/>
                  </a:solidFill>
                  <a:effectLst/>
                  <a:latin typeface="Google Sans"/>
                </a:rPr>
                <a:t>14 </a:t>
              </a:r>
              <a:r>
                <a:rPr lang="ru-RU" sz="800" b="1" i="0" dirty="0" err="1">
                  <a:solidFill>
                    <a:srgbClr val="4D5156"/>
                  </a:solidFill>
                  <a:effectLst/>
                  <a:latin typeface="Google Sans"/>
                </a:rPr>
                <a:t>млн.руб</a:t>
              </a:r>
              <a:endParaRPr lang="ru-RU" sz="8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BA0630DF-3BF3-8076-6E4B-51EE0F0DDF1E}"/>
              </a:ext>
            </a:extLst>
          </p:cNvPr>
          <p:cNvGrpSpPr/>
          <p:nvPr/>
        </p:nvGrpSpPr>
        <p:grpSpPr>
          <a:xfrm>
            <a:off x="4639407" y="1093365"/>
            <a:ext cx="3954300" cy="1181285"/>
            <a:chOff x="3415271" y="1065730"/>
            <a:chExt cx="3954300" cy="1181285"/>
          </a:xfrm>
        </p:grpSpPr>
        <p:pic>
          <p:nvPicPr>
            <p:cNvPr id="22" name="Рисунок 21" descr="Иерархия контур">
              <a:extLst>
                <a:ext uri="{FF2B5EF4-FFF2-40B4-BE49-F238E27FC236}">
                  <a16:creationId xmlns:a16="http://schemas.microsoft.com/office/drawing/2014/main" id="{9342CFAE-B50B-241C-1337-D539054889A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3415271" y="1103625"/>
              <a:ext cx="649624" cy="649624"/>
            </a:xfrm>
            <a:prstGeom prst="rect">
              <a:avLst/>
            </a:prstGeom>
          </p:spPr>
        </p:pic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047AC9D9-BB11-39E0-2BCA-60F8450F38B7}"/>
                </a:ext>
              </a:extLst>
            </p:cNvPr>
            <p:cNvSpPr txBox="1"/>
            <p:nvPr/>
          </p:nvSpPr>
          <p:spPr>
            <a:xfrm>
              <a:off x="4064895" y="1065730"/>
              <a:ext cx="3304676" cy="11812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>
                <a:lnSpc>
                  <a:spcPct val="150000"/>
                </a:lnSpc>
                <a:spcAft>
                  <a:spcPts val="800"/>
                </a:spcAft>
              </a:pPr>
              <a:r>
                <a:rPr lang="ru-RU" sz="800" b="1" i="0" u="none" strike="noStrike" baseline="0" dirty="0" err="1">
                  <a:solidFill>
                    <a:srgbClr val="3E3E3E"/>
                  </a:solidFill>
                  <a:latin typeface="Arial" panose="020B0604020202020204" pitchFamily="34" charset="0"/>
                </a:rPr>
                <a:t>АСУ«КЕМОФФИС</a:t>
              </a:r>
              <a:r>
                <a:rPr lang="ru-RU" sz="800" b="1" i="0" u="none" strike="noStrike" baseline="0" dirty="0">
                  <a:solidFill>
                    <a:srgbClr val="3E3E3E"/>
                  </a:solidFill>
                  <a:latin typeface="Arial" panose="020B0604020202020204" pitchFamily="34" charset="0"/>
                </a:rPr>
                <a:t>». </a:t>
              </a:r>
              <a:r>
                <a:rPr lang="ru-RU" sz="800" i="0" u="none" strike="noStrike" baseline="0" dirty="0">
                  <a:solidFill>
                    <a:srgbClr val="3E3E3E"/>
                  </a:solidFill>
                  <a:latin typeface="Arial" panose="020B0604020202020204" pitchFamily="34" charset="0"/>
                </a:rPr>
                <a:t>Задача АСУ – повышение эффективности управления объектом на основе роста производительности труда и улучшении планирования процесса управления. </a:t>
              </a:r>
              <a:r>
                <a:rPr lang="ru-RU" sz="800" dirty="0">
                  <a:solidFill>
                    <a:srgbClr val="3E3E3E"/>
                  </a:solidFill>
                  <a:latin typeface="Arial" panose="020B0604020202020204" pitchFamily="34" charset="0"/>
                </a:rPr>
                <a:t>Т</a:t>
              </a:r>
              <a:r>
                <a:rPr lang="ru-RU" sz="800" i="0" u="none" strike="noStrike" baseline="0" dirty="0">
                  <a:solidFill>
                    <a:srgbClr val="3E3E3E"/>
                  </a:solidFill>
                  <a:latin typeface="Arial" panose="020B0604020202020204" pitchFamily="34" charset="0"/>
                </a:rPr>
                <a:t>акже новая АСУ уменьшает возможность рисков, которые вызывают убытки, простой производства и побочную продукцию. </a:t>
              </a:r>
              <a:r>
                <a:rPr lang="ru-RU" sz="800" dirty="0">
                  <a:solidFill>
                    <a:srgbClr val="3E3E3E"/>
                  </a:solidFill>
                  <a:ea typeface="Calibri" panose="020F0502020204030204" pitchFamily="34" charset="0"/>
                  <a:cs typeface="Times New Roman" panose="02020603050405020304" pitchFamily="18" charset="0"/>
                </a:rPr>
                <a:t>(Затраты на снижение риска</a:t>
              </a:r>
              <a:r>
                <a:rPr lang="en-US" sz="800" dirty="0">
                  <a:solidFill>
                    <a:srgbClr val="3E3E3E"/>
                  </a:solidFill>
                  <a:ea typeface="Calibri" panose="020F0502020204030204" pitchFamily="34" charset="0"/>
                  <a:cs typeface="Times New Roman" panose="02020603050405020304" pitchFamily="18" charset="0"/>
                </a:rPr>
                <a:t>: 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4D5156"/>
                  </a:solidFill>
                  <a:effectLst/>
                  <a:uLnTx/>
                  <a:uFillTx/>
                  <a:latin typeface="Google Sans"/>
                  <a:ea typeface="Calibri" panose="020F0502020204030204" pitchFamily="34" charset="0"/>
                  <a:cs typeface="Times New Roman" panose="02020603050405020304" pitchFamily="18" charset="0"/>
                </a:rPr>
                <a:t>16 </a:t>
              </a:r>
              <a:r>
                <a:rPr kumimoji="0" lang="ru-RU" sz="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4D5156"/>
                  </a:solidFill>
                  <a:effectLst/>
                  <a:uLnTx/>
                  <a:uFillTx/>
                  <a:latin typeface="Google Sans"/>
                  <a:ea typeface="+mn-ea"/>
                  <a:cs typeface="Arial" charset="0"/>
                </a:rPr>
                <a:t>млн.руб</a:t>
              </a:r>
              <a:r>
                <a:rPr lang="en-US" sz="800" dirty="0">
                  <a:solidFill>
                    <a:srgbClr val="3E3E3E"/>
                  </a:solidFill>
                  <a:ea typeface="Calibri" panose="020F0502020204030204" pitchFamily="34" charset="0"/>
                  <a:cs typeface="Times New Roman" panose="02020603050405020304" pitchFamily="18" charset="0"/>
                </a:rPr>
                <a:t>, </a:t>
              </a:r>
              <a:r>
                <a:rPr lang="ru-RU" sz="800" dirty="0">
                  <a:solidFill>
                    <a:srgbClr val="3E3E3E"/>
                  </a:solidFill>
                  <a:ea typeface="Calibri" panose="020F0502020204030204" pitchFamily="34" charset="0"/>
                  <a:cs typeface="Times New Roman" panose="02020603050405020304" pitchFamily="18" charset="0"/>
                </a:rPr>
                <a:t>снизим на</a:t>
              </a:r>
              <a:r>
                <a:rPr lang="en-US" sz="800" dirty="0">
                  <a:solidFill>
                    <a:srgbClr val="3E3E3E"/>
                  </a:solidFill>
                  <a:ea typeface="Calibri" panose="020F0502020204030204" pitchFamily="34" charset="0"/>
                  <a:cs typeface="Times New Roman" panose="02020603050405020304" pitchFamily="18" charset="0"/>
                </a:rPr>
                <a:t> 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4D5156"/>
                  </a:solidFill>
                  <a:effectLst/>
                  <a:uLnTx/>
                  <a:uFillTx/>
                  <a:latin typeface="Google Sans"/>
                  <a:ea typeface="Calibri" panose="020F0502020204030204" pitchFamily="34" charset="0"/>
                  <a:cs typeface="Times New Roman" panose="02020603050405020304" pitchFamily="18" charset="0"/>
                </a:rPr>
                <a:t>72.8 </a:t>
              </a:r>
              <a:r>
                <a:rPr kumimoji="0" lang="ru-RU" sz="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4D5156"/>
                  </a:solidFill>
                  <a:effectLst/>
                  <a:uLnTx/>
                  <a:uFillTx/>
                  <a:latin typeface="Google Sans"/>
                  <a:ea typeface="+mn-ea"/>
                  <a:cs typeface="Arial" charset="0"/>
                </a:rPr>
                <a:t>млн.руб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4D5156"/>
                  </a:solidFill>
                  <a:effectLst/>
                  <a:uLnTx/>
                  <a:uFillTx/>
                  <a:latin typeface="Google Sans"/>
                  <a:ea typeface="+mn-ea"/>
                  <a:cs typeface="Arial" charset="0"/>
                </a:rPr>
                <a:t> </a:t>
              </a:r>
              <a:r>
                <a:rPr kumimoji="0" lang="ru-RU" sz="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4D5156"/>
                  </a:solidFill>
                  <a:effectLst/>
                  <a:uLnTx/>
                  <a:uFillTx/>
                  <a:latin typeface="Google Sans"/>
                  <a:ea typeface="+mn-ea"/>
                  <a:cs typeface="Arial" charset="0"/>
                </a:rPr>
                <a:t>УМД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4D5156"/>
                  </a:solidFill>
                  <a:effectLst/>
                  <a:uLnTx/>
                  <a:uFillTx/>
                  <a:latin typeface="Google Sans"/>
                  <a:ea typeface="+mn-ea"/>
                  <a:cs typeface="Arial" charset="0"/>
                </a:rPr>
                <a:t>.</a:t>
              </a:r>
              <a:r>
                <a:rPr lang="ru-RU" sz="800" b="0" i="0" u="none" strike="noStrike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)</a:t>
              </a:r>
              <a:endParaRPr lang="ru-RU" sz="800" b="1" dirty="0"/>
            </a:p>
          </p:txBody>
        </p:sp>
      </p:grp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C928BDC0-EBCD-080C-0E25-44B430E0ACC0}"/>
              </a:ext>
            </a:extLst>
          </p:cNvPr>
          <p:cNvGrpSpPr/>
          <p:nvPr/>
        </p:nvGrpSpPr>
        <p:grpSpPr>
          <a:xfrm>
            <a:off x="4680039" y="4023201"/>
            <a:ext cx="3873089" cy="626454"/>
            <a:chOff x="4674451" y="3968844"/>
            <a:chExt cx="3873089" cy="626454"/>
          </a:xfrm>
        </p:grpSpPr>
        <p:pic>
          <p:nvPicPr>
            <p:cNvPr id="30" name="Рисунок 29" descr="Бенгальский огонь со сплошной заливкой">
              <a:extLst>
                <a:ext uri="{FF2B5EF4-FFF2-40B4-BE49-F238E27FC236}">
                  <a16:creationId xmlns:a16="http://schemas.microsoft.com/office/drawing/2014/main" id="{C63CDE14-2F18-6000-719A-A5B7D806BAE5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4674451" y="4061165"/>
              <a:ext cx="504002" cy="504002"/>
            </a:xfrm>
            <a:prstGeom prst="rect">
              <a:avLst/>
            </a:prstGeom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F071820B-E1EC-670B-F7A8-98FBF1522949}"/>
                </a:ext>
              </a:extLst>
            </p:cNvPr>
            <p:cNvSpPr txBox="1"/>
            <p:nvPr/>
          </p:nvSpPr>
          <p:spPr>
            <a:xfrm>
              <a:off x="5283443" y="3968844"/>
              <a:ext cx="3264097" cy="6264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>
                <a:lnSpc>
                  <a:spcPct val="150000"/>
                </a:lnSpc>
                <a:spcBef>
                  <a:spcPts val="800"/>
                </a:spcBef>
              </a:pPr>
              <a:r>
                <a:rPr lang="ru-RU" sz="800" b="1" i="0" u="none" strike="noStrike" baseline="0" dirty="0">
                  <a:solidFill>
                    <a:srgbClr val="3E3E3E"/>
                  </a:solidFill>
                  <a:latin typeface="Arial" panose="020B0604020202020204" pitchFamily="34" charset="0"/>
                </a:rPr>
                <a:t>Корпоративный праздник. </a:t>
              </a:r>
              <a:r>
                <a:rPr lang="ru-RU" sz="800" i="0" u="none" strike="noStrike" baseline="0" dirty="0">
                  <a:solidFill>
                    <a:srgbClr val="3E3E3E"/>
                  </a:solidFill>
                  <a:latin typeface="Arial" panose="020B0604020202020204" pitchFamily="34" charset="0"/>
                </a:rPr>
                <a:t>Улучшение атмосферы внутри коллектива, повышение мотивации к работе за счет крупномасштабного праздника. </a:t>
              </a:r>
              <a:r>
                <a:rPr lang="ru-RU" sz="800" b="1" i="0" u="none" strike="noStrike" baseline="0" dirty="0">
                  <a:solidFill>
                    <a:srgbClr val="3E3E3E"/>
                  </a:solidFill>
                  <a:latin typeface="Arial" panose="020B0604020202020204" pitchFamily="34" charset="0"/>
                </a:rPr>
                <a:t>2.4 </a:t>
              </a:r>
              <a:r>
                <a:rPr lang="ru-RU" sz="800" b="1" i="0" u="none" strike="noStrike" baseline="0" dirty="0" err="1">
                  <a:solidFill>
                    <a:srgbClr val="3E3E3E"/>
                  </a:solidFill>
                  <a:latin typeface="Arial" panose="020B0604020202020204" pitchFamily="34" charset="0"/>
                </a:rPr>
                <a:t>млн.руб</a:t>
              </a:r>
              <a:endParaRPr lang="ru-RU" sz="800" b="1" dirty="0"/>
            </a:p>
          </p:txBody>
        </p:sp>
      </p:grp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08AC846-2B43-27E8-F51C-8DBF225F40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0A57E3-EA23-4E01-B1DF-72CA8D4A16E5}" type="slidenum">
              <a:rPr lang="ru-RU" altLang="ru-RU" smtClean="0"/>
              <a:pPr/>
              <a:t>8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336159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319496" y="295757"/>
            <a:ext cx="8229600" cy="711703"/>
          </a:xfrm>
        </p:spPr>
        <p:txBody>
          <a:bodyPr anchor="t"/>
          <a:lstStyle/>
          <a:p>
            <a:pPr algn="l" eaLnBrk="1" hangingPunct="1"/>
            <a:r>
              <a:rPr lang="ru-RU" altLang="ru-RU" sz="2000" b="1" kern="0">
                <a:solidFill>
                  <a:srgbClr val="008C95"/>
                </a:solidFill>
                <a:latin typeface="Arial"/>
                <a:cs typeface="Arial" panose="020B0604020202020204" pitchFamily="34" charset="0"/>
              </a:rPr>
              <a:t>Финансирование</a:t>
            </a:r>
            <a:endParaRPr lang="ru-RU" altLang="ru-RU" sz="2000" b="1">
              <a:solidFill>
                <a:srgbClr val="0166B3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1D3378B5-01B6-1E63-97D0-3209CFC87A85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5189" y="339725"/>
            <a:ext cx="1033507" cy="468210"/>
          </a:xfrm>
          <a:prstGeom prst="rect">
            <a:avLst/>
          </a:prstGeom>
        </p:spPr>
      </p:pic>
      <p:pic>
        <p:nvPicPr>
          <p:cNvPr id="13" name="Рисунок 12" descr="Квадратная академическая шапочка со сплошной заливкой">
            <a:extLst>
              <a:ext uri="{FF2B5EF4-FFF2-40B4-BE49-F238E27FC236}">
                <a16:creationId xmlns:a16="http://schemas.microsoft.com/office/drawing/2014/main" id="{F725C7C2-D5DC-CF11-554D-4D51D115FE5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19496" y="4023211"/>
            <a:ext cx="615556" cy="615556"/>
          </a:xfrm>
          <a:prstGeom prst="rect">
            <a:avLst/>
          </a:prstGeom>
        </p:spPr>
      </p:pic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926890E6-BB50-8789-8C63-5A07D372E10B}"/>
              </a:ext>
            </a:extLst>
          </p:cNvPr>
          <p:cNvGrpSpPr/>
          <p:nvPr/>
        </p:nvGrpSpPr>
        <p:grpSpPr>
          <a:xfrm>
            <a:off x="4638419" y="1051428"/>
            <a:ext cx="3504493" cy="729655"/>
            <a:chOff x="319495" y="1084316"/>
            <a:chExt cx="3504493" cy="729655"/>
          </a:xfrm>
        </p:grpSpPr>
        <p:pic>
          <p:nvPicPr>
            <p:cNvPr id="5" name="Рисунок 4" descr="Гаечный ключ со сплошной заливкой">
              <a:extLst>
                <a:ext uri="{FF2B5EF4-FFF2-40B4-BE49-F238E27FC236}">
                  <a16:creationId xmlns:a16="http://schemas.microsoft.com/office/drawing/2014/main" id="{C8BCFDDA-ADA9-2371-DB16-FBC3CC6C2BC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19495" y="1198417"/>
              <a:ext cx="615554" cy="615554"/>
            </a:xfrm>
            <a:prstGeom prst="rect">
              <a:avLst/>
            </a:prstGeom>
          </p:spPr>
        </p:pic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25FB47FF-38A1-FDB6-E324-3D04A3AA90EC}"/>
                </a:ext>
              </a:extLst>
            </p:cNvPr>
            <p:cNvSpPr txBox="1"/>
            <p:nvPr/>
          </p:nvSpPr>
          <p:spPr>
            <a:xfrm>
              <a:off x="935050" y="1084316"/>
              <a:ext cx="2888938" cy="6272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>
                <a:lnSpc>
                  <a:spcPct val="150000"/>
                </a:lnSpc>
                <a:spcBef>
                  <a:spcPts val="800"/>
                </a:spcBef>
              </a:pPr>
              <a:r>
                <a:rPr lang="ru-RU" sz="800" b="1" dirty="0"/>
                <a:t>Шефмонтаж. </a:t>
              </a:r>
              <a:r>
                <a:rPr lang="ru-RU" sz="800" dirty="0"/>
                <a:t>Простой производственной линии вызывает задержки в производстве, финансовые потери. Также стоит учитывать затраты на покупку оборудования. </a:t>
              </a:r>
              <a:r>
                <a:rPr lang="ru-RU" sz="800" b="1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0.8 </a:t>
              </a:r>
              <a:r>
                <a:rPr lang="ru-RU" sz="800" b="1" dirty="0" err="1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млн.руб</a:t>
              </a:r>
              <a:endParaRPr lang="ru-RU" sz="800" b="1" dirty="0"/>
            </a:p>
          </p:txBody>
        </p:sp>
      </p:grp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088E525B-6549-2134-2AA9-BD7F3F6B1851}"/>
              </a:ext>
            </a:extLst>
          </p:cNvPr>
          <p:cNvGrpSpPr/>
          <p:nvPr/>
        </p:nvGrpSpPr>
        <p:grpSpPr>
          <a:xfrm>
            <a:off x="319496" y="1131590"/>
            <a:ext cx="3604432" cy="1181285"/>
            <a:chOff x="319496" y="2571750"/>
            <a:chExt cx="3604432" cy="1181285"/>
          </a:xfrm>
        </p:grpSpPr>
        <p:pic>
          <p:nvPicPr>
            <p:cNvPr id="11" name="Рисунок 10" descr="Отремонтированный дом с блестками со сплошной заливкой">
              <a:extLst>
                <a:ext uri="{FF2B5EF4-FFF2-40B4-BE49-F238E27FC236}">
                  <a16:creationId xmlns:a16="http://schemas.microsoft.com/office/drawing/2014/main" id="{C217DF51-CED3-24A5-C64F-5E82099D0D9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19496" y="2605689"/>
              <a:ext cx="615555" cy="615555"/>
            </a:xfrm>
            <a:prstGeom prst="rect">
              <a:avLst/>
            </a:prstGeom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16BF0D7E-681F-3BDE-10CB-5DAFD462AF96}"/>
                </a:ext>
              </a:extLst>
            </p:cNvPr>
            <p:cNvSpPr txBox="1"/>
            <p:nvPr/>
          </p:nvSpPr>
          <p:spPr>
            <a:xfrm>
              <a:off x="971600" y="2571750"/>
              <a:ext cx="2952328" cy="11812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>
                <a:lnSpc>
                  <a:spcPct val="150000"/>
                </a:lnSpc>
                <a:spcBef>
                  <a:spcPts val="800"/>
                </a:spcBef>
              </a:pPr>
              <a:r>
                <a:rPr lang="ru-RU" sz="800" b="1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Ремонт крыши. </a:t>
              </a:r>
              <a:r>
                <a:rPr lang="ru-RU" sz="800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Разрушение потолков, стен; замыкание электропроводки, сырость, плесень; порча мебели и оборудование; разрастание плесени, повышенная влажность; заболевания персонала. Нарушение работы кадров социального отдела администрации, что влечет текучесть кадров, экономического спада. </a:t>
              </a:r>
              <a:r>
                <a:rPr lang="ru-RU" sz="800" b="1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0.6 </a:t>
              </a:r>
              <a:r>
                <a:rPr lang="ru-RU" sz="800" b="1" dirty="0" err="1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млн.руб</a:t>
              </a:r>
              <a:endParaRPr lang="ru-RU" sz="800" b="1" dirty="0"/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4E355D88-73A2-9384-7B18-23A275E5563C}"/>
              </a:ext>
            </a:extLst>
          </p:cNvPr>
          <p:cNvSpPr txBox="1"/>
          <p:nvPr/>
        </p:nvSpPr>
        <p:spPr>
          <a:xfrm>
            <a:off x="971600" y="4023211"/>
            <a:ext cx="2952328" cy="8119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Bef>
                <a:spcPts val="800"/>
              </a:spcBef>
            </a:pPr>
            <a:r>
              <a:rPr lang="ru-RU" sz="800" b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бучение персонала. </a:t>
            </a:r>
            <a:r>
              <a:rPr lang="ru-RU" sz="8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Убыток из-за простоя производства </a:t>
            </a:r>
            <a:r>
              <a:rPr lang="ru-RU" sz="800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геополотна</a:t>
            </a:r>
            <a:r>
              <a:rPr lang="ru-RU" sz="8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«Арго». Необходимо наладить работу этого производства для перекрытия стоимости самого оборудования. </a:t>
            </a:r>
            <a:r>
              <a:rPr lang="ru-RU" sz="800" b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0.4 </a:t>
            </a:r>
            <a:r>
              <a:rPr lang="ru-RU" sz="800" b="1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лн.руб</a:t>
            </a:r>
            <a:endParaRPr lang="ru-RU" sz="800" b="1" dirty="0"/>
          </a:p>
        </p:txBody>
      </p:sp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712745F2-1050-8F76-B742-48E8BAC33D69}"/>
              </a:ext>
            </a:extLst>
          </p:cNvPr>
          <p:cNvGrpSpPr/>
          <p:nvPr/>
        </p:nvGrpSpPr>
        <p:grpSpPr>
          <a:xfrm>
            <a:off x="319495" y="2470944"/>
            <a:ext cx="3604433" cy="1096591"/>
            <a:chOff x="4580361" y="1158474"/>
            <a:chExt cx="3604433" cy="995785"/>
          </a:xfrm>
        </p:grpSpPr>
        <p:pic>
          <p:nvPicPr>
            <p:cNvPr id="15" name="Рисунок 14" descr="Сканирование глаза со сплошной заливкой">
              <a:extLst>
                <a:ext uri="{FF2B5EF4-FFF2-40B4-BE49-F238E27FC236}">
                  <a16:creationId xmlns:a16="http://schemas.microsoft.com/office/drawing/2014/main" id="{9417E9FC-AB6D-C976-8C21-16EA13685B3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4580361" y="1181094"/>
              <a:ext cx="615555" cy="615555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EA707A5A-2CC4-4A1A-DFA0-FCC0ADA682B6}"/>
                </a:ext>
              </a:extLst>
            </p:cNvPr>
            <p:cNvSpPr txBox="1"/>
            <p:nvPr/>
          </p:nvSpPr>
          <p:spPr>
            <a:xfrm>
              <a:off x="5232466" y="1158474"/>
              <a:ext cx="2952328" cy="9957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>
                <a:lnSpc>
                  <a:spcPct val="150000"/>
                </a:lnSpc>
                <a:spcBef>
                  <a:spcPts val="800"/>
                </a:spcBef>
              </a:pPr>
              <a:r>
                <a:rPr lang="ru-RU" sz="800" b="1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Аудит. </a:t>
              </a:r>
              <a:r>
                <a:rPr lang="ru-RU" sz="800" dirty="0">
                  <a:solidFill>
                    <a:srgbClr val="202122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Необходимо провести</a:t>
              </a:r>
              <a:r>
                <a:rPr lang="ru-RU" sz="800" b="0" i="0" dirty="0">
                  <a:solidFill>
                    <a:srgbClr val="202122"/>
                  </a:solidFill>
                  <a:effectLst/>
                  <a:latin typeface="Arial" panose="020B0604020202020204" pitchFamily="34" charset="0"/>
                </a:rPr>
                <a:t> независимую проверку и оценку отчётности, данных учёта и деятельности организации, а также системы, процесса, проекта или продукта. Это позволит выявить ряд проблем с экономической точки зрения. </a:t>
              </a:r>
              <a:r>
                <a:rPr lang="ru-RU" sz="800" b="1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0.6 </a:t>
              </a:r>
              <a:r>
                <a:rPr lang="ru-RU" sz="800" b="1" dirty="0" err="1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млн.руб</a:t>
              </a:r>
              <a:endParaRPr lang="ru-RU" sz="800" b="1" dirty="0"/>
            </a:p>
          </p:txBody>
        </p:sp>
      </p:grpSp>
      <p:grpSp>
        <p:nvGrpSpPr>
          <p:cNvPr id="27" name="Группа 26">
            <a:extLst>
              <a:ext uri="{FF2B5EF4-FFF2-40B4-BE49-F238E27FC236}">
                <a16:creationId xmlns:a16="http://schemas.microsoft.com/office/drawing/2014/main" id="{12F9AAC8-F241-3824-4EAB-59A80EE5EB1B}"/>
              </a:ext>
            </a:extLst>
          </p:cNvPr>
          <p:cNvGrpSpPr/>
          <p:nvPr/>
        </p:nvGrpSpPr>
        <p:grpSpPr>
          <a:xfrm>
            <a:off x="4638419" y="2470944"/>
            <a:ext cx="3504493" cy="859573"/>
            <a:chOff x="4638419" y="2519398"/>
            <a:chExt cx="3504493" cy="811119"/>
          </a:xfrm>
        </p:grpSpPr>
        <p:pic>
          <p:nvPicPr>
            <p:cNvPr id="24" name="Рисунок 23" descr="Такси со сплошной заливкой">
              <a:extLst>
                <a:ext uri="{FF2B5EF4-FFF2-40B4-BE49-F238E27FC236}">
                  <a16:creationId xmlns:a16="http://schemas.microsoft.com/office/drawing/2014/main" id="{330CF646-6EA6-7E3B-222B-DD009688B68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4638419" y="2619983"/>
              <a:ext cx="615555" cy="615555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77D528F8-7E3E-30F4-3FF9-4E42DD236E5E}"/>
                </a:ext>
              </a:extLst>
            </p:cNvPr>
            <p:cNvSpPr txBox="1"/>
            <p:nvPr/>
          </p:nvSpPr>
          <p:spPr>
            <a:xfrm>
              <a:off x="5253973" y="2519398"/>
              <a:ext cx="2888939" cy="8111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>
                <a:lnSpc>
                  <a:spcPct val="150000"/>
                </a:lnSpc>
                <a:spcBef>
                  <a:spcPts val="800"/>
                </a:spcBef>
              </a:pPr>
              <a:r>
                <a:rPr lang="ru-RU" sz="800" b="1" i="0" u="none" strike="noStrike" baseline="0" dirty="0">
                  <a:solidFill>
                    <a:srgbClr val="3E3E3E"/>
                  </a:solidFill>
                  <a:latin typeface="Arial" panose="020B0604020202020204" pitchFamily="34" charset="0"/>
                </a:rPr>
                <a:t>Покупка автомобиля. </a:t>
              </a:r>
              <a:r>
                <a:rPr lang="ru-RU" sz="800" i="0" u="none" strike="noStrike" baseline="0" dirty="0">
                  <a:solidFill>
                    <a:srgbClr val="3E3E3E"/>
                  </a:solidFill>
                  <a:latin typeface="Arial" panose="020B0604020202020204" pitchFamily="34" charset="0"/>
                </a:rPr>
                <a:t>Покупка автомобиля влечет за собой повышения имиджа предприятия, удобство перемещения персонала, и избежание постоянного использования такси</a:t>
              </a:r>
              <a:r>
                <a:rPr lang="ru-RU" sz="800" b="1" dirty="0">
                  <a:solidFill>
                    <a:srgbClr val="3E3E3E"/>
                  </a:solidFill>
                  <a:latin typeface="Arial" panose="020B0604020202020204" pitchFamily="34" charset="0"/>
                </a:rPr>
                <a:t>. </a:t>
              </a:r>
              <a:r>
                <a:rPr lang="ru-RU" sz="800" b="1" dirty="0">
                  <a:solidFill>
                    <a:srgbClr val="000000"/>
                  </a:solidFill>
                  <a:ea typeface="Calibri" panose="020F0502020204030204" pitchFamily="34" charset="0"/>
                  <a:cs typeface="Times New Roman" panose="02020603050405020304" pitchFamily="18" charset="0"/>
                </a:rPr>
                <a:t>1.4</a:t>
              </a:r>
              <a:r>
                <a:rPr lang="ru-RU" sz="800" b="1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800" b="1" dirty="0" err="1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млн.руб</a:t>
              </a:r>
              <a:endParaRPr lang="ru-RU" sz="800" b="1" dirty="0"/>
            </a:p>
          </p:txBody>
        </p:sp>
      </p:grpSp>
      <p:pic>
        <p:nvPicPr>
          <p:cNvPr id="35" name="Рисунок 34" descr="Диван со сплошной заливкой">
            <a:extLst>
              <a:ext uri="{FF2B5EF4-FFF2-40B4-BE49-F238E27FC236}">
                <a16:creationId xmlns:a16="http://schemas.microsoft.com/office/drawing/2014/main" id="{782F31A9-FC87-8E72-F395-5A4A1732ECDA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638420" y="4069258"/>
            <a:ext cx="615556" cy="615556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8A34D517-F25F-7850-1242-082EE67E48B5}"/>
              </a:ext>
            </a:extLst>
          </p:cNvPr>
          <p:cNvSpPr txBox="1"/>
          <p:nvPr/>
        </p:nvSpPr>
        <p:spPr>
          <a:xfrm>
            <a:off x="5253973" y="4069258"/>
            <a:ext cx="2888939" cy="626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Bef>
                <a:spcPts val="800"/>
              </a:spcBef>
            </a:pPr>
            <a:r>
              <a:rPr lang="ru-RU" sz="800" b="1" i="0" u="none" strike="noStrike" baseline="0" dirty="0">
                <a:solidFill>
                  <a:srgbClr val="3E3E3E"/>
                </a:solidFill>
                <a:latin typeface="Arial" panose="020B0604020202020204" pitchFamily="34" charset="0"/>
              </a:rPr>
              <a:t>Закупка мебели и оргтехники. </a:t>
            </a:r>
            <a:r>
              <a:rPr lang="ru-RU" sz="800" i="0" u="none" strike="noStrike" baseline="0" dirty="0">
                <a:solidFill>
                  <a:srgbClr val="3E3E3E"/>
                </a:solidFill>
                <a:latin typeface="Arial" panose="020B0604020202020204" pitchFamily="34" charset="0"/>
              </a:rPr>
              <a:t>Повышение комфорта работы сотрудников и улучшение качества работы за счет приобретения новой оргтехники. </a:t>
            </a:r>
            <a:r>
              <a:rPr lang="ru-RU" sz="800" b="1" i="0" u="none" strike="noStrike" baseline="0" dirty="0">
                <a:solidFill>
                  <a:srgbClr val="3E3E3E"/>
                </a:solidFill>
                <a:latin typeface="Arial" panose="020B0604020202020204" pitchFamily="34" charset="0"/>
              </a:rPr>
              <a:t>0.8 </a:t>
            </a:r>
            <a:r>
              <a:rPr lang="ru-RU" sz="800" b="1" i="0" u="none" strike="noStrike" baseline="0" dirty="0" err="1">
                <a:solidFill>
                  <a:srgbClr val="3E3E3E"/>
                </a:solidFill>
                <a:latin typeface="Arial" panose="020B0604020202020204" pitchFamily="34" charset="0"/>
              </a:rPr>
              <a:t>млн.руб</a:t>
            </a:r>
            <a:endParaRPr lang="ru-RU" sz="800" b="1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032DEDD-97F5-A6C4-1674-642699F822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0A57E3-EA23-4E01-B1DF-72CA8D4A16E5}" type="slidenum">
              <a:rPr lang="ru-RU" altLang="ru-RU" smtClean="0"/>
              <a:pPr/>
              <a:t>9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160985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NgrEiYhk.jxbOStjn0Y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Шаблон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Финальные слайды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2 NEW (12042022)" id="{335DD997-2272-4FF0-B577-3FE9C73A2915}" vid="{2455C501-D363-4A65-A072-FBA95366F13F}"/>
    </a:ext>
  </a:extLst>
</a:theme>
</file>

<file path=ppt/theme/theme3.xml><?xml version="1.0" encoding="utf-8"?>
<a:theme xmlns:a="http://schemas.openxmlformats.org/drawingml/2006/main" name="Базовые слайды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2 NEW (12042022)" id="{335DD997-2272-4FF0-B577-3FE9C73A2915}" vid="{F845C98A-4E43-4E5E-BFF6-99D3EF316209}"/>
    </a:ext>
  </a:extLst>
</a:theme>
</file>

<file path=ppt/theme/theme4.xml><?xml version="1.0" encoding="utf-8"?>
<a:theme xmlns:a="http://schemas.openxmlformats.org/drawingml/2006/main" name="1_Базовые слайды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2 NEW (12042022)" id="{A84FE343-D43B-4DBA-85D1-E0B359B8FEA3}" vid="{940704EB-8F2E-44BE-8826-CC29838746C0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Шаблон</Template>
  <TotalTime>19052</TotalTime>
  <Words>1419</Words>
  <Application>Microsoft Office PowerPoint</Application>
  <PresentationFormat>Экран (16:9)</PresentationFormat>
  <Paragraphs>191</Paragraphs>
  <Slides>10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20" baseType="lpstr">
      <vt:lpstr>Arial</vt:lpstr>
      <vt:lpstr>Arial Narrow</vt:lpstr>
      <vt:lpstr>Calibri</vt:lpstr>
      <vt:lpstr>Google Sans</vt:lpstr>
      <vt:lpstr>Wingdings</vt:lpstr>
      <vt:lpstr>Шаблон</vt:lpstr>
      <vt:lpstr>Финальные слайды</vt:lpstr>
      <vt:lpstr>Базовые слайды</vt:lpstr>
      <vt:lpstr>1_Базовые слайды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Анализ рисков, определение наиболее существенных проблем</vt:lpstr>
      <vt:lpstr>Финансирование</vt:lpstr>
      <vt:lpstr>Финансирование</vt:lpstr>
      <vt:lpstr>Презентация PowerPoint</vt:lpstr>
    </vt:vector>
  </TitlesOfParts>
  <Company>РусГидро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Требования к структуре и формату презентаций бизнес кейсов</dc:title>
  <dc:creator>Леванковский</dc:creator>
  <cp:lastModifiedBy>Dmitry Nedelko</cp:lastModifiedBy>
  <cp:revision>303</cp:revision>
  <dcterms:created xsi:type="dcterms:W3CDTF">2013-07-08T05:17:23Z</dcterms:created>
  <dcterms:modified xsi:type="dcterms:W3CDTF">2023-11-01T22:11:43Z</dcterms:modified>
</cp:coreProperties>
</file>